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6.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6" r:id="rId4"/>
    <p:sldMasterId id="2147483698" r:id="rId5"/>
    <p:sldMasterId id="2147483715" r:id="rId6"/>
    <p:sldMasterId id="2147483759" r:id="rId7"/>
    <p:sldMasterId id="2147483780" r:id="rId8"/>
    <p:sldMasterId id="2147483802" r:id="rId9"/>
  </p:sldMasterIdLst>
  <p:notesMasterIdLst>
    <p:notesMasterId r:id="rId40"/>
  </p:notesMasterIdLst>
  <p:handoutMasterIdLst>
    <p:handoutMasterId r:id="rId41"/>
  </p:handoutMasterIdLst>
  <p:sldIdLst>
    <p:sldId id="257" r:id="rId10"/>
    <p:sldId id="2147377865" r:id="rId11"/>
    <p:sldId id="2147377860" r:id="rId12"/>
    <p:sldId id="2134806373" r:id="rId13"/>
    <p:sldId id="2147377859" r:id="rId14"/>
    <p:sldId id="2147377866" r:id="rId15"/>
    <p:sldId id="259" r:id="rId16"/>
    <p:sldId id="2147377867" r:id="rId17"/>
    <p:sldId id="353" r:id="rId18"/>
    <p:sldId id="2147377843" r:id="rId19"/>
    <p:sldId id="345" r:id="rId20"/>
    <p:sldId id="2147377844" r:id="rId21"/>
    <p:sldId id="2147377842" r:id="rId22"/>
    <p:sldId id="2147377845" r:id="rId23"/>
    <p:sldId id="2147377846" r:id="rId24"/>
    <p:sldId id="2147377852" r:id="rId25"/>
    <p:sldId id="2147377853" r:id="rId26"/>
    <p:sldId id="2147377807" r:id="rId27"/>
    <p:sldId id="2147377839" r:id="rId28"/>
    <p:sldId id="2147377851" r:id="rId29"/>
    <p:sldId id="2147377848" r:id="rId30"/>
    <p:sldId id="2147377850" r:id="rId31"/>
    <p:sldId id="2147377847" r:id="rId32"/>
    <p:sldId id="2147377854" r:id="rId33"/>
    <p:sldId id="2147377856" r:id="rId34"/>
    <p:sldId id="2147377849" r:id="rId35"/>
    <p:sldId id="2147377857" r:id="rId36"/>
    <p:sldId id="2147377858" r:id="rId37"/>
    <p:sldId id="2147377841" r:id="rId38"/>
    <p:sldId id="346" r:id="rId39"/>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7BC5B28-486A-4199-AC6F-1A0A3A653A89}">
          <p14:sldIdLst>
            <p14:sldId id="257"/>
            <p14:sldId id="2147377865"/>
            <p14:sldId id="2147377860"/>
            <p14:sldId id="2134806373"/>
            <p14:sldId id="2147377859"/>
            <p14:sldId id="2147377866"/>
            <p14:sldId id="259"/>
            <p14:sldId id="2147377867"/>
            <p14:sldId id="353"/>
            <p14:sldId id="2147377843"/>
            <p14:sldId id="345"/>
            <p14:sldId id="2147377844"/>
            <p14:sldId id="2147377842"/>
            <p14:sldId id="2147377845"/>
            <p14:sldId id="2147377846"/>
            <p14:sldId id="2147377852"/>
            <p14:sldId id="2147377853"/>
            <p14:sldId id="2147377807"/>
            <p14:sldId id="2147377839"/>
            <p14:sldId id="2147377851"/>
            <p14:sldId id="2147377848"/>
            <p14:sldId id="2147377850"/>
            <p14:sldId id="2147377847"/>
            <p14:sldId id="2147377854"/>
            <p14:sldId id="2147377856"/>
            <p14:sldId id="2147377849"/>
            <p14:sldId id="2147377857"/>
            <p14:sldId id="2147377858"/>
            <p14:sldId id="2147377841"/>
            <p14:sldId id="346"/>
          </p14:sldIdLst>
        </p14:section>
      </p14:sectionLst>
    </p:ext>
    <p:ext uri="{EFAFB233-063F-42B5-8137-9DF3F51BA10A}">
      <p15:sldGuideLst xmlns:p15="http://schemas.microsoft.com/office/powerpoint/2012/main">
        <p15:guide id="1" orient="horz" pos="1831">
          <p15:clr>
            <a:srgbClr val="A4A3A4"/>
          </p15:clr>
        </p15:guide>
        <p15:guide id="2" orient="horz" pos="2762">
          <p15:clr>
            <a:srgbClr val="A4A3A4"/>
          </p15:clr>
        </p15:guide>
        <p15:guide id="3" orient="horz" pos="990">
          <p15:clr>
            <a:srgbClr val="A4A3A4"/>
          </p15:clr>
        </p15:guide>
        <p15:guide id="4" orient="horz" pos="3104">
          <p15:clr>
            <a:srgbClr val="A4A3A4"/>
          </p15:clr>
        </p15:guide>
        <p15:guide id="5" orient="horz" pos="566">
          <p15:clr>
            <a:srgbClr val="A4A3A4"/>
          </p15:clr>
        </p15:guide>
        <p15:guide id="6" orient="horz" pos="2639">
          <p15:clr>
            <a:srgbClr val="A4A3A4"/>
          </p15:clr>
        </p15:guide>
        <p15:guide id="7" orient="horz" pos="758">
          <p15:clr>
            <a:srgbClr val="A4A3A4"/>
          </p15:clr>
        </p15:guide>
        <p15:guide id="8" orient="horz" pos="145">
          <p15:clr>
            <a:srgbClr val="A4A3A4"/>
          </p15:clr>
        </p15:guide>
        <p15:guide id="9" orient="horz" pos="1688">
          <p15:clr>
            <a:srgbClr val="A4A3A4"/>
          </p15:clr>
        </p15:guide>
        <p15:guide id="10" orient="horz" pos="2828">
          <p15:clr>
            <a:srgbClr val="A4A3A4"/>
          </p15:clr>
        </p15:guide>
        <p15:guide id="11" pos="5630">
          <p15:clr>
            <a:srgbClr val="A4A3A4"/>
          </p15:clr>
        </p15:guide>
        <p15:guide id="12" pos="3788">
          <p15:clr>
            <a:srgbClr val="A4A3A4"/>
          </p15:clr>
        </p15:guide>
        <p15:guide id="13" pos="2906">
          <p15:clr>
            <a:srgbClr val="A4A3A4"/>
          </p15:clr>
        </p15:guide>
        <p15:guide id="14" pos="3674">
          <p15:clr>
            <a:srgbClr val="A4A3A4"/>
          </p15:clr>
        </p15:guide>
        <p15:guide id="15" pos="3901">
          <p15:clr>
            <a:srgbClr val="A4A3A4"/>
          </p15:clr>
        </p15:guide>
        <p15:guide id="16" pos="3018">
          <p15:clr>
            <a:srgbClr val="A4A3A4"/>
          </p15:clr>
        </p15:guide>
        <p15:guide id="17" pos="2791">
          <p15:clr>
            <a:srgbClr val="A4A3A4"/>
          </p15:clr>
        </p15:guide>
        <p15:guide id="18" pos="159">
          <p15:clr>
            <a:srgbClr val="A4A3A4"/>
          </p15:clr>
        </p15:guide>
        <p15:guide id="19" pos="1847">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2E8196A-D71E-466B-F116-825D23BBFBE0}" name="David Afshar (TAG US)" initials="DA(U" userId="S::david.afshar@tagww.com::4854e71a-96ec-44c8-9975-63b91f5e1d68" providerId="AD"/>
  <p188:author id="{52969FC0-DBD3-D485-E092-2E8E5A2FE686}" name="Kelly Freeman (TAG AU)" initials="KF(A" userId="S::kelly.freeman@tagww.com::e80c7c8d-8461-43da-8fdb-b2c3a305cf7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Jackie Barlow" initials=""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CD58"/>
    <a:srgbClr val="F2F2F2"/>
    <a:srgbClr val="36C74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957" autoAdjust="0"/>
    <p:restoredTop sz="94660"/>
  </p:normalViewPr>
  <p:slideViewPr>
    <p:cSldViewPr snapToGrid="0">
      <p:cViewPr varScale="1">
        <p:scale>
          <a:sx n="107" d="100"/>
          <a:sy n="107" d="100"/>
        </p:scale>
        <p:origin x="878" y="82"/>
      </p:cViewPr>
      <p:guideLst>
        <p:guide orient="horz" pos="1831"/>
        <p:guide orient="horz" pos="2762"/>
        <p:guide orient="horz" pos="990"/>
        <p:guide orient="horz" pos="3104"/>
        <p:guide orient="horz" pos="566"/>
        <p:guide orient="horz" pos="2639"/>
        <p:guide orient="horz" pos="758"/>
        <p:guide orient="horz" pos="145"/>
        <p:guide orient="horz" pos="1688"/>
        <p:guide orient="horz" pos="2828"/>
        <p:guide pos="5630"/>
        <p:guide pos="3788"/>
        <p:guide pos="2906"/>
        <p:guide pos="3674"/>
        <p:guide pos="3901"/>
        <p:guide pos="3018"/>
        <p:guide pos="2791"/>
        <p:guide pos="159"/>
        <p:guide pos="1847"/>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commentAuthors" Target="commentAuthors.xml"/><Relationship Id="rId47"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presProps" Target="presProps.xml"/></Relationships>
</file>

<file path=ppt/diagrams/_rels/data2.xml.rels><?xml version="1.0" encoding="UTF-8" standalone="yes"?>
<Relationships xmlns="http://schemas.openxmlformats.org/package/2006/relationships"><Relationship Id="rId3" Type="http://schemas.openxmlformats.org/officeDocument/2006/relationships/hyperlink" Target="https://learn.aurtra.net/hc/en-us/articles/360039714671-IEEE-Doernenburg-Gas-Limit-Analysis" TargetMode="External"/><Relationship Id="rId7" Type="http://schemas.openxmlformats.org/officeDocument/2006/relationships/hyperlink" Target="https://learn.aurtra.net/hc/en-us/articles/360038865592-Top-Paper-DP-History" TargetMode="External"/><Relationship Id="rId2" Type="http://schemas.openxmlformats.org/officeDocument/2006/relationships/hyperlink" Target="https://learn.aurtra.net/hc/en-us/articles/360039311152-IEEE-Rogers-Ratio-Analysis" TargetMode="External"/><Relationship Id="rId1" Type="http://schemas.openxmlformats.org/officeDocument/2006/relationships/hyperlink" Target="https://learn.aurtra.net/hc/en-us/articles/360039716331-Rogers-Gas-Limit-Analysis" TargetMode="External"/><Relationship Id="rId6" Type="http://schemas.openxmlformats.org/officeDocument/2006/relationships/hyperlink" Target="https://learn.aurtra.net/hc/en-us/articles/4403551179289" TargetMode="External"/><Relationship Id="rId5" Type="http://schemas.openxmlformats.org/officeDocument/2006/relationships/hyperlink" Target="https://learn.aurtra.net/hc/en-us/articles/360039311312-Duval-Triangle" TargetMode="External"/><Relationship Id="rId4" Type="http://schemas.openxmlformats.org/officeDocument/2006/relationships/hyperlink" Target="https://learn.aurtra.net/hc/en-us/articles/360039714631-IEEE-Doernenburg-Ratio-Analysis" TargetMode="External"/></Relationships>
</file>

<file path=ppt/diagrams/_rels/drawing2.xml.rels><?xml version="1.0" encoding="UTF-8" standalone="yes"?>
<Relationships xmlns="http://schemas.openxmlformats.org/package/2006/relationships"><Relationship Id="rId3" Type="http://schemas.openxmlformats.org/officeDocument/2006/relationships/hyperlink" Target="https://learn.aurtra.net/hc/en-us/articles/360039714671-IEEE-Doernenburg-Gas-Limit-Analysis" TargetMode="External"/><Relationship Id="rId7" Type="http://schemas.openxmlformats.org/officeDocument/2006/relationships/hyperlink" Target="https://learn.aurtra.net/hc/en-us/articles/360038865592-Top-Paper-DP-History" TargetMode="External"/><Relationship Id="rId2" Type="http://schemas.openxmlformats.org/officeDocument/2006/relationships/hyperlink" Target="https://learn.aurtra.net/hc/en-us/articles/360039311152-IEEE-Rogers-Ratio-Analysis" TargetMode="External"/><Relationship Id="rId1" Type="http://schemas.openxmlformats.org/officeDocument/2006/relationships/hyperlink" Target="https://learn.aurtra.net/hc/en-us/articles/360039716331-Rogers-Gas-Limit-Analysis" TargetMode="External"/><Relationship Id="rId6" Type="http://schemas.openxmlformats.org/officeDocument/2006/relationships/hyperlink" Target="https://learn.aurtra.net/hc/en-us/articles/4403551179289" TargetMode="External"/><Relationship Id="rId5" Type="http://schemas.openxmlformats.org/officeDocument/2006/relationships/hyperlink" Target="https://learn.aurtra.net/hc/en-us/articles/360039311312-Duval-Triangle" TargetMode="External"/><Relationship Id="rId4" Type="http://schemas.openxmlformats.org/officeDocument/2006/relationships/hyperlink" Target="https://learn.aurtra.net/hc/en-us/articles/360039714631-IEEE-Doernenburg-Ratio-Analysis"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3205D6-FEFD-4022-A29F-21BCE35AFAC2}"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56C42545-054D-4441-818A-B8E201BB71E3}">
      <dgm:prSet/>
      <dgm:spPr/>
      <dgm:t>
        <a:bodyPr/>
        <a:lstStyle/>
        <a:p>
          <a:r>
            <a:rPr lang="en-AU" baseline="0" dirty="0"/>
            <a:t>Interfacial Tension</a:t>
          </a:r>
          <a:endParaRPr lang="en-US" dirty="0"/>
        </a:p>
      </dgm:t>
    </dgm:pt>
    <dgm:pt modelId="{F5B1A64A-7288-4403-A35E-69DD34E60D3F}" type="parTrans" cxnId="{FC9CE5EB-96F9-42EB-9FB5-BB1C335C950B}">
      <dgm:prSet/>
      <dgm:spPr/>
      <dgm:t>
        <a:bodyPr/>
        <a:lstStyle/>
        <a:p>
          <a:endParaRPr lang="en-US"/>
        </a:p>
      </dgm:t>
    </dgm:pt>
    <dgm:pt modelId="{512F2B4D-EB53-44E1-89FB-3A0EA82E2F8F}" type="sibTrans" cxnId="{FC9CE5EB-96F9-42EB-9FB5-BB1C335C950B}">
      <dgm:prSet/>
      <dgm:spPr/>
      <dgm:t>
        <a:bodyPr/>
        <a:lstStyle/>
        <a:p>
          <a:endParaRPr lang="en-US"/>
        </a:p>
      </dgm:t>
    </dgm:pt>
    <dgm:pt modelId="{6338A232-46A0-4FA1-A43C-334F82AD591B}">
      <dgm:prSet/>
      <dgm:spPr/>
      <dgm:t>
        <a:bodyPr/>
        <a:lstStyle/>
        <a:p>
          <a:r>
            <a:rPr lang="en-AU" baseline="0" dirty="0"/>
            <a:t>Dielectric Strength </a:t>
          </a:r>
          <a:endParaRPr lang="en-US" dirty="0"/>
        </a:p>
      </dgm:t>
    </dgm:pt>
    <dgm:pt modelId="{44E00D1A-1E24-483F-A048-60E92A6AB9DC}" type="parTrans" cxnId="{A108EDA7-0690-4A08-9B1A-9A812F53DCC3}">
      <dgm:prSet/>
      <dgm:spPr/>
      <dgm:t>
        <a:bodyPr/>
        <a:lstStyle/>
        <a:p>
          <a:endParaRPr lang="en-US"/>
        </a:p>
      </dgm:t>
    </dgm:pt>
    <dgm:pt modelId="{E22B8B7F-1548-475C-92AF-047BE7D93C19}" type="sibTrans" cxnId="{A108EDA7-0690-4A08-9B1A-9A812F53DCC3}">
      <dgm:prSet/>
      <dgm:spPr/>
      <dgm:t>
        <a:bodyPr/>
        <a:lstStyle/>
        <a:p>
          <a:endParaRPr lang="en-US"/>
        </a:p>
      </dgm:t>
    </dgm:pt>
    <dgm:pt modelId="{916550F1-2075-4A3F-B058-8153D59B6741}">
      <dgm:prSet/>
      <dgm:spPr/>
      <dgm:t>
        <a:bodyPr/>
        <a:lstStyle/>
        <a:p>
          <a:r>
            <a:rPr lang="en-AU" baseline="0" dirty="0"/>
            <a:t>Acidity in Oil</a:t>
          </a:r>
          <a:endParaRPr lang="en-US" dirty="0"/>
        </a:p>
      </dgm:t>
    </dgm:pt>
    <dgm:pt modelId="{866361D8-BA1E-4D2B-9FCA-EAC00287A040}" type="parTrans" cxnId="{A07AB173-13D0-4CE0-AFEE-B8115B493492}">
      <dgm:prSet/>
      <dgm:spPr/>
      <dgm:t>
        <a:bodyPr/>
        <a:lstStyle/>
        <a:p>
          <a:endParaRPr lang="en-US"/>
        </a:p>
      </dgm:t>
    </dgm:pt>
    <dgm:pt modelId="{B85BC1D8-90A6-40D7-A119-BF49CF041013}" type="sibTrans" cxnId="{A07AB173-13D0-4CE0-AFEE-B8115B493492}">
      <dgm:prSet/>
      <dgm:spPr/>
      <dgm:t>
        <a:bodyPr/>
        <a:lstStyle/>
        <a:p>
          <a:endParaRPr lang="en-US"/>
        </a:p>
      </dgm:t>
    </dgm:pt>
    <dgm:pt modelId="{925B371D-99E9-4CDC-AC92-F7DF9FBC4BF0}">
      <dgm:prSet/>
      <dgm:spPr/>
      <dgm:t>
        <a:bodyPr/>
        <a:lstStyle/>
        <a:p>
          <a:r>
            <a:rPr lang="en-AU" baseline="0" dirty="0"/>
            <a:t>Depolymerization by Furans</a:t>
          </a:r>
          <a:endParaRPr lang="en-US" dirty="0"/>
        </a:p>
      </dgm:t>
    </dgm:pt>
    <dgm:pt modelId="{A6FDB8F1-19DE-4C27-9E1D-5C70F7C14373}" type="parTrans" cxnId="{4F65CC9A-8B5E-49D3-85B6-974E20395314}">
      <dgm:prSet/>
      <dgm:spPr/>
      <dgm:t>
        <a:bodyPr/>
        <a:lstStyle/>
        <a:p>
          <a:endParaRPr lang="en-US"/>
        </a:p>
      </dgm:t>
    </dgm:pt>
    <dgm:pt modelId="{A31CCA2B-FED4-4FBA-A68B-B0C9A4F038B4}" type="sibTrans" cxnId="{4F65CC9A-8B5E-49D3-85B6-974E20395314}">
      <dgm:prSet/>
      <dgm:spPr/>
      <dgm:t>
        <a:bodyPr/>
        <a:lstStyle/>
        <a:p>
          <a:endParaRPr lang="en-US"/>
        </a:p>
      </dgm:t>
    </dgm:pt>
    <dgm:pt modelId="{AEA017F4-E62D-48A2-B5C8-F3F8DF65DE29}">
      <dgm:prSet/>
      <dgm:spPr/>
      <dgm:t>
        <a:bodyPr/>
        <a:lstStyle/>
        <a:p>
          <a:r>
            <a:rPr lang="en-AU" baseline="0" dirty="0"/>
            <a:t>Moisture in Oil</a:t>
          </a:r>
          <a:endParaRPr lang="en-US" dirty="0"/>
        </a:p>
      </dgm:t>
    </dgm:pt>
    <dgm:pt modelId="{794389D6-B9A3-4BE8-AFED-2ED0CD3916B9}" type="parTrans" cxnId="{41A29567-A97C-4834-8022-CB0AEC174417}">
      <dgm:prSet/>
      <dgm:spPr/>
      <dgm:t>
        <a:bodyPr/>
        <a:lstStyle/>
        <a:p>
          <a:endParaRPr lang="en-US"/>
        </a:p>
      </dgm:t>
    </dgm:pt>
    <dgm:pt modelId="{F46B8988-E5D9-4830-A4EC-F24D2FFE2186}" type="sibTrans" cxnId="{41A29567-A97C-4834-8022-CB0AEC174417}">
      <dgm:prSet/>
      <dgm:spPr/>
      <dgm:t>
        <a:bodyPr/>
        <a:lstStyle/>
        <a:p>
          <a:endParaRPr lang="en-US"/>
        </a:p>
      </dgm:t>
    </dgm:pt>
    <dgm:pt modelId="{3C351F8A-0620-4DAE-9E49-D2E4AFFB17FE}" type="pres">
      <dgm:prSet presAssocID="{BB3205D6-FEFD-4022-A29F-21BCE35AFAC2}" presName="linear" presStyleCnt="0">
        <dgm:presLayoutVars>
          <dgm:animLvl val="lvl"/>
          <dgm:resizeHandles val="exact"/>
        </dgm:presLayoutVars>
      </dgm:prSet>
      <dgm:spPr/>
    </dgm:pt>
    <dgm:pt modelId="{0324BCE8-FC2D-4B74-AD23-18158E92DC27}" type="pres">
      <dgm:prSet presAssocID="{56C42545-054D-4441-818A-B8E201BB71E3}" presName="parentText" presStyleLbl="node1" presStyleIdx="0" presStyleCnt="5">
        <dgm:presLayoutVars>
          <dgm:chMax val="0"/>
          <dgm:bulletEnabled val="1"/>
        </dgm:presLayoutVars>
      </dgm:prSet>
      <dgm:spPr/>
    </dgm:pt>
    <dgm:pt modelId="{13BFCAEE-7518-4F5D-92C2-FAF3CB82C73E}" type="pres">
      <dgm:prSet presAssocID="{512F2B4D-EB53-44E1-89FB-3A0EA82E2F8F}" presName="spacer" presStyleCnt="0"/>
      <dgm:spPr/>
    </dgm:pt>
    <dgm:pt modelId="{2C90C5A1-FAB3-4941-BA04-EAAD7108CAAC}" type="pres">
      <dgm:prSet presAssocID="{6338A232-46A0-4FA1-A43C-334F82AD591B}" presName="parentText" presStyleLbl="node1" presStyleIdx="1" presStyleCnt="5">
        <dgm:presLayoutVars>
          <dgm:chMax val="0"/>
          <dgm:bulletEnabled val="1"/>
        </dgm:presLayoutVars>
      </dgm:prSet>
      <dgm:spPr/>
    </dgm:pt>
    <dgm:pt modelId="{A4CCB224-A307-41C5-8746-38340E6E9230}" type="pres">
      <dgm:prSet presAssocID="{E22B8B7F-1548-475C-92AF-047BE7D93C19}" presName="spacer" presStyleCnt="0"/>
      <dgm:spPr/>
    </dgm:pt>
    <dgm:pt modelId="{65C3D2C3-5B25-4D1D-9FDF-5207D5FB6B03}" type="pres">
      <dgm:prSet presAssocID="{916550F1-2075-4A3F-B058-8153D59B6741}" presName="parentText" presStyleLbl="node1" presStyleIdx="2" presStyleCnt="5">
        <dgm:presLayoutVars>
          <dgm:chMax val="0"/>
          <dgm:bulletEnabled val="1"/>
        </dgm:presLayoutVars>
      </dgm:prSet>
      <dgm:spPr/>
    </dgm:pt>
    <dgm:pt modelId="{632AC244-3CA1-459E-93F2-8BD79E544F6E}" type="pres">
      <dgm:prSet presAssocID="{B85BC1D8-90A6-40D7-A119-BF49CF041013}" presName="spacer" presStyleCnt="0"/>
      <dgm:spPr/>
    </dgm:pt>
    <dgm:pt modelId="{CD9EC42E-4402-4EFA-932E-9B3622A58C3E}" type="pres">
      <dgm:prSet presAssocID="{925B371D-99E9-4CDC-AC92-F7DF9FBC4BF0}" presName="parentText" presStyleLbl="node1" presStyleIdx="3" presStyleCnt="5">
        <dgm:presLayoutVars>
          <dgm:chMax val="0"/>
          <dgm:bulletEnabled val="1"/>
        </dgm:presLayoutVars>
      </dgm:prSet>
      <dgm:spPr/>
    </dgm:pt>
    <dgm:pt modelId="{05D97053-E3A5-4DB5-BFBE-5FCCAB6DFA96}" type="pres">
      <dgm:prSet presAssocID="{A31CCA2B-FED4-4FBA-A68B-B0C9A4F038B4}" presName="spacer" presStyleCnt="0"/>
      <dgm:spPr/>
    </dgm:pt>
    <dgm:pt modelId="{C04AFAD9-B4EC-452A-B6EC-A5C35FF00B5E}" type="pres">
      <dgm:prSet presAssocID="{AEA017F4-E62D-48A2-B5C8-F3F8DF65DE29}" presName="parentText" presStyleLbl="node1" presStyleIdx="4" presStyleCnt="5">
        <dgm:presLayoutVars>
          <dgm:chMax val="0"/>
          <dgm:bulletEnabled val="1"/>
        </dgm:presLayoutVars>
      </dgm:prSet>
      <dgm:spPr/>
    </dgm:pt>
  </dgm:ptLst>
  <dgm:cxnLst>
    <dgm:cxn modelId="{E9EF7D14-58B8-45BF-BA6C-27DF6198E5AD}" type="presOf" srcId="{56C42545-054D-4441-818A-B8E201BB71E3}" destId="{0324BCE8-FC2D-4B74-AD23-18158E92DC27}" srcOrd="0" destOrd="0" presId="urn:microsoft.com/office/officeart/2005/8/layout/vList2"/>
    <dgm:cxn modelId="{42D9EC36-8525-4251-ADB3-FE6ECDEA15C6}" type="presOf" srcId="{6338A232-46A0-4FA1-A43C-334F82AD591B}" destId="{2C90C5A1-FAB3-4941-BA04-EAAD7108CAAC}" srcOrd="0" destOrd="0" presId="urn:microsoft.com/office/officeart/2005/8/layout/vList2"/>
    <dgm:cxn modelId="{F8049C46-0E26-42EF-B388-B597C2D203B7}" type="presOf" srcId="{BB3205D6-FEFD-4022-A29F-21BCE35AFAC2}" destId="{3C351F8A-0620-4DAE-9E49-D2E4AFFB17FE}" srcOrd="0" destOrd="0" presId="urn:microsoft.com/office/officeart/2005/8/layout/vList2"/>
    <dgm:cxn modelId="{41A29567-A97C-4834-8022-CB0AEC174417}" srcId="{BB3205D6-FEFD-4022-A29F-21BCE35AFAC2}" destId="{AEA017F4-E62D-48A2-B5C8-F3F8DF65DE29}" srcOrd="4" destOrd="0" parTransId="{794389D6-B9A3-4BE8-AFED-2ED0CD3916B9}" sibTransId="{F46B8988-E5D9-4830-A4EC-F24D2FFE2186}"/>
    <dgm:cxn modelId="{A07AB173-13D0-4CE0-AFEE-B8115B493492}" srcId="{BB3205D6-FEFD-4022-A29F-21BCE35AFAC2}" destId="{916550F1-2075-4A3F-B058-8153D59B6741}" srcOrd="2" destOrd="0" parTransId="{866361D8-BA1E-4D2B-9FCA-EAC00287A040}" sibTransId="{B85BC1D8-90A6-40D7-A119-BF49CF041013}"/>
    <dgm:cxn modelId="{586A7A8F-070E-4BC1-B4B7-902E7C9FBA58}" type="presOf" srcId="{916550F1-2075-4A3F-B058-8153D59B6741}" destId="{65C3D2C3-5B25-4D1D-9FDF-5207D5FB6B03}" srcOrd="0" destOrd="0" presId="urn:microsoft.com/office/officeart/2005/8/layout/vList2"/>
    <dgm:cxn modelId="{4F65CC9A-8B5E-49D3-85B6-974E20395314}" srcId="{BB3205D6-FEFD-4022-A29F-21BCE35AFAC2}" destId="{925B371D-99E9-4CDC-AC92-F7DF9FBC4BF0}" srcOrd="3" destOrd="0" parTransId="{A6FDB8F1-19DE-4C27-9E1D-5C70F7C14373}" sibTransId="{A31CCA2B-FED4-4FBA-A68B-B0C9A4F038B4}"/>
    <dgm:cxn modelId="{A108EDA7-0690-4A08-9B1A-9A812F53DCC3}" srcId="{BB3205D6-FEFD-4022-A29F-21BCE35AFAC2}" destId="{6338A232-46A0-4FA1-A43C-334F82AD591B}" srcOrd="1" destOrd="0" parTransId="{44E00D1A-1E24-483F-A048-60E92A6AB9DC}" sibTransId="{E22B8B7F-1548-475C-92AF-047BE7D93C19}"/>
    <dgm:cxn modelId="{BE03CCB6-7094-468F-8D42-C1FCE63B87AF}" type="presOf" srcId="{925B371D-99E9-4CDC-AC92-F7DF9FBC4BF0}" destId="{CD9EC42E-4402-4EFA-932E-9B3622A58C3E}" srcOrd="0" destOrd="0" presId="urn:microsoft.com/office/officeart/2005/8/layout/vList2"/>
    <dgm:cxn modelId="{111709DB-A561-42CB-AF2C-C1FF6A1FE62F}" type="presOf" srcId="{AEA017F4-E62D-48A2-B5C8-F3F8DF65DE29}" destId="{C04AFAD9-B4EC-452A-B6EC-A5C35FF00B5E}" srcOrd="0" destOrd="0" presId="urn:microsoft.com/office/officeart/2005/8/layout/vList2"/>
    <dgm:cxn modelId="{FC9CE5EB-96F9-42EB-9FB5-BB1C335C950B}" srcId="{BB3205D6-FEFD-4022-A29F-21BCE35AFAC2}" destId="{56C42545-054D-4441-818A-B8E201BB71E3}" srcOrd="0" destOrd="0" parTransId="{F5B1A64A-7288-4403-A35E-69DD34E60D3F}" sibTransId="{512F2B4D-EB53-44E1-89FB-3A0EA82E2F8F}"/>
    <dgm:cxn modelId="{D7A0EE46-4008-40A8-9E02-2AFD61843AAA}" type="presParOf" srcId="{3C351F8A-0620-4DAE-9E49-D2E4AFFB17FE}" destId="{0324BCE8-FC2D-4B74-AD23-18158E92DC27}" srcOrd="0" destOrd="0" presId="urn:microsoft.com/office/officeart/2005/8/layout/vList2"/>
    <dgm:cxn modelId="{41C3D37E-B53C-4A49-B560-3C602C2586C0}" type="presParOf" srcId="{3C351F8A-0620-4DAE-9E49-D2E4AFFB17FE}" destId="{13BFCAEE-7518-4F5D-92C2-FAF3CB82C73E}" srcOrd="1" destOrd="0" presId="urn:microsoft.com/office/officeart/2005/8/layout/vList2"/>
    <dgm:cxn modelId="{69D5669A-691F-4F64-A77D-52841031017F}" type="presParOf" srcId="{3C351F8A-0620-4DAE-9E49-D2E4AFFB17FE}" destId="{2C90C5A1-FAB3-4941-BA04-EAAD7108CAAC}" srcOrd="2" destOrd="0" presId="urn:microsoft.com/office/officeart/2005/8/layout/vList2"/>
    <dgm:cxn modelId="{033EB75B-CBA3-4E26-A4C8-7D6CC0368300}" type="presParOf" srcId="{3C351F8A-0620-4DAE-9E49-D2E4AFFB17FE}" destId="{A4CCB224-A307-41C5-8746-38340E6E9230}" srcOrd="3" destOrd="0" presId="urn:microsoft.com/office/officeart/2005/8/layout/vList2"/>
    <dgm:cxn modelId="{E4F922D8-CF48-47B1-ACAD-D8AD3D764A07}" type="presParOf" srcId="{3C351F8A-0620-4DAE-9E49-D2E4AFFB17FE}" destId="{65C3D2C3-5B25-4D1D-9FDF-5207D5FB6B03}" srcOrd="4" destOrd="0" presId="urn:microsoft.com/office/officeart/2005/8/layout/vList2"/>
    <dgm:cxn modelId="{792B8D73-73FF-4BF0-BDEF-7EF01DD8F1FF}" type="presParOf" srcId="{3C351F8A-0620-4DAE-9E49-D2E4AFFB17FE}" destId="{632AC244-3CA1-459E-93F2-8BD79E544F6E}" srcOrd="5" destOrd="0" presId="urn:microsoft.com/office/officeart/2005/8/layout/vList2"/>
    <dgm:cxn modelId="{18B2A3D0-2857-4025-8F0D-832D22F88E22}" type="presParOf" srcId="{3C351F8A-0620-4DAE-9E49-D2E4AFFB17FE}" destId="{CD9EC42E-4402-4EFA-932E-9B3622A58C3E}" srcOrd="6" destOrd="0" presId="urn:microsoft.com/office/officeart/2005/8/layout/vList2"/>
    <dgm:cxn modelId="{D2ED926F-2CE1-40EA-8A02-507431B55210}" type="presParOf" srcId="{3C351F8A-0620-4DAE-9E49-D2E4AFFB17FE}" destId="{05D97053-E3A5-4DB5-BFBE-5FCCAB6DFA96}" srcOrd="7" destOrd="0" presId="urn:microsoft.com/office/officeart/2005/8/layout/vList2"/>
    <dgm:cxn modelId="{2C42B25E-297A-4172-AE08-40C69C99C1B7}" type="presParOf" srcId="{3C351F8A-0620-4DAE-9E49-D2E4AFFB17FE}" destId="{C04AFAD9-B4EC-452A-B6EC-A5C35FF00B5E}"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E9573BE-50AA-4595-8B1B-3B83837E80BE}" type="doc">
      <dgm:prSet loTypeId="urn:microsoft.com/office/officeart/2008/layout/LinedList" loCatId="list" qsTypeId="urn:microsoft.com/office/officeart/2005/8/quickstyle/simple4" qsCatId="simple" csTypeId="urn:microsoft.com/office/officeart/2005/8/colors/accent2_2" csCatId="accent2" phldr="1"/>
      <dgm:spPr/>
      <dgm:t>
        <a:bodyPr/>
        <a:lstStyle/>
        <a:p>
          <a:endParaRPr lang="en-US"/>
        </a:p>
      </dgm:t>
    </dgm:pt>
    <dgm:pt modelId="{60C403C8-78D8-4AE4-B547-48C730E66598}">
      <dgm:prSet custT="1"/>
      <dgm:spPr/>
      <dgm:t>
        <a:bodyPr/>
        <a:lstStyle/>
        <a:p>
          <a:r>
            <a:rPr lang="en-AU" sz="1000" dirty="0"/>
            <a:t>Roger Gas Limit  &amp; Ratio Analysis</a:t>
          </a:r>
          <a:br>
            <a:rPr lang="en-AU" sz="1000" dirty="0"/>
          </a:br>
          <a:r>
            <a:rPr lang="en-AU" sz="1000" dirty="0">
              <a:hlinkClick xmlns:r="http://schemas.openxmlformats.org/officeDocument/2006/relationships" r:id="rId1"/>
            </a:rPr>
            <a:t>https://learn.aurtra.net/hc/en-us/articles/360039716331-Rogers-Gas-Limit-Analysis</a:t>
          </a:r>
          <a:endParaRPr lang="en-AU" sz="1000" dirty="0"/>
        </a:p>
        <a:p>
          <a:r>
            <a:rPr lang="en-AU" sz="1000" dirty="0">
              <a:hlinkClick xmlns:r="http://schemas.openxmlformats.org/officeDocument/2006/relationships" r:id="rId2"/>
            </a:rPr>
            <a:t>https://learn.aurtra.net/hc/en-us/articles/360039311152-IEEE-Rogers-Ratio-Analysis</a:t>
          </a:r>
          <a:endParaRPr lang="en-AU" sz="1000" dirty="0"/>
        </a:p>
        <a:p>
          <a:endParaRPr lang="en-US" sz="700" dirty="0"/>
        </a:p>
      </dgm:t>
    </dgm:pt>
    <dgm:pt modelId="{AF59AB03-DA42-4900-AD42-771316AAD52F}" type="parTrans" cxnId="{86BFAD5F-4A49-4448-9AF5-0DCA24EF29C6}">
      <dgm:prSet/>
      <dgm:spPr/>
      <dgm:t>
        <a:bodyPr/>
        <a:lstStyle/>
        <a:p>
          <a:endParaRPr lang="en-US"/>
        </a:p>
      </dgm:t>
    </dgm:pt>
    <dgm:pt modelId="{33D666EA-0C73-4A2D-AA36-8CBB92213CBF}" type="sibTrans" cxnId="{86BFAD5F-4A49-4448-9AF5-0DCA24EF29C6}">
      <dgm:prSet/>
      <dgm:spPr/>
      <dgm:t>
        <a:bodyPr/>
        <a:lstStyle/>
        <a:p>
          <a:endParaRPr lang="en-US"/>
        </a:p>
      </dgm:t>
    </dgm:pt>
    <dgm:pt modelId="{DD0E68EB-9A8F-4ED2-B76C-7203ABE2461F}">
      <dgm:prSet custT="1"/>
      <dgm:spPr/>
      <dgm:t>
        <a:bodyPr/>
        <a:lstStyle/>
        <a:p>
          <a:r>
            <a:rPr lang="en-AU" sz="1000" dirty="0"/>
            <a:t>Doernenburg Gas Limit &amp; Ratio Analysis</a:t>
          </a:r>
        </a:p>
        <a:p>
          <a:r>
            <a:rPr lang="en-AU" sz="1000" dirty="0">
              <a:hlinkClick xmlns:r="http://schemas.openxmlformats.org/officeDocument/2006/relationships" r:id="rId3"/>
            </a:rPr>
            <a:t>https://learn.aurtra.net/hc/en-us/articles/360039714671-IEEE-Doernenburg-Gas-Limit-Analysis</a:t>
          </a:r>
          <a:endParaRPr lang="en-AU" sz="1000" dirty="0"/>
        </a:p>
        <a:p>
          <a:r>
            <a:rPr lang="en-AU" sz="1000" dirty="0">
              <a:hlinkClick xmlns:r="http://schemas.openxmlformats.org/officeDocument/2006/relationships" r:id="rId4"/>
            </a:rPr>
            <a:t>https://learn.aurtra.net/hc/en-us/articles/360039714631-IEEE-Doernenburg-Ratio-Analysis</a:t>
          </a:r>
          <a:endParaRPr lang="en-AU" sz="1000" dirty="0"/>
        </a:p>
        <a:p>
          <a:br>
            <a:rPr lang="en-AU" sz="1000" dirty="0"/>
          </a:br>
          <a:endParaRPr lang="en-AU" sz="1000" dirty="0"/>
        </a:p>
      </dgm:t>
    </dgm:pt>
    <dgm:pt modelId="{5F26ADE2-F092-4142-80A8-A3A3F62B9B9C}" type="parTrans" cxnId="{CE6083CE-C50C-4004-9FB6-9BB5DF8B7B79}">
      <dgm:prSet/>
      <dgm:spPr/>
      <dgm:t>
        <a:bodyPr/>
        <a:lstStyle/>
        <a:p>
          <a:endParaRPr lang="en-US"/>
        </a:p>
      </dgm:t>
    </dgm:pt>
    <dgm:pt modelId="{B6CA9829-9A20-42BE-AC5A-C05266FB89DA}" type="sibTrans" cxnId="{CE6083CE-C50C-4004-9FB6-9BB5DF8B7B79}">
      <dgm:prSet/>
      <dgm:spPr/>
      <dgm:t>
        <a:bodyPr/>
        <a:lstStyle/>
        <a:p>
          <a:endParaRPr lang="en-US"/>
        </a:p>
      </dgm:t>
    </dgm:pt>
    <dgm:pt modelId="{F30982A3-D3AE-49B7-AAFB-203ADC843893}">
      <dgm:prSet custT="1"/>
      <dgm:spPr/>
      <dgm:t>
        <a:bodyPr/>
        <a:lstStyle/>
        <a:p>
          <a:endParaRPr lang="en-AU" sz="1000" dirty="0">
            <a:latin typeface="Arial" panose="020B0604020202020204" pitchFamily="34" charset="0"/>
            <a:cs typeface="Arial" panose="020B0604020202020204" pitchFamily="34" charset="0"/>
          </a:endParaRPr>
        </a:p>
        <a:p>
          <a:r>
            <a:rPr lang="en-AU" sz="1000" dirty="0">
              <a:latin typeface="Arial" panose="020B0604020202020204" pitchFamily="34" charset="0"/>
              <a:cs typeface="Arial" panose="020B0604020202020204" pitchFamily="34" charset="0"/>
            </a:rPr>
            <a:t>Duval Triangles &amp; Pentagons</a:t>
          </a:r>
          <a:br>
            <a:rPr lang="en-AU" sz="1000" dirty="0">
              <a:latin typeface="Arial" panose="020B0604020202020204" pitchFamily="34" charset="0"/>
              <a:cs typeface="Arial" panose="020B0604020202020204" pitchFamily="34" charset="0"/>
            </a:rPr>
          </a:br>
          <a:r>
            <a:rPr lang="en-AU" sz="1000" dirty="0">
              <a:latin typeface="Arial" panose="020B0604020202020204" pitchFamily="34" charset="0"/>
              <a:cs typeface="Arial" panose="020B0604020202020204" pitchFamily="34" charset="0"/>
              <a:hlinkClick xmlns:r="http://schemas.openxmlformats.org/officeDocument/2006/relationships" r:id="rId5"/>
            </a:rPr>
            <a:t>https://learn.aurtra.net/hc/en-us/articles/360039311312-Duval-Triangle</a:t>
          </a:r>
          <a:endParaRPr lang="en-US" sz="1000" dirty="0">
            <a:latin typeface="Arial" panose="020B0604020202020204" pitchFamily="34" charset="0"/>
            <a:cs typeface="Arial" panose="020B0604020202020204" pitchFamily="34" charset="0"/>
          </a:endParaRPr>
        </a:p>
      </dgm:t>
    </dgm:pt>
    <dgm:pt modelId="{C0CB0BF9-560E-4FB9-8FAB-0C4C95AA9129}" type="parTrans" cxnId="{39BBA3D4-5252-49A6-856D-0A06B135C9C3}">
      <dgm:prSet/>
      <dgm:spPr/>
      <dgm:t>
        <a:bodyPr/>
        <a:lstStyle/>
        <a:p>
          <a:endParaRPr lang="en-US"/>
        </a:p>
      </dgm:t>
    </dgm:pt>
    <dgm:pt modelId="{9A53A73E-60D2-44F1-B580-382B75FB003B}" type="sibTrans" cxnId="{39BBA3D4-5252-49A6-856D-0A06B135C9C3}">
      <dgm:prSet/>
      <dgm:spPr/>
      <dgm:t>
        <a:bodyPr/>
        <a:lstStyle/>
        <a:p>
          <a:endParaRPr lang="en-US"/>
        </a:p>
      </dgm:t>
    </dgm:pt>
    <dgm:pt modelId="{CE946CE2-753E-4D60-8F29-B9203595EAD4}">
      <dgm:prSet custT="1"/>
      <dgm:spPr/>
      <dgm:t>
        <a:bodyPr/>
        <a:lstStyle/>
        <a:p>
          <a:endParaRPr lang="en-AU" sz="1000" dirty="0">
            <a:latin typeface="+mn-lt"/>
            <a:cs typeface="Arial" panose="020B0604020202020204" pitchFamily="34" charset="0"/>
          </a:endParaRPr>
        </a:p>
        <a:p>
          <a:r>
            <a:rPr lang="en-AU" sz="1000" dirty="0">
              <a:latin typeface="+mn-lt"/>
              <a:cs typeface="Arial" panose="020B0604020202020204" pitchFamily="34" charset="0"/>
            </a:rPr>
            <a:t>Oil Quality</a:t>
          </a:r>
          <a:br>
            <a:rPr lang="en-AU" sz="1000" dirty="0">
              <a:latin typeface="+mn-lt"/>
              <a:cs typeface="Arial" panose="020B0604020202020204" pitchFamily="34" charset="0"/>
            </a:rPr>
          </a:br>
          <a:r>
            <a:rPr lang="en-AU" sz="1000" dirty="0">
              <a:latin typeface="+mn-lt"/>
              <a:cs typeface="Arial" panose="020B0604020202020204" pitchFamily="34" charset="0"/>
              <a:hlinkClick xmlns:r="http://schemas.openxmlformats.org/officeDocument/2006/relationships" r:id="rId6"/>
            </a:rPr>
            <a:t>https://learn.aurtra.net/hc/en-us/articles/4403551179289</a:t>
          </a:r>
          <a:endParaRPr lang="en-US" sz="1000" dirty="0">
            <a:latin typeface="+mn-lt"/>
            <a:cs typeface="Arial" panose="020B0604020202020204" pitchFamily="34" charset="0"/>
          </a:endParaRPr>
        </a:p>
      </dgm:t>
    </dgm:pt>
    <dgm:pt modelId="{794B649F-BADB-4FD2-9231-93C602D76EAB}" type="parTrans" cxnId="{516F3D9E-D849-4172-924F-A3325BB1106D}">
      <dgm:prSet/>
      <dgm:spPr/>
      <dgm:t>
        <a:bodyPr/>
        <a:lstStyle/>
        <a:p>
          <a:endParaRPr lang="en-US"/>
        </a:p>
      </dgm:t>
    </dgm:pt>
    <dgm:pt modelId="{94FC1107-D74E-43F3-9717-EFB7A6186A06}" type="sibTrans" cxnId="{516F3D9E-D849-4172-924F-A3325BB1106D}">
      <dgm:prSet/>
      <dgm:spPr/>
      <dgm:t>
        <a:bodyPr/>
        <a:lstStyle/>
        <a:p>
          <a:endParaRPr lang="en-US"/>
        </a:p>
      </dgm:t>
    </dgm:pt>
    <dgm:pt modelId="{0BD5BD2B-3532-46BD-B021-690FD4C21403}">
      <dgm:prSet custT="1"/>
      <dgm:spPr/>
      <dgm:t>
        <a:bodyPr/>
        <a:lstStyle/>
        <a:p>
          <a:endParaRPr lang="en-AU" sz="1000" dirty="0"/>
        </a:p>
        <a:p>
          <a:r>
            <a:rPr lang="en-AU" sz="1000" dirty="0"/>
            <a:t>DP History</a:t>
          </a:r>
          <a:br>
            <a:rPr lang="en-AU" sz="1000" dirty="0"/>
          </a:br>
          <a:r>
            <a:rPr lang="en-AU" sz="1000" dirty="0">
              <a:hlinkClick xmlns:r="http://schemas.openxmlformats.org/officeDocument/2006/relationships" r:id="rId7"/>
            </a:rPr>
            <a:t>https://learn.aurtra.net/hc/en-us/articles/360038865592-Top-Paper-DP-History</a:t>
          </a:r>
          <a:br>
            <a:rPr lang="en-AU" sz="800" dirty="0"/>
          </a:br>
          <a:br>
            <a:rPr lang="en-AU" sz="800" dirty="0"/>
          </a:br>
          <a:endParaRPr lang="en-US" sz="800" dirty="0"/>
        </a:p>
      </dgm:t>
    </dgm:pt>
    <dgm:pt modelId="{BABF2FAB-2ACF-4EC2-8BA2-B453BEAB5158}" type="parTrans" cxnId="{682161E8-EEE3-41C7-BEC5-DD86AC68640A}">
      <dgm:prSet/>
      <dgm:spPr/>
      <dgm:t>
        <a:bodyPr/>
        <a:lstStyle/>
        <a:p>
          <a:endParaRPr lang="en-US"/>
        </a:p>
      </dgm:t>
    </dgm:pt>
    <dgm:pt modelId="{3CB5B11D-A337-4C6D-B4EC-AD91EFFB9C4A}" type="sibTrans" cxnId="{682161E8-EEE3-41C7-BEC5-DD86AC68640A}">
      <dgm:prSet/>
      <dgm:spPr/>
      <dgm:t>
        <a:bodyPr/>
        <a:lstStyle/>
        <a:p>
          <a:endParaRPr lang="en-US"/>
        </a:p>
      </dgm:t>
    </dgm:pt>
    <dgm:pt modelId="{5A70D8BE-1719-4EE5-94D7-FE2405DCE0C5}" type="pres">
      <dgm:prSet presAssocID="{8E9573BE-50AA-4595-8B1B-3B83837E80BE}" presName="vert0" presStyleCnt="0">
        <dgm:presLayoutVars>
          <dgm:dir/>
          <dgm:animOne val="branch"/>
          <dgm:animLvl val="lvl"/>
        </dgm:presLayoutVars>
      </dgm:prSet>
      <dgm:spPr/>
    </dgm:pt>
    <dgm:pt modelId="{5C0945E5-A8BB-4A96-B3DE-40591270D8E3}" type="pres">
      <dgm:prSet presAssocID="{60C403C8-78D8-4AE4-B547-48C730E66598}" presName="thickLine" presStyleLbl="alignNode1" presStyleIdx="0" presStyleCnt="5"/>
      <dgm:spPr/>
    </dgm:pt>
    <dgm:pt modelId="{CF1C520B-63CD-4B09-899B-48F359081CB7}" type="pres">
      <dgm:prSet presAssocID="{60C403C8-78D8-4AE4-B547-48C730E66598}" presName="horz1" presStyleCnt="0"/>
      <dgm:spPr/>
    </dgm:pt>
    <dgm:pt modelId="{77581D00-0417-4A2D-8188-B64021C040FF}" type="pres">
      <dgm:prSet presAssocID="{60C403C8-78D8-4AE4-B547-48C730E66598}" presName="tx1" presStyleLbl="revTx" presStyleIdx="0" presStyleCnt="5"/>
      <dgm:spPr/>
    </dgm:pt>
    <dgm:pt modelId="{0B0D7105-BD69-44D0-AC9F-EA7704E35F7F}" type="pres">
      <dgm:prSet presAssocID="{60C403C8-78D8-4AE4-B547-48C730E66598}" presName="vert1" presStyleCnt="0"/>
      <dgm:spPr/>
    </dgm:pt>
    <dgm:pt modelId="{2817910C-F190-4AB7-9A75-9B8C4E15C268}" type="pres">
      <dgm:prSet presAssocID="{DD0E68EB-9A8F-4ED2-B76C-7203ABE2461F}" presName="thickLine" presStyleLbl="alignNode1" presStyleIdx="1" presStyleCnt="5"/>
      <dgm:spPr/>
    </dgm:pt>
    <dgm:pt modelId="{C2C7D89C-05A8-4A04-AFB0-21F9C22D31F1}" type="pres">
      <dgm:prSet presAssocID="{DD0E68EB-9A8F-4ED2-B76C-7203ABE2461F}" presName="horz1" presStyleCnt="0"/>
      <dgm:spPr/>
    </dgm:pt>
    <dgm:pt modelId="{684D9FE2-E7D7-4DB9-9F0D-3820573E3652}" type="pres">
      <dgm:prSet presAssocID="{DD0E68EB-9A8F-4ED2-B76C-7203ABE2461F}" presName="tx1" presStyleLbl="revTx" presStyleIdx="1" presStyleCnt="5"/>
      <dgm:spPr/>
    </dgm:pt>
    <dgm:pt modelId="{DD01E85F-C1F5-417D-AADC-D5C054D25A9B}" type="pres">
      <dgm:prSet presAssocID="{DD0E68EB-9A8F-4ED2-B76C-7203ABE2461F}" presName="vert1" presStyleCnt="0"/>
      <dgm:spPr/>
    </dgm:pt>
    <dgm:pt modelId="{DD3C92C1-3562-46C7-BE2D-94B1DB75FB85}" type="pres">
      <dgm:prSet presAssocID="{F30982A3-D3AE-49B7-AAFB-203ADC843893}" presName="thickLine" presStyleLbl="alignNode1" presStyleIdx="2" presStyleCnt="5"/>
      <dgm:spPr/>
    </dgm:pt>
    <dgm:pt modelId="{56D1E6F7-C739-4AB4-ABA7-05082E125BDC}" type="pres">
      <dgm:prSet presAssocID="{F30982A3-D3AE-49B7-AAFB-203ADC843893}" presName="horz1" presStyleCnt="0"/>
      <dgm:spPr/>
    </dgm:pt>
    <dgm:pt modelId="{3AD5AFC3-F314-49D2-B560-FCE697FF6AB6}" type="pres">
      <dgm:prSet presAssocID="{F30982A3-D3AE-49B7-AAFB-203ADC843893}" presName="tx1" presStyleLbl="revTx" presStyleIdx="2" presStyleCnt="5"/>
      <dgm:spPr/>
    </dgm:pt>
    <dgm:pt modelId="{9C0EF3E5-1781-4760-83F2-EE5368E2E966}" type="pres">
      <dgm:prSet presAssocID="{F30982A3-D3AE-49B7-AAFB-203ADC843893}" presName="vert1" presStyleCnt="0"/>
      <dgm:spPr/>
    </dgm:pt>
    <dgm:pt modelId="{8C794CA3-3CF7-42C1-BCAD-BF2F604164D2}" type="pres">
      <dgm:prSet presAssocID="{CE946CE2-753E-4D60-8F29-B9203595EAD4}" presName="thickLine" presStyleLbl="alignNode1" presStyleIdx="3" presStyleCnt="5"/>
      <dgm:spPr/>
    </dgm:pt>
    <dgm:pt modelId="{80366EF1-0BE2-46BE-BD98-C22CBBC94B79}" type="pres">
      <dgm:prSet presAssocID="{CE946CE2-753E-4D60-8F29-B9203595EAD4}" presName="horz1" presStyleCnt="0"/>
      <dgm:spPr/>
    </dgm:pt>
    <dgm:pt modelId="{B4AF9303-0DB5-46A0-876A-21B9215692BF}" type="pres">
      <dgm:prSet presAssocID="{CE946CE2-753E-4D60-8F29-B9203595EAD4}" presName="tx1" presStyleLbl="revTx" presStyleIdx="3" presStyleCnt="5"/>
      <dgm:spPr/>
    </dgm:pt>
    <dgm:pt modelId="{A7CC6A74-C786-4C20-BA96-33CA3F2D6A2B}" type="pres">
      <dgm:prSet presAssocID="{CE946CE2-753E-4D60-8F29-B9203595EAD4}" presName="vert1" presStyleCnt="0"/>
      <dgm:spPr/>
    </dgm:pt>
    <dgm:pt modelId="{C3F364FB-9B2C-4A68-8574-8B863616EC70}" type="pres">
      <dgm:prSet presAssocID="{0BD5BD2B-3532-46BD-B021-690FD4C21403}" presName="thickLine" presStyleLbl="alignNode1" presStyleIdx="4" presStyleCnt="5"/>
      <dgm:spPr/>
    </dgm:pt>
    <dgm:pt modelId="{C06255C8-D2BF-497E-B7DC-4E27DEA55651}" type="pres">
      <dgm:prSet presAssocID="{0BD5BD2B-3532-46BD-B021-690FD4C21403}" presName="horz1" presStyleCnt="0"/>
      <dgm:spPr/>
    </dgm:pt>
    <dgm:pt modelId="{8EB6920F-CB18-4657-8E3A-E76FCB4CE6A9}" type="pres">
      <dgm:prSet presAssocID="{0BD5BD2B-3532-46BD-B021-690FD4C21403}" presName="tx1" presStyleLbl="revTx" presStyleIdx="4" presStyleCnt="5"/>
      <dgm:spPr/>
    </dgm:pt>
    <dgm:pt modelId="{4FDDB423-F47B-4EBB-AEEB-AD039EB3F462}" type="pres">
      <dgm:prSet presAssocID="{0BD5BD2B-3532-46BD-B021-690FD4C21403}" presName="vert1" presStyleCnt="0"/>
      <dgm:spPr/>
    </dgm:pt>
  </dgm:ptLst>
  <dgm:cxnLst>
    <dgm:cxn modelId="{BD625333-9414-43EE-B164-56E45D97AD7D}" type="presOf" srcId="{CE946CE2-753E-4D60-8F29-B9203595EAD4}" destId="{B4AF9303-0DB5-46A0-876A-21B9215692BF}" srcOrd="0" destOrd="0" presId="urn:microsoft.com/office/officeart/2008/layout/LinedList"/>
    <dgm:cxn modelId="{86BFAD5F-4A49-4448-9AF5-0DCA24EF29C6}" srcId="{8E9573BE-50AA-4595-8B1B-3B83837E80BE}" destId="{60C403C8-78D8-4AE4-B547-48C730E66598}" srcOrd="0" destOrd="0" parTransId="{AF59AB03-DA42-4900-AD42-771316AAD52F}" sibTransId="{33D666EA-0C73-4A2D-AA36-8CBB92213CBF}"/>
    <dgm:cxn modelId="{63245F48-0C42-453E-B4F1-BF2C0669BB10}" type="presOf" srcId="{F30982A3-D3AE-49B7-AAFB-203ADC843893}" destId="{3AD5AFC3-F314-49D2-B560-FCE697FF6AB6}" srcOrd="0" destOrd="0" presId="urn:microsoft.com/office/officeart/2008/layout/LinedList"/>
    <dgm:cxn modelId="{683EE187-145C-4D36-970D-0AB743725E4C}" type="presOf" srcId="{8E9573BE-50AA-4595-8B1B-3B83837E80BE}" destId="{5A70D8BE-1719-4EE5-94D7-FE2405DCE0C5}" srcOrd="0" destOrd="0" presId="urn:microsoft.com/office/officeart/2008/layout/LinedList"/>
    <dgm:cxn modelId="{516F3D9E-D849-4172-924F-A3325BB1106D}" srcId="{8E9573BE-50AA-4595-8B1B-3B83837E80BE}" destId="{CE946CE2-753E-4D60-8F29-B9203595EAD4}" srcOrd="3" destOrd="0" parTransId="{794B649F-BADB-4FD2-9231-93C602D76EAB}" sibTransId="{94FC1107-D74E-43F3-9717-EFB7A6186A06}"/>
    <dgm:cxn modelId="{4E9BB0A0-23B2-44B8-8E45-6F61A6C479FC}" type="presOf" srcId="{0BD5BD2B-3532-46BD-B021-690FD4C21403}" destId="{8EB6920F-CB18-4657-8E3A-E76FCB4CE6A9}" srcOrd="0" destOrd="0" presId="urn:microsoft.com/office/officeart/2008/layout/LinedList"/>
    <dgm:cxn modelId="{0EF232CA-F4E3-41EA-AEC2-007B02782CCF}" type="presOf" srcId="{DD0E68EB-9A8F-4ED2-B76C-7203ABE2461F}" destId="{684D9FE2-E7D7-4DB9-9F0D-3820573E3652}" srcOrd="0" destOrd="0" presId="urn:microsoft.com/office/officeart/2008/layout/LinedList"/>
    <dgm:cxn modelId="{CE6083CE-C50C-4004-9FB6-9BB5DF8B7B79}" srcId="{8E9573BE-50AA-4595-8B1B-3B83837E80BE}" destId="{DD0E68EB-9A8F-4ED2-B76C-7203ABE2461F}" srcOrd="1" destOrd="0" parTransId="{5F26ADE2-F092-4142-80A8-A3A3F62B9B9C}" sibTransId="{B6CA9829-9A20-42BE-AC5A-C05266FB89DA}"/>
    <dgm:cxn modelId="{39BBA3D4-5252-49A6-856D-0A06B135C9C3}" srcId="{8E9573BE-50AA-4595-8B1B-3B83837E80BE}" destId="{F30982A3-D3AE-49B7-AAFB-203ADC843893}" srcOrd="2" destOrd="0" parTransId="{C0CB0BF9-560E-4FB9-8FAB-0C4C95AA9129}" sibTransId="{9A53A73E-60D2-44F1-B580-382B75FB003B}"/>
    <dgm:cxn modelId="{4DA329DF-AC6F-4712-90A9-27200A595466}" type="presOf" srcId="{60C403C8-78D8-4AE4-B547-48C730E66598}" destId="{77581D00-0417-4A2D-8188-B64021C040FF}" srcOrd="0" destOrd="0" presId="urn:microsoft.com/office/officeart/2008/layout/LinedList"/>
    <dgm:cxn modelId="{682161E8-EEE3-41C7-BEC5-DD86AC68640A}" srcId="{8E9573BE-50AA-4595-8B1B-3B83837E80BE}" destId="{0BD5BD2B-3532-46BD-B021-690FD4C21403}" srcOrd="4" destOrd="0" parTransId="{BABF2FAB-2ACF-4EC2-8BA2-B453BEAB5158}" sibTransId="{3CB5B11D-A337-4C6D-B4EC-AD91EFFB9C4A}"/>
    <dgm:cxn modelId="{2152DDC9-D507-4B07-962A-E99BC9717217}" type="presParOf" srcId="{5A70D8BE-1719-4EE5-94D7-FE2405DCE0C5}" destId="{5C0945E5-A8BB-4A96-B3DE-40591270D8E3}" srcOrd="0" destOrd="0" presId="urn:microsoft.com/office/officeart/2008/layout/LinedList"/>
    <dgm:cxn modelId="{04C47E2E-FB7F-462B-B448-72269621C435}" type="presParOf" srcId="{5A70D8BE-1719-4EE5-94D7-FE2405DCE0C5}" destId="{CF1C520B-63CD-4B09-899B-48F359081CB7}" srcOrd="1" destOrd="0" presId="urn:microsoft.com/office/officeart/2008/layout/LinedList"/>
    <dgm:cxn modelId="{6598A626-E5BA-4556-937C-A22E3BB3C008}" type="presParOf" srcId="{CF1C520B-63CD-4B09-899B-48F359081CB7}" destId="{77581D00-0417-4A2D-8188-B64021C040FF}" srcOrd="0" destOrd="0" presId="urn:microsoft.com/office/officeart/2008/layout/LinedList"/>
    <dgm:cxn modelId="{6988E4EC-95A3-4353-8870-66D2E0963D17}" type="presParOf" srcId="{CF1C520B-63CD-4B09-899B-48F359081CB7}" destId="{0B0D7105-BD69-44D0-AC9F-EA7704E35F7F}" srcOrd="1" destOrd="0" presId="urn:microsoft.com/office/officeart/2008/layout/LinedList"/>
    <dgm:cxn modelId="{D53A4323-0CB6-4FFF-B186-86C9A86B6486}" type="presParOf" srcId="{5A70D8BE-1719-4EE5-94D7-FE2405DCE0C5}" destId="{2817910C-F190-4AB7-9A75-9B8C4E15C268}" srcOrd="2" destOrd="0" presId="urn:microsoft.com/office/officeart/2008/layout/LinedList"/>
    <dgm:cxn modelId="{11A0E3A3-C80F-43B7-BEE9-A88B0BD635AF}" type="presParOf" srcId="{5A70D8BE-1719-4EE5-94D7-FE2405DCE0C5}" destId="{C2C7D89C-05A8-4A04-AFB0-21F9C22D31F1}" srcOrd="3" destOrd="0" presId="urn:microsoft.com/office/officeart/2008/layout/LinedList"/>
    <dgm:cxn modelId="{360B97C5-1065-4C66-998A-68398EEAB9C8}" type="presParOf" srcId="{C2C7D89C-05A8-4A04-AFB0-21F9C22D31F1}" destId="{684D9FE2-E7D7-4DB9-9F0D-3820573E3652}" srcOrd="0" destOrd="0" presId="urn:microsoft.com/office/officeart/2008/layout/LinedList"/>
    <dgm:cxn modelId="{60028AB6-85AF-48E7-B881-5940820E6AB4}" type="presParOf" srcId="{C2C7D89C-05A8-4A04-AFB0-21F9C22D31F1}" destId="{DD01E85F-C1F5-417D-AADC-D5C054D25A9B}" srcOrd="1" destOrd="0" presId="urn:microsoft.com/office/officeart/2008/layout/LinedList"/>
    <dgm:cxn modelId="{9CC4541C-C7B9-483A-8DA2-AA935BCEFDE9}" type="presParOf" srcId="{5A70D8BE-1719-4EE5-94D7-FE2405DCE0C5}" destId="{DD3C92C1-3562-46C7-BE2D-94B1DB75FB85}" srcOrd="4" destOrd="0" presId="urn:microsoft.com/office/officeart/2008/layout/LinedList"/>
    <dgm:cxn modelId="{EDF88D43-3FD0-443E-87AC-03910CA55991}" type="presParOf" srcId="{5A70D8BE-1719-4EE5-94D7-FE2405DCE0C5}" destId="{56D1E6F7-C739-4AB4-ABA7-05082E125BDC}" srcOrd="5" destOrd="0" presId="urn:microsoft.com/office/officeart/2008/layout/LinedList"/>
    <dgm:cxn modelId="{56FB1FF3-664B-4391-A2D7-4018266D35BE}" type="presParOf" srcId="{56D1E6F7-C739-4AB4-ABA7-05082E125BDC}" destId="{3AD5AFC3-F314-49D2-B560-FCE697FF6AB6}" srcOrd="0" destOrd="0" presId="urn:microsoft.com/office/officeart/2008/layout/LinedList"/>
    <dgm:cxn modelId="{0F1799D5-C3ED-42C1-B685-8A9FAA5936F6}" type="presParOf" srcId="{56D1E6F7-C739-4AB4-ABA7-05082E125BDC}" destId="{9C0EF3E5-1781-4760-83F2-EE5368E2E966}" srcOrd="1" destOrd="0" presId="urn:microsoft.com/office/officeart/2008/layout/LinedList"/>
    <dgm:cxn modelId="{CC007C0E-81F9-4516-9DC1-0900CE33A684}" type="presParOf" srcId="{5A70D8BE-1719-4EE5-94D7-FE2405DCE0C5}" destId="{8C794CA3-3CF7-42C1-BCAD-BF2F604164D2}" srcOrd="6" destOrd="0" presId="urn:microsoft.com/office/officeart/2008/layout/LinedList"/>
    <dgm:cxn modelId="{6777AA8C-6DC5-432C-BAE3-4875FA373264}" type="presParOf" srcId="{5A70D8BE-1719-4EE5-94D7-FE2405DCE0C5}" destId="{80366EF1-0BE2-46BE-BD98-C22CBBC94B79}" srcOrd="7" destOrd="0" presId="urn:microsoft.com/office/officeart/2008/layout/LinedList"/>
    <dgm:cxn modelId="{ACFBCCA5-FAB6-42E7-83F9-56A51727C9F7}" type="presParOf" srcId="{80366EF1-0BE2-46BE-BD98-C22CBBC94B79}" destId="{B4AF9303-0DB5-46A0-876A-21B9215692BF}" srcOrd="0" destOrd="0" presId="urn:microsoft.com/office/officeart/2008/layout/LinedList"/>
    <dgm:cxn modelId="{D25F8CE3-58EF-4181-9103-52027E7BB023}" type="presParOf" srcId="{80366EF1-0BE2-46BE-BD98-C22CBBC94B79}" destId="{A7CC6A74-C786-4C20-BA96-33CA3F2D6A2B}" srcOrd="1" destOrd="0" presId="urn:microsoft.com/office/officeart/2008/layout/LinedList"/>
    <dgm:cxn modelId="{0147FAC1-FA40-4634-BB20-E3BCD2936852}" type="presParOf" srcId="{5A70D8BE-1719-4EE5-94D7-FE2405DCE0C5}" destId="{C3F364FB-9B2C-4A68-8574-8B863616EC70}" srcOrd="8" destOrd="0" presId="urn:microsoft.com/office/officeart/2008/layout/LinedList"/>
    <dgm:cxn modelId="{05475A8C-9E3B-4EA6-A30D-B90530A32BE7}" type="presParOf" srcId="{5A70D8BE-1719-4EE5-94D7-FE2405DCE0C5}" destId="{C06255C8-D2BF-497E-B7DC-4E27DEA55651}" srcOrd="9" destOrd="0" presId="urn:microsoft.com/office/officeart/2008/layout/LinedList"/>
    <dgm:cxn modelId="{24C305E6-8530-4C2F-94CC-1DAB394A4BE8}" type="presParOf" srcId="{C06255C8-D2BF-497E-B7DC-4E27DEA55651}" destId="{8EB6920F-CB18-4657-8E3A-E76FCB4CE6A9}" srcOrd="0" destOrd="0" presId="urn:microsoft.com/office/officeart/2008/layout/LinedList"/>
    <dgm:cxn modelId="{01567A02-EA8F-4A97-901D-CF83DEBF1D2F}" type="presParOf" srcId="{C06255C8-D2BF-497E-B7DC-4E27DEA55651}" destId="{4FDDB423-F47B-4EBB-AEEB-AD039EB3F462}"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24BCE8-FC2D-4B74-AD23-18158E92DC27}">
      <dsp:nvSpPr>
        <dsp:cNvPr id="0" name=""/>
        <dsp:cNvSpPr/>
      </dsp:nvSpPr>
      <dsp:spPr>
        <a:xfrm>
          <a:off x="0" y="46054"/>
          <a:ext cx="8679570" cy="5615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kern="1200" baseline="0" dirty="0"/>
            <a:t>Interfacial Tension</a:t>
          </a:r>
          <a:endParaRPr lang="en-US" sz="2400" kern="1200" dirty="0"/>
        </a:p>
      </dsp:txBody>
      <dsp:txXfrm>
        <a:off x="27415" y="73469"/>
        <a:ext cx="8624740" cy="506769"/>
      </dsp:txXfrm>
    </dsp:sp>
    <dsp:sp modelId="{2C90C5A1-FAB3-4941-BA04-EAAD7108CAAC}">
      <dsp:nvSpPr>
        <dsp:cNvPr id="0" name=""/>
        <dsp:cNvSpPr/>
      </dsp:nvSpPr>
      <dsp:spPr>
        <a:xfrm>
          <a:off x="0" y="676774"/>
          <a:ext cx="8679570" cy="5615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kern="1200" baseline="0" dirty="0"/>
            <a:t>Dielectric Strength </a:t>
          </a:r>
          <a:endParaRPr lang="en-US" sz="2400" kern="1200" dirty="0"/>
        </a:p>
      </dsp:txBody>
      <dsp:txXfrm>
        <a:off x="27415" y="704189"/>
        <a:ext cx="8624740" cy="506769"/>
      </dsp:txXfrm>
    </dsp:sp>
    <dsp:sp modelId="{65C3D2C3-5B25-4D1D-9FDF-5207D5FB6B03}">
      <dsp:nvSpPr>
        <dsp:cNvPr id="0" name=""/>
        <dsp:cNvSpPr/>
      </dsp:nvSpPr>
      <dsp:spPr>
        <a:xfrm>
          <a:off x="0" y="1307494"/>
          <a:ext cx="8679570" cy="5615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kern="1200" baseline="0" dirty="0"/>
            <a:t>Acidity in Oil</a:t>
          </a:r>
          <a:endParaRPr lang="en-US" sz="2400" kern="1200" dirty="0"/>
        </a:p>
      </dsp:txBody>
      <dsp:txXfrm>
        <a:off x="27415" y="1334909"/>
        <a:ext cx="8624740" cy="506769"/>
      </dsp:txXfrm>
    </dsp:sp>
    <dsp:sp modelId="{CD9EC42E-4402-4EFA-932E-9B3622A58C3E}">
      <dsp:nvSpPr>
        <dsp:cNvPr id="0" name=""/>
        <dsp:cNvSpPr/>
      </dsp:nvSpPr>
      <dsp:spPr>
        <a:xfrm>
          <a:off x="0" y="1938214"/>
          <a:ext cx="8679570" cy="5615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kern="1200" baseline="0" dirty="0"/>
            <a:t>Depolymerization by Furans</a:t>
          </a:r>
          <a:endParaRPr lang="en-US" sz="2400" kern="1200" dirty="0"/>
        </a:p>
      </dsp:txBody>
      <dsp:txXfrm>
        <a:off x="27415" y="1965629"/>
        <a:ext cx="8624740" cy="506769"/>
      </dsp:txXfrm>
    </dsp:sp>
    <dsp:sp modelId="{C04AFAD9-B4EC-452A-B6EC-A5C35FF00B5E}">
      <dsp:nvSpPr>
        <dsp:cNvPr id="0" name=""/>
        <dsp:cNvSpPr/>
      </dsp:nvSpPr>
      <dsp:spPr>
        <a:xfrm>
          <a:off x="0" y="2568934"/>
          <a:ext cx="8679570" cy="5615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AU" sz="2400" kern="1200" baseline="0" dirty="0"/>
            <a:t>Moisture in Oil</a:t>
          </a:r>
          <a:endParaRPr lang="en-US" sz="2400" kern="1200" dirty="0"/>
        </a:p>
      </dsp:txBody>
      <dsp:txXfrm>
        <a:off x="27415" y="2596349"/>
        <a:ext cx="8624740" cy="50676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0945E5-A8BB-4A96-B3DE-40591270D8E3}">
      <dsp:nvSpPr>
        <dsp:cNvPr id="0" name=""/>
        <dsp:cNvSpPr/>
      </dsp:nvSpPr>
      <dsp:spPr>
        <a:xfrm>
          <a:off x="0" y="387"/>
          <a:ext cx="8679570" cy="0"/>
        </a:xfrm>
        <a:prstGeom prst="line">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77581D00-0417-4A2D-8188-B64021C040FF}">
      <dsp:nvSpPr>
        <dsp:cNvPr id="0" name=""/>
        <dsp:cNvSpPr/>
      </dsp:nvSpPr>
      <dsp:spPr>
        <a:xfrm>
          <a:off x="0" y="387"/>
          <a:ext cx="8679570" cy="6351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lang="en-AU" sz="1000" kern="1200" dirty="0"/>
            <a:t>Roger Gas Limit  &amp; Ratio Analysis</a:t>
          </a:r>
          <a:br>
            <a:rPr lang="en-AU" sz="1000" kern="1200" dirty="0"/>
          </a:br>
          <a:r>
            <a:rPr lang="en-AU" sz="1000" kern="1200" dirty="0">
              <a:hlinkClick xmlns:r="http://schemas.openxmlformats.org/officeDocument/2006/relationships" r:id="rId1"/>
            </a:rPr>
            <a:t>https://learn.aurtra.net/hc/en-us/articles/360039716331-Rogers-Gas-Limit-Analysis</a:t>
          </a:r>
          <a:endParaRPr lang="en-AU" sz="1000" kern="1200" dirty="0"/>
        </a:p>
        <a:p>
          <a:pPr marL="0" lvl="0" indent="0" algn="l" defTabSz="444500">
            <a:lnSpc>
              <a:spcPct val="90000"/>
            </a:lnSpc>
            <a:spcBef>
              <a:spcPct val="0"/>
            </a:spcBef>
            <a:spcAft>
              <a:spcPct val="35000"/>
            </a:spcAft>
            <a:buNone/>
          </a:pPr>
          <a:r>
            <a:rPr lang="en-AU" sz="1000" kern="1200" dirty="0">
              <a:hlinkClick xmlns:r="http://schemas.openxmlformats.org/officeDocument/2006/relationships" r:id="rId2"/>
            </a:rPr>
            <a:t>https://learn.aurtra.net/hc/en-us/articles/360039311152-IEEE-Rogers-Ratio-Analysis</a:t>
          </a:r>
          <a:endParaRPr lang="en-AU" sz="1000" kern="1200" dirty="0"/>
        </a:p>
        <a:p>
          <a:pPr marL="0" lvl="0" indent="0" algn="l" defTabSz="444500">
            <a:lnSpc>
              <a:spcPct val="90000"/>
            </a:lnSpc>
            <a:spcBef>
              <a:spcPct val="0"/>
            </a:spcBef>
            <a:spcAft>
              <a:spcPct val="35000"/>
            </a:spcAft>
            <a:buNone/>
          </a:pPr>
          <a:endParaRPr lang="en-US" sz="700" kern="1200" dirty="0"/>
        </a:p>
      </dsp:txBody>
      <dsp:txXfrm>
        <a:off x="0" y="387"/>
        <a:ext cx="8679570" cy="635162"/>
      </dsp:txXfrm>
    </dsp:sp>
    <dsp:sp modelId="{2817910C-F190-4AB7-9A75-9B8C4E15C268}">
      <dsp:nvSpPr>
        <dsp:cNvPr id="0" name=""/>
        <dsp:cNvSpPr/>
      </dsp:nvSpPr>
      <dsp:spPr>
        <a:xfrm>
          <a:off x="0" y="635550"/>
          <a:ext cx="8679570" cy="0"/>
        </a:xfrm>
        <a:prstGeom prst="line">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684D9FE2-E7D7-4DB9-9F0D-3820573E3652}">
      <dsp:nvSpPr>
        <dsp:cNvPr id="0" name=""/>
        <dsp:cNvSpPr/>
      </dsp:nvSpPr>
      <dsp:spPr>
        <a:xfrm>
          <a:off x="0" y="635550"/>
          <a:ext cx="8679570" cy="6351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lang="en-AU" sz="1000" kern="1200" dirty="0"/>
            <a:t>Doernenburg Gas Limit &amp; Ratio Analysis</a:t>
          </a:r>
        </a:p>
        <a:p>
          <a:pPr marL="0" lvl="0" indent="0" algn="l" defTabSz="444500">
            <a:lnSpc>
              <a:spcPct val="90000"/>
            </a:lnSpc>
            <a:spcBef>
              <a:spcPct val="0"/>
            </a:spcBef>
            <a:spcAft>
              <a:spcPct val="35000"/>
            </a:spcAft>
            <a:buNone/>
          </a:pPr>
          <a:r>
            <a:rPr lang="en-AU" sz="1000" kern="1200" dirty="0">
              <a:hlinkClick xmlns:r="http://schemas.openxmlformats.org/officeDocument/2006/relationships" r:id="rId3"/>
            </a:rPr>
            <a:t>https://learn.aurtra.net/hc/en-us/articles/360039714671-IEEE-Doernenburg-Gas-Limit-Analysis</a:t>
          </a:r>
          <a:endParaRPr lang="en-AU" sz="1000" kern="1200" dirty="0"/>
        </a:p>
        <a:p>
          <a:pPr marL="0" lvl="0" indent="0" algn="l" defTabSz="444500">
            <a:lnSpc>
              <a:spcPct val="90000"/>
            </a:lnSpc>
            <a:spcBef>
              <a:spcPct val="0"/>
            </a:spcBef>
            <a:spcAft>
              <a:spcPct val="35000"/>
            </a:spcAft>
            <a:buNone/>
          </a:pPr>
          <a:r>
            <a:rPr lang="en-AU" sz="1000" kern="1200" dirty="0">
              <a:hlinkClick xmlns:r="http://schemas.openxmlformats.org/officeDocument/2006/relationships" r:id="rId4"/>
            </a:rPr>
            <a:t>https://learn.aurtra.net/hc/en-us/articles/360039714631-IEEE-Doernenburg-Ratio-Analysis</a:t>
          </a:r>
          <a:endParaRPr lang="en-AU" sz="1000" kern="1200" dirty="0"/>
        </a:p>
        <a:p>
          <a:pPr marL="0" lvl="0" indent="0" algn="l" defTabSz="444500">
            <a:lnSpc>
              <a:spcPct val="90000"/>
            </a:lnSpc>
            <a:spcBef>
              <a:spcPct val="0"/>
            </a:spcBef>
            <a:spcAft>
              <a:spcPct val="35000"/>
            </a:spcAft>
            <a:buNone/>
          </a:pPr>
          <a:br>
            <a:rPr lang="en-AU" sz="1000" kern="1200" dirty="0"/>
          </a:br>
          <a:endParaRPr lang="en-AU" sz="1000" kern="1200" dirty="0"/>
        </a:p>
      </dsp:txBody>
      <dsp:txXfrm>
        <a:off x="0" y="635550"/>
        <a:ext cx="8679570" cy="635162"/>
      </dsp:txXfrm>
    </dsp:sp>
    <dsp:sp modelId="{DD3C92C1-3562-46C7-BE2D-94B1DB75FB85}">
      <dsp:nvSpPr>
        <dsp:cNvPr id="0" name=""/>
        <dsp:cNvSpPr/>
      </dsp:nvSpPr>
      <dsp:spPr>
        <a:xfrm>
          <a:off x="0" y="1270713"/>
          <a:ext cx="8679570" cy="0"/>
        </a:xfrm>
        <a:prstGeom prst="line">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3AD5AFC3-F314-49D2-B560-FCE697FF6AB6}">
      <dsp:nvSpPr>
        <dsp:cNvPr id="0" name=""/>
        <dsp:cNvSpPr/>
      </dsp:nvSpPr>
      <dsp:spPr>
        <a:xfrm>
          <a:off x="0" y="1270713"/>
          <a:ext cx="8679570" cy="6351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endParaRPr lang="en-AU" sz="1000" kern="1200" dirty="0">
            <a:latin typeface="Arial" panose="020B0604020202020204" pitchFamily="34" charset="0"/>
            <a:cs typeface="Arial" panose="020B0604020202020204" pitchFamily="34" charset="0"/>
          </a:endParaRPr>
        </a:p>
        <a:p>
          <a:pPr marL="0" lvl="0" indent="0" algn="l" defTabSz="444500">
            <a:lnSpc>
              <a:spcPct val="90000"/>
            </a:lnSpc>
            <a:spcBef>
              <a:spcPct val="0"/>
            </a:spcBef>
            <a:spcAft>
              <a:spcPct val="35000"/>
            </a:spcAft>
            <a:buNone/>
          </a:pPr>
          <a:r>
            <a:rPr lang="en-AU" sz="1000" kern="1200" dirty="0">
              <a:latin typeface="Arial" panose="020B0604020202020204" pitchFamily="34" charset="0"/>
              <a:cs typeface="Arial" panose="020B0604020202020204" pitchFamily="34" charset="0"/>
            </a:rPr>
            <a:t>Duval Triangles &amp; Pentagons</a:t>
          </a:r>
          <a:br>
            <a:rPr lang="en-AU" sz="1000" kern="1200" dirty="0">
              <a:latin typeface="Arial" panose="020B0604020202020204" pitchFamily="34" charset="0"/>
              <a:cs typeface="Arial" panose="020B0604020202020204" pitchFamily="34" charset="0"/>
            </a:rPr>
          </a:br>
          <a:r>
            <a:rPr lang="en-AU" sz="1000" kern="1200" dirty="0">
              <a:latin typeface="Arial" panose="020B0604020202020204" pitchFamily="34" charset="0"/>
              <a:cs typeface="Arial" panose="020B0604020202020204" pitchFamily="34" charset="0"/>
              <a:hlinkClick xmlns:r="http://schemas.openxmlformats.org/officeDocument/2006/relationships" r:id="rId5"/>
            </a:rPr>
            <a:t>https://learn.aurtra.net/hc/en-us/articles/360039311312-Duval-Triangle</a:t>
          </a:r>
          <a:endParaRPr lang="en-US" sz="1000" kern="1200" dirty="0">
            <a:latin typeface="Arial" panose="020B0604020202020204" pitchFamily="34" charset="0"/>
            <a:cs typeface="Arial" panose="020B0604020202020204" pitchFamily="34" charset="0"/>
          </a:endParaRPr>
        </a:p>
      </dsp:txBody>
      <dsp:txXfrm>
        <a:off x="0" y="1270713"/>
        <a:ext cx="8679570" cy="635162"/>
      </dsp:txXfrm>
    </dsp:sp>
    <dsp:sp modelId="{8C794CA3-3CF7-42C1-BCAD-BF2F604164D2}">
      <dsp:nvSpPr>
        <dsp:cNvPr id="0" name=""/>
        <dsp:cNvSpPr/>
      </dsp:nvSpPr>
      <dsp:spPr>
        <a:xfrm>
          <a:off x="0" y="1905875"/>
          <a:ext cx="8679570" cy="0"/>
        </a:xfrm>
        <a:prstGeom prst="line">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B4AF9303-0DB5-46A0-876A-21B9215692BF}">
      <dsp:nvSpPr>
        <dsp:cNvPr id="0" name=""/>
        <dsp:cNvSpPr/>
      </dsp:nvSpPr>
      <dsp:spPr>
        <a:xfrm>
          <a:off x="0" y="1905875"/>
          <a:ext cx="8679570" cy="6351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endParaRPr lang="en-AU" sz="1000" kern="1200" dirty="0">
            <a:latin typeface="+mn-lt"/>
            <a:cs typeface="Arial" panose="020B0604020202020204" pitchFamily="34" charset="0"/>
          </a:endParaRPr>
        </a:p>
        <a:p>
          <a:pPr marL="0" lvl="0" indent="0" algn="l" defTabSz="444500">
            <a:lnSpc>
              <a:spcPct val="90000"/>
            </a:lnSpc>
            <a:spcBef>
              <a:spcPct val="0"/>
            </a:spcBef>
            <a:spcAft>
              <a:spcPct val="35000"/>
            </a:spcAft>
            <a:buNone/>
          </a:pPr>
          <a:r>
            <a:rPr lang="en-AU" sz="1000" kern="1200" dirty="0">
              <a:latin typeface="+mn-lt"/>
              <a:cs typeface="Arial" panose="020B0604020202020204" pitchFamily="34" charset="0"/>
            </a:rPr>
            <a:t>Oil Quality</a:t>
          </a:r>
          <a:br>
            <a:rPr lang="en-AU" sz="1000" kern="1200" dirty="0">
              <a:latin typeface="+mn-lt"/>
              <a:cs typeface="Arial" panose="020B0604020202020204" pitchFamily="34" charset="0"/>
            </a:rPr>
          </a:br>
          <a:r>
            <a:rPr lang="en-AU" sz="1000" kern="1200" dirty="0">
              <a:latin typeface="+mn-lt"/>
              <a:cs typeface="Arial" panose="020B0604020202020204" pitchFamily="34" charset="0"/>
              <a:hlinkClick xmlns:r="http://schemas.openxmlformats.org/officeDocument/2006/relationships" r:id="rId6"/>
            </a:rPr>
            <a:t>https://learn.aurtra.net/hc/en-us/articles/4403551179289</a:t>
          </a:r>
          <a:endParaRPr lang="en-US" sz="1000" kern="1200" dirty="0">
            <a:latin typeface="+mn-lt"/>
            <a:cs typeface="Arial" panose="020B0604020202020204" pitchFamily="34" charset="0"/>
          </a:endParaRPr>
        </a:p>
      </dsp:txBody>
      <dsp:txXfrm>
        <a:off x="0" y="1905875"/>
        <a:ext cx="8679570" cy="635162"/>
      </dsp:txXfrm>
    </dsp:sp>
    <dsp:sp modelId="{C3F364FB-9B2C-4A68-8574-8B863616EC70}">
      <dsp:nvSpPr>
        <dsp:cNvPr id="0" name=""/>
        <dsp:cNvSpPr/>
      </dsp:nvSpPr>
      <dsp:spPr>
        <a:xfrm>
          <a:off x="0" y="2541038"/>
          <a:ext cx="8679570" cy="0"/>
        </a:xfrm>
        <a:prstGeom prst="line">
          <a:avLst/>
        </a:prstGeom>
        <a:gradFill rotWithShape="0">
          <a:gsLst>
            <a:gs pos="0">
              <a:schemeClr val="accent2">
                <a:hueOff val="0"/>
                <a:satOff val="0"/>
                <a:lumOff val="0"/>
                <a:alphaOff val="0"/>
                <a:tint val="100000"/>
                <a:shade val="100000"/>
                <a:satMod val="130000"/>
              </a:schemeClr>
            </a:gs>
            <a:gs pos="100000">
              <a:schemeClr val="accent2">
                <a:hueOff val="0"/>
                <a:satOff val="0"/>
                <a:lumOff val="0"/>
                <a:alphaOff val="0"/>
                <a:tint val="50000"/>
                <a:shade val="100000"/>
                <a:satMod val="350000"/>
              </a:schemeClr>
            </a:gs>
          </a:gsLst>
          <a:lin ang="16200000" scaled="0"/>
        </a:gra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8EB6920F-CB18-4657-8E3A-E76FCB4CE6A9}">
      <dsp:nvSpPr>
        <dsp:cNvPr id="0" name=""/>
        <dsp:cNvSpPr/>
      </dsp:nvSpPr>
      <dsp:spPr>
        <a:xfrm>
          <a:off x="0" y="2541038"/>
          <a:ext cx="8679570" cy="6351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endParaRPr lang="en-AU" sz="1000" kern="1200" dirty="0"/>
        </a:p>
        <a:p>
          <a:pPr marL="0" lvl="0" indent="0" algn="l" defTabSz="444500">
            <a:lnSpc>
              <a:spcPct val="90000"/>
            </a:lnSpc>
            <a:spcBef>
              <a:spcPct val="0"/>
            </a:spcBef>
            <a:spcAft>
              <a:spcPct val="35000"/>
            </a:spcAft>
            <a:buNone/>
          </a:pPr>
          <a:r>
            <a:rPr lang="en-AU" sz="1000" kern="1200" dirty="0"/>
            <a:t>DP History</a:t>
          </a:r>
          <a:br>
            <a:rPr lang="en-AU" sz="1000" kern="1200" dirty="0"/>
          </a:br>
          <a:r>
            <a:rPr lang="en-AU" sz="1000" kern="1200" dirty="0">
              <a:hlinkClick xmlns:r="http://schemas.openxmlformats.org/officeDocument/2006/relationships" r:id="rId7"/>
            </a:rPr>
            <a:t>https://learn.aurtra.net/hc/en-us/articles/360038865592-Top-Paper-DP-History</a:t>
          </a:r>
          <a:br>
            <a:rPr lang="en-AU" sz="800" kern="1200" dirty="0"/>
          </a:br>
          <a:br>
            <a:rPr lang="en-AU" sz="800" kern="1200" dirty="0"/>
          </a:br>
          <a:endParaRPr lang="en-US" sz="800" kern="1200" dirty="0"/>
        </a:p>
      </dsp:txBody>
      <dsp:txXfrm>
        <a:off x="0" y="2541038"/>
        <a:ext cx="8679570" cy="63516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122E3A8-67DD-A54D-9ACE-7F6180D1A288}" type="datetimeFigureOut">
              <a:rPr lang="en-US" smtClean="0">
                <a:latin typeface="Arial" panose="020B0604020202020204" pitchFamily="34" charset="0"/>
              </a:rPr>
              <a:pPr/>
              <a:t>8/23/20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5D751CF-426F-9546-9000-18E529FDEBDA}" type="slidenum">
              <a:rPr lang="en-US" smtClean="0">
                <a:latin typeface="Arial" panose="020B0604020202020204" pitchFamily="34" charset="0"/>
              </a:rPr>
              <a:pPr/>
              <a:t>‹#›</a:t>
            </a:fld>
            <a:endParaRPr lang="en-US" dirty="0">
              <a:latin typeface="Arial" panose="020B0604020202020204" pitchFamily="34" charset="0"/>
            </a:endParaRPr>
          </a:p>
        </p:txBody>
      </p:sp>
    </p:spTree>
    <p:extLst>
      <p:ext uri="{BB962C8B-B14F-4D97-AF65-F5344CB8AC3E}">
        <p14:creationId xmlns:p14="http://schemas.microsoft.com/office/powerpoint/2010/main" val="39998927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Arial" panose="020B0604020202020204" pitchFamily="34" charset="0"/>
              </a:defRPr>
            </a:lvl1pPr>
          </a:lstStyle>
          <a:p>
            <a:fld id="{95BCB8AE-B9B2-1648-AE7C-D9F4FF496627}" type="datetimeFigureOut">
              <a:rPr lang="en-US" smtClean="0"/>
              <a:pPr/>
              <a:t>8/23/202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E7F34D1A-B7E5-DE48-8EA9-859D9DE63652}" type="slidenum">
              <a:rPr lang="en-US" smtClean="0"/>
              <a:pPr/>
              <a:t>‹#›</a:t>
            </a:fld>
            <a:endParaRPr lang="en-US" dirty="0"/>
          </a:p>
        </p:txBody>
      </p:sp>
    </p:spTree>
    <p:extLst>
      <p:ext uri="{BB962C8B-B14F-4D97-AF65-F5344CB8AC3E}">
        <p14:creationId xmlns:p14="http://schemas.microsoft.com/office/powerpoint/2010/main" val="725433361"/>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b="0" i="0" kern="1200">
        <a:solidFill>
          <a:schemeClr val="tx1"/>
        </a:solidFill>
        <a:latin typeface="Arial" panose="020B0604020202020204" pitchFamily="34" charset="0"/>
        <a:ea typeface="+mn-ea"/>
        <a:cs typeface="+mn-cs"/>
      </a:defRPr>
    </a:lvl1pPr>
    <a:lvl2pPr marL="457200" algn="l" defTabSz="457200" rtl="0" eaLnBrk="1" latinLnBrk="0" hangingPunct="1">
      <a:defRPr sz="1200" b="0" i="0" kern="1200">
        <a:solidFill>
          <a:schemeClr val="tx1"/>
        </a:solidFill>
        <a:latin typeface="Arial" panose="020B0604020202020204" pitchFamily="34" charset="0"/>
        <a:ea typeface="+mn-ea"/>
        <a:cs typeface="+mn-cs"/>
      </a:defRPr>
    </a:lvl2pPr>
    <a:lvl3pPr marL="914400" algn="l" defTabSz="457200" rtl="0" eaLnBrk="1" latinLnBrk="0" hangingPunct="1">
      <a:defRPr sz="1200" b="0" i="0" kern="1200">
        <a:solidFill>
          <a:schemeClr val="tx1"/>
        </a:solidFill>
        <a:latin typeface="Arial" panose="020B0604020202020204" pitchFamily="34" charset="0"/>
        <a:ea typeface="+mn-ea"/>
        <a:cs typeface="+mn-cs"/>
      </a:defRPr>
    </a:lvl3pPr>
    <a:lvl4pPr marL="1371600" algn="l" defTabSz="457200" rtl="0" eaLnBrk="1" latinLnBrk="0" hangingPunct="1">
      <a:defRPr sz="1200" b="0" i="0" kern="1200">
        <a:solidFill>
          <a:schemeClr val="tx1"/>
        </a:solidFill>
        <a:latin typeface="Arial" panose="020B0604020202020204" pitchFamily="34" charset="0"/>
        <a:ea typeface="+mn-ea"/>
        <a:cs typeface="+mn-cs"/>
      </a:defRPr>
    </a:lvl4pPr>
    <a:lvl5pPr marL="1828800" algn="l" defTabSz="457200" rtl="0" eaLnBrk="1" latinLnBrk="0" hangingPunct="1">
      <a:defRPr sz="1200" b="0" i="0" kern="1200">
        <a:solidFill>
          <a:schemeClr val="tx1"/>
        </a:solidFill>
        <a:latin typeface="Arial" panose="020B0604020202020204" pitchFamily="34" charset="0"/>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7F34D1A-B7E5-DE48-8EA9-859D9DE63652}" type="slidenum">
              <a:rPr lang="en-US" smtClean="0"/>
              <a:pPr/>
              <a:t>1</a:t>
            </a:fld>
            <a:endParaRPr lang="en-US" dirty="0"/>
          </a:p>
        </p:txBody>
      </p:sp>
    </p:spTree>
    <p:extLst>
      <p:ext uri="{BB962C8B-B14F-4D97-AF65-F5344CB8AC3E}">
        <p14:creationId xmlns:p14="http://schemas.microsoft.com/office/powerpoint/2010/main" val="16587107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32.xml"/><Relationship Id="rId7" Type="http://schemas.openxmlformats.org/officeDocument/2006/relationships/image" Target="../media/image11.jpe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xml"/><Relationship Id="rId7" Type="http://schemas.openxmlformats.org/officeDocument/2006/relationships/image" Target="../media/image11.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4.xml"/><Relationship Id="rId7" Type="http://schemas.openxmlformats.org/officeDocument/2006/relationships/image" Target="../media/image10.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image" Target="../media/image13.jpeg"/><Relationship Id="rId4"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6.xml"/><Relationship Id="rId7" Type="http://schemas.openxmlformats.org/officeDocument/2006/relationships/image" Target="../media/image10.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image" Target="../media/image14.jpeg"/><Relationship Id="rId4"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8.xml"/><Relationship Id="rId7" Type="http://schemas.openxmlformats.org/officeDocument/2006/relationships/image" Target="../media/image10.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1.bin"/><Relationship Id="rId5" Type="http://schemas.openxmlformats.org/officeDocument/2006/relationships/image" Target="../media/image15.jpeg"/><Relationship Id="rId4"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0.xml"/><Relationship Id="rId7" Type="http://schemas.openxmlformats.org/officeDocument/2006/relationships/image" Target="../media/image10.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1.bin"/><Relationship Id="rId5" Type="http://schemas.openxmlformats.org/officeDocument/2006/relationships/image" Target="../media/image16.jpeg"/><Relationship Id="rId4"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2.xml"/><Relationship Id="rId7" Type="http://schemas.openxmlformats.org/officeDocument/2006/relationships/image" Target="../media/image11.jpe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4.xml"/><Relationship Id="rId7" Type="http://schemas.openxmlformats.org/officeDocument/2006/relationships/image" Target="../media/image10.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3.jpeg"/><Relationship Id="rId4"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6.xml"/><Relationship Id="rId7" Type="http://schemas.openxmlformats.org/officeDocument/2006/relationships/image" Target="../media/image10.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2.bin"/><Relationship Id="rId5" Type="http://schemas.openxmlformats.org/officeDocument/2006/relationships/image" Target="../media/image14.jpeg"/><Relationship Id="rId4"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8.xml"/><Relationship Id="rId7" Type="http://schemas.openxmlformats.org/officeDocument/2006/relationships/image" Target="../media/image10.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2.bin"/><Relationship Id="rId5" Type="http://schemas.openxmlformats.org/officeDocument/2006/relationships/image" Target="../media/image15.jpeg"/><Relationship Id="rId4"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0.xml"/><Relationship Id="rId7" Type="http://schemas.openxmlformats.org/officeDocument/2006/relationships/image" Target="../media/image10.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2.bin"/><Relationship Id="rId5" Type="http://schemas.openxmlformats.org/officeDocument/2006/relationships/image" Target="../media/image16.jpeg"/><Relationship Id="rId4"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2.xml"/><Relationship Id="rId7" Type="http://schemas.openxmlformats.org/officeDocument/2006/relationships/image" Target="../media/image11.jpe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4.xml"/><Relationship Id="rId7" Type="http://schemas.openxmlformats.org/officeDocument/2006/relationships/image" Target="../media/image10.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3.bin"/><Relationship Id="rId5" Type="http://schemas.openxmlformats.org/officeDocument/2006/relationships/image" Target="../media/image13.jpeg"/><Relationship Id="rId4"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6.xml"/><Relationship Id="rId7" Type="http://schemas.openxmlformats.org/officeDocument/2006/relationships/image" Target="../media/image10.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3.bin"/><Relationship Id="rId5" Type="http://schemas.openxmlformats.org/officeDocument/2006/relationships/image" Target="../media/image14.jpeg"/><Relationship Id="rId4"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8.xml"/><Relationship Id="rId7" Type="http://schemas.openxmlformats.org/officeDocument/2006/relationships/image" Target="../media/image10.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3.bin"/><Relationship Id="rId5" Type="http://schemas.openxmlformats.org/officeDocument/2006/relationships/image" Target="../media/image15.jpeg"/><Relationship Id="rId4"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30.xml"/><Relationship Id="rId7" Type="http://schemas.openxmlformats.org/officeDocument/2006/relationships/image" Target="../media/image10.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oleObject" Target="../embeddings/oleObject3.bin"/><Relationship Id="rId5" Type="http://schemas.openxmlformats.org/officeDocument/2006/relationships/image" Target="../media/image16.jpeg"/><Relationship Id="rId4"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9144000" cy="4381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8" name="Title 1"/>
          <p:cNvSpPr>
            <a:spLocks noGrp="1"/>
          </p:cNvSpPr>
          <p:nvPr>
            <p:ph type="ctrTitle" hasCustomPrompt="1"/>
          </p:nvPr>
        </p:nvSpPr>
        <p:spPr>
          <a:xfrm>
            <a:off x="252414" y="1971244"/>
            <a:ext cx="8673872" cy="553998"/>
          </a:xfrm>
          <a:prstGeom prst="rect">
            <a:avLst/>
          </a:prstGeom>
        </p:spPr>
        <p:txBody>
          <a:bodyPr lIns="0" tIns="0" rIns="0" bIns="0" anchor="ctr" anchorCtr="0">
            <a:spAutoFit/>
          </a:bodyPr>
          <a:lstStyle>
            <a:lvl1pPr marL="0" indent="0" algn="l">
              <a:buFont typeface="Arial"/>
              <a:buNone/>
              <a:defRPr sz="3600">
                <a:solidFill>
                  <a:schemeClr val="tx2"/>
                </a:solidFill>
              </a:defRPr>
            </a:lvl1pPr>
          </a:lstStyle>
          <a:p>
            <a:r>
              <a:rPr lang="en-US"/>
              <a:t>Click To Edit Master Title Style</a:t>
            </a:r>
          </a:p>
        </p:txBody>
      </p:sp>
      <p:sp>
        <p:nvSpPr>
          <p:cNvPr id="9" name="Subtitle 2"/>
          <p:cNvSpPr>
            <a:spLocks noGrp="1"/>
          </p:cNvSpPr>
          <p:nvPr>
            <p:ph type="subTitle" idx="1" hasCustomPrompt="1"/>
          </p:nvPr>
        </p:nvSpPr>
        <p:spPr>
          <a:xfrm>
            <a:off x="252414" y="2566267"/>
            <a:ext cx="8673872" cy="307777"/>
          </a:xfrm>
          <a:prstGeom prst="rect">
            <a:avLst/>
          </a:prstGeom>
        </p:spPr>
        <p:txBody>
          <a:bodyPr lIns="0" tIns="0" rIns="0" bIns="0">
            <a:spAutoFit/>
          </a:bodyPr>
          <a:lstStyle>
            <a:lvl1pPr marL="0" indent="0" algn="l">
              <a:buNone/>
              <a:defRPr sz="20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sp>
        <p:nvSpPr>
          <p:cNvPr id="11" name="Rectangle 10"/>
          <p:cNvSpPr/>
          <p:nvPr userDrawn="1"/>
        </p:nvSpPr>
        <p:spPr>
          <a:xfrm flipV="1">
            <a:off x="0" y="3711677"/>
            <a:ext cx="9144000" cy="675319"/>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Text Placeholder 13"/>
          <p:cNvSpPr>
            <a:spLocks noGrp="1"/>
          </p:cNvSpPr>
          <p:nvPr>
            <p:ph type="body" sz="quarter" idx="11" hasCustomPrompt="1"/>
          </p:nvPr>
        </p:nvSpPr>
        <p:spPr>
          <a:xfrm>
            <a:off x="252414" y="3954254"/>
            <a:ext cx="4360862" cy="184666"/>
          </a:xfrm>
          <a:prstGeom prst="rect">
            <a:avLst/>
          </a:prstGeom>
        </p:spPr>
        <p:txBody>
          <a:bodyPr lIns="0" tIns="0" rIns="0" bIns="0" anchor="ctr" anchorCtr="0">
            <a:spAutoFit/>
          </a:bodyPr>
          <a:lstStyle>
            <a:lvl1pPr marL="0" indent="0">
              <a:buNone/>
              <a:defRPr sz="1200">
                <a:solidFill>
                  <a:schemeClr val="bg1"/>
                </a:solidFill>
              </a:defRPr>
            </a:lvl1pPr>
          </a:lstStyle>
          <a:p>
            <a:pPr lvl="0"/>
            <a:r>
              <a:rPr lang="en-US"/>
              <a:t>Presented by:</a:t>
            </a:r>
          </a:p>
        </p:txBody>
      </p:sp>
      <p:sp>
        <p:nvSpPr>
          <p:cNvPr id="13" name="Rectangle 12"/>
          <p:cNvSpPr/>
          <p:nvPr userDrawn="1"/>
        </p:nvSpPr>
        <p:spPr>
          <a:xfrm>
            <a:off x="0" y="4386996"/>
            <a:ext cx="9144000" cy="10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Footer Placeholder 4"/>
          <p:cNvSpPr>
            <a:spLocks noGrp="1"/>
          </p:cNvSpPr>
          <p:nvPr>
            <p:ph type="ftr" sz="quarter" idx="3"/>
          </p:nvPr>
        </p:nvSpPr>
        <p:spPr>
          <a:xfrm>
            <a:off x="252413" y="4857154"/>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dirty="0"/>
              <a:t>Confidential Property of Schneider Electric |</a:t>
            </a:r>
          </a:p>
        </p:txBody>
      </p:sp>
      <p:pic>
        <p:nvPicPr>
          <p:cNvPr id="15" name="Picture 14"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Tree>
    <p:extLst>
      <p:ext uri="{BB962C8B-B14F-4D97-AF65-F5344CB8AC3E}">
        <p14:creationId xmlns:p14="http://schemas.microsoft.com/office/powerpoint/2010/main" val="3401949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252414" y="2955454"/>
            <a:ext cx="8577820" cy="307777"/>
          </a:xfrm>
          <a:prstGeom prst="rect">
            <a:avLst/>
          </a:prstGeom>
        </p:spPr>
        <p:txBody>
          <a:bodyPr lIns="0" tIns="0" rIns="0" bIns="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pic>
        <p:nvPicPr>
          <p:cNvPr id="10" name="Picture 9"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19199211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6" name="Text Placeholder 11"/>
          <p:cNvSpPr>
            <a:spLocks noGrp="1"/>
          </p:cNvSpPr>
          <p:nvPr>
            <p:ph type="body" sz="quarter" idx="13" hasCustomPrompt="1"/>
          </p:nvPr>
        </p:nvSpPr>
        <p:spPr>
          <a:xfrm>
            <a:off x="252413" y="406630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13" name="Text Placeholder 11"/>
          <p:cNvSpPr>
            <a:spLocks noGrp="1"/>
          </p:cNvSpPr>
          <p:nvPr>
            <p:ph type="body" sz="quarter" idx="21" hasCustomPrompt="1"/>
          </p:nvPr>
        </p:nvSpPr>
        <p:spPr>
          <a:xfrm>
            <a:off x="6192838" y="406630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6" name="Text Placeholder 11"/>
          <p:cNvSpPr>
            <a:spLocks noGrp="1"/>
          </p:cNvSpPr>
          <p:nvPr>
            <p:ph type="body" sz="quarter" idx="24" hasCustomPrompt="1"/>
          </p:nvPr>
        </p:nvSpPr>
        <p:spPr>
          <a:xfrm>
            <a:off x="3232554" y="406630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5" name="Text Placeholder 2"/>
          <p:cNvSpPr>
            <a:spLocks noGrp="1"/>
          </p:cNvSpPr>
          <p:nvPr>
            <p:ph type="body" idx="1"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cxnSp>
        <p:nvCxnSpPr>
          <p:cNvPr id="19" name="Straight Connector 18"/>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05503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31"/>
          </p:nvPr>
        </p:nvSpPr>
        <p:spPr>
          <a:xfrm>
            <a:off x="258056" y="1203325"/>
            <a:ext cx="2673249"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p:cNvSpPr>
            <a:spLocks noGrp="1"/>
          </p:cNvSpPr>
          <p:nvPr>
            <p:ph sz="quarter" idx="32"/>
          </p:nvPr>
        </p:nvSpPr>
        <p:spPr>
          <a:xfrm>
            <a:off x="3232554" y="1203325"/>
            <a:ext cx="2678893" cy="1405513"/>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33"/>
          </p:nvPr>
        </p:nvSpPr>
        <p:spPr>
          <a:xfrm>
            <a:off x="6192838" y="1203325"/>
            <a:ext cx="2678893"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48684165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2" y="1203326"/>
            <a:ext cx="8639175"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33"/>
          </p:nvPr>
        </p:nvSpPr>
        <p:spPr>
          <a:xfrm>
            <a:off x="252412" y="2872039"/>
            <a:ext cx="2683481"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4"/>
          <p:cNvSpPr>
            <a:spLocks noGrp="1"/>
          </p:cNvSpPr>
          <p:nvPr>
            <p:ph sz="quarter" idx="34"/>
          </p:nvPr>
        </p:nvSpPr>
        <p:spPr>
          <a:xfrm>
            <a:off x="3232553" y="2872039"/>
            <a:ext cx="2678893"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8"/>
          <p:cNvSpPr>
            <a:spLocks noGrp="1"/>
          </p:cNvSpPr>
          <p:nvPr>
            <p:ph sz="quarter" idx="35"/>
          </p:nvPr>
        </p:nvSpPr>
        <p:spPr>
          <a:xfrm>
            <a:off x="6192837" y="2872039"/>
            <a:ext cx="2678893"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1"/>
          <p:cNvSpPr>
            <a:spLocks noGrp="1"/>
          </p:cNvSpPr>
          <p:nvPr>
            <p:ph type="body" sz="quarter" idx="18" hasCustomPrompt="1"/>
          </p:nvPr>
        </p:nvSpPr>
        <p:spPr>
          <a:xfrm>
            <a:off x="258055" y="2696071"/>
            <a:ext cx="863353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8" name="Text Placeholder 2"/>
          <p:cNvSpPr>
            <a:spLocks noGrp="1"/>
          </p:cNvSpPr>
          <p:nvPr>
            <p:ph type="body" idx="15"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4" name="Text Placeholder 11"/>
          <p:cNvSpPr>
            <a:spLocks noGrp="1"/>
          </p:cNvSpPr>
          <p:nvPr>
            <p:ph type="body" sz="quarter" idx="13" hasCustomPrompt="1"/>
          </p:nvPr>
        </p:nvSpPr>
        <p:spPr>
          <a:xfrm>
            <a:off x="252413" y="4376262"/>
            <a:ext cx="268348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6" name="Text Placeholder 11"/>
          <p:cNvSpPr>
            <a:spLocks noGrp="1"/>
          </p:cNvSpPr>
          <p:nvPr>
            <p:ph type="body" sz="quarter" idx="21" hasCustomPrompt="1"/>
          </p:nvPr>
        </p:nvSpPr>
        <p:spPr>
          <a:xfrm>
            <a:off x="6192838" y="437626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8" name="Text Placeholder 11"/>
          <p:cNvSpPr>
            <a:spLocks noGrp="1"/>
          </p:cNvSpPr>
          <p:nvPr>
            <p:ph type="body" sz="quarter" idx="24" hasCustomPrompt="1"/>
          </p:nvPr>
        </p:nvSpPr>
        <p:spPr>
          <a:xfrm>
            <a:off x="3232554" y="437626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401005386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21574978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Market Pictos_Green">
    <p:spTree>
      <p:nvGrpSpPr>
        <p:cNvPr id="1" name=""/>
        <p:cNvGrpSpPr/>
        <p:nvPr/>
      </p:nvGrpSpPr>
      <p:grpSpPr>
        <a:xfrm>
          <a:off x="0" y="0"/>
          <a:ext cx="0" cy="0"/>
          <a:chOff x="0" y="0"/>
          <a:chExt cx="0" cy="0"/>
        </a:xfrm>
      </p:grpSpPr>
      <p:sp>
        <p:nvSpPr>
          <p:cNvPr id="91" name="Title 1"/>
          <p:cNvSpPr>
            <a:spLocks noGrp="1"/>
          </p:cNvSpPr>
          <p:nvPr>
            <p:ph type="title" hasCustomPrompt="1"/>
          </p:nvPr>
        </p:nvSpPr>
        <p:spPr>
          <a:xfrm>
            <a:off x="457200" y="203598"/>
            <a:ext cx="8229600" cy="369332"/>
          </a:xfrm>
        </p:spPr>
        <p:txBody>
          <a:bodyPr/>
          <a:lstStyle>
            <a:lvl1pPr algn="l">
              <a:defRPr>
                <a:solidFill>
                  <a:srgbClr val="009530"/>
                </a:solidFill>
              </a:defRPr>
            </a:lvl1pPr>
          </a:lstStyle>
          <a:p>
            <a:r>
              <a:rPr lang="en-US" dirty="0"/>
              <a:t>Market </a:t>
            </a:r>
            <a:r>
              <a:rPr lang="en-US" dirty="0" err="1"/>
              <a:t>Pictos</a:t>
            </a:r>
            <a:endParaRPr lang="en-US" noProof="0" dirty="0"/>
          </a:p>
        </p:txBody>
      </p:sp>
      <p:sp>
        <p:nvSpPr>
          <p:cNvPr id="264" name="Freeform 156"/>
          <p:cNvSpPr>
            <a:spLocks noChangeAspect="1"/>
          </p:cNvSpPr>
          <p:nvPr userDrawn="1"/>
        </p:nvSpPr>
        <p:spPr bwMode="auto">
          <a:xfrm>
            <a:off x="7765333" y="1646520"/>
            <a:ext cx="293951" cy="294894"/>
          </a:xfrm>
          <a:custGeom>
            <a:avLst/>
            <a:gdLst/>
            <a:ahLst/>
            <a:cxnLst>
              <a:cxn ang="0">
                <a:pos x="319" y="205"/>
              </a:cxn>
              <a:cxn ang="0">
                <a:pos x="264" y="194"/>
              </a:cxn>
              <a:cxn ang="0">
                <a:pos x="255" y="169"/>
              </a:cxn>
              <a:cxn ang="0">
                <a:pos x="369" y="136"/>
              </a:cxn>
              <a:cxn ang="0">
                <a:pos x="379" y="121"/>
              </a:cxn>
              <a:cxn ang="0">
                <a:pos x="362" y="62"/>
              </a:cxn>
              <a:cxn ang="0">
                <a:pos x="277" y="0"/>
              </a:cxn>
              <a:cxn ang="0">
                <a:pos x="184" y="135"/>
              </a:cxn>
              <a:cxn ang="0">
                <a:pos x="174" y="138"/>
              </a:cxn>
              <a:cxn ang="0">
                <a:pos x="136" y="16"/>
              </a:cxn>
              <a:cxn ang="0">
                <a:pos x="121" y="7"/>
              </a:cxn>
              <a:cxn ang="0">
                <a:pos x="62" y="24"/>
              </a:cxn>
              <a:cxn ang="0">
                <a:pos x="0" y="108"/>
              </a:cxn>
              <a:cxn ang="0">
                <a:pos x="75" y="190"/>
              </a:cxn>
              <a:cxn ang="0">
                <a:pos x="129" y="201"/>
              </a:cxn>
              <a:cxn ang="0">
                <a:pos x="135" y="228"/>
              </a:cxn>
              <a:cxn ang="0">
                <a:pos x="24" y="257"/>
              </a:cxn>
              <a:cxn ang="0">
                <a:pos x="14" y="271"/>
              </a:cxn>
              <a:cxn ang="0">
                <a:pos x="31" y="330"/>
              </a:cxn>
              <a:cxn ang="0">
                <a:pos x="115" y="393"/>
              </a:cxn>
              <a:cxn ang="0">
                <a:pos x="197" y="322"/>
              </a:cxn>
              <a:cxn ang="0">
                <a:pos x="210" y="257"/>
              </a:cxn>
              <a:cxn ang="0">
                <a:pos x="198" y="243"/>
              </a:cxn>
              <a:cxn ang="0">
                <a:pos x="184" y="256"/>
              </a:cxn>
              <a:cxn ang="0">
                <a:pos x="184" y="256"/>
              </a:cxn>
              <a:cxn ang="0">
                <a:pos x="115" y="366"/>
              </a:cxn>
              <a:cxn ang="0">
                <a:pos x="42" y="280"/>
              </a:cxn>
              <a:cxn ang="0">
                <a:pos x="158" y="250"/>
              </a:cxn>
              <a:cxn ang="0">
                <a:pos x="168" y="241"/>
              </a:cxn>
              <a:cxn ang="0">
                <a:pos x="165" y="228"/>
              </a:cxn>
              <a:cxn ang="0">
                <a:pos x="157" y="193"/>
              </a:cxn>
              <a:cxn ang="0">
                <a:pos x="155" y="181"/>
              </a:cxn>
              <a:cxn ang="0">
                <a:pos x="145" y="176"/>
              </a:cxn>
              <a:cxn ang="0">
                <a:pos x="26" y="108"/>
              </a:cxn>
              <a:cxn ang="0">
                <a:pos x="114" y="35"/>
              </a:cxn>
              <a:cxn ang="0">
                <a:pos x="153" y="162"/>
              </a:cxn>
              <a:cxn ang="0">
                <a:pos x="162" y="170"/>
              </a:cxn>
              <a:cxn ang="0">
                <a:pos x="174" y="168"/>
              </a:cxn>
              <a:cxn ang="0">
                <a:pos x="195" y="161"/>
              </a:cxn>
              <a:cxn ang="0">
                <a:pos x="205" y="158"/>
              </a:cxn>
              <a:cxn ang="0">
                <a:pos x="210" y="148"/>
              </a:cxn>
              <a:cxn ang="0">
                <a:pos x="277" y="26"/>
              </a:cxn>
              <a:cxn ang="0">
                <a:pos x="350" y="113"/>
              </a:cxn>
              <a:cxn ang="0">
                <a:pos x="229" y="148"/>
              </a:cxn>
              <a:cxn ang="0">
                <a:pos x="220" y="158"/>
              </a:cxn>
              <a:cxn ang="0">
                <a:pos x="224" y="171"/>
              </a:cxn>
              <a:cxn ang="0">
                <a:pos x="238" y="206"/>
              </a:cxn>
              <a:cxn ang="0">
                <a:pos x="241" y="216"/>
              </a:cxn>
              <a:cxn ang="0">
                <a:pos x="251" y="220"/>
              </a:cxn>
              <a:cxn ang="0">
                <a:pos x="366" y="284"/>
              </a:cxn>
              <a:cxn ang="0">
                <a:pos x="279" y="357"/>
              </a:cxn>
              <a:cxn ang="0">
                <a:pos x="247" y="238"/>
              </a:cxn>
              <a:cxn ang="0">
                <a:pos x="230" y="229"/>
              </a:cxn>
              <a:cxn ang="0">
                <a:pos x="221" y="245"/>
              </a:cxn>
              <a:cxn ang="0">
                <a:pos x="257" y="376"/>
              </a:cxn>
              <a:cxn ang="0">
                <a:pos x="271" y="386"/>
              </a:cxn>
              <a:cxn ang="0">
                <a:pos x="330" y="369"/>
              </a:cxn>
              <a:cxn ang="0">
                <a:pos x="393" y="284"/>
              </a:cxn>
              <a:cxn ang="0">
                <a:pos x="319" y="205"/>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65" name="Freeform 188"/>
          <p:cNvSpPr>
            <a:spLocks noChangeAspect="1" noEditPoints="1"/>
          </p:cNvSpPr>
          <p:nvPr userDrawn="1"/>
        </p:nvSpPr>
        <p:spPr bwMode="auto">
          <a:xfrm>
            <a:off x="7753464" y="2250071"/>
            <a:ext cx="316647" cy="294894"/>
          </a:xfrm>
          <a:custGeom>
            <a:avLst/>
            <a:gdLst/>
            <a:ahLst/>
            <a:cxnLst>
              <a:cxn ang="0">
                <a:pos x="395" y="249"/>
              </a:cxn>
              <a:cxn ang="0">
                <a:pos x="228" y="249"/>
              </a:cxn>
              <a:cxn ang="0">
                <a:pos x="203" y="78"/>
              </a:cxn>
              <a:cxn ang="0">
                <a:pos x="188" y="4"/>
              </a:cxn>
              <a:cxn ang="0">
                <a:pos x="164" y="0"/>
              </a:cxn>
              <a:cxn ang="0">
                <a:pos x="126" y="29"/>
              </a:cxn>
              <a:cxn ang="0">
                <a:pos x="100" y="145"/>
              </a:cxn>
              <a:cxn ang="0">
                <a:pos x="62" y="249"/>
              </a:cxn>
              <a:cxn ang="0">
                <a:pos x="0" y="310"/>
              </a:cxn>
              <a:cxn ang="0">
                <a:pos x="151" y="372"/>
              </a:cxn>
              <a:cxn ang="0">
                <a:pos x="158" y="423"/>
              </a:cxn>
              <a:cxn ang="0">
                <a:pos x="238" y="369"/>
              </a:cxn>
              <a:cxn ang="0">
                <a:pos x="238" y="348"/>
              </a:cxn>
              <a:cxn ang="0">
                <a:pos x="154" y="298"/>
              </a:cxn>
              <a:cxn ang="0">
                <a:pos x="209" y="359"/>
              </a:cxn>
              <a:cxn ang="0">
                <a:pos x="177" y="359"/>
              </a:cxn>
              <a:cxn ang="0">
                <a:pos x="62" y="346"/>
              </a:cxn>
              <a:cxn ang="0">
                <a:pos x="37" y="286"/>
              </a:cxn>
              <a:cxn ang="0">
                <a:pos x="114" y="275"/>
              </a:cxn>
              <a:cxn ang="0">
                <a:pos x="127" y="145"/>
              </a:cxn>
              <a:cxn ang="0">
                <a:pos x="152" y="81"/>
              </a:cxn>
              <a:cxn ang="0">
                <a:pos x="152" y="28"/>
              </a:cxn>
              <a:cxn ang="0">
                <a:pos x="165" y="27"/>
              </a:cxn>
              <a:cxn ang="0">
                <a:pos x="176" y="29"/>
              </a:cxn>
              <a:cxn ang="0">
                <a:pos x="177" y="87"/>
              </a:cxn>
              <a:cxn ang="0">
                <a:pos x="201" y="262"/>
              </a:cxn>
              <a:cxn ang="0">
                <a:pos x="344" y="275"/>
              </a:cxn>
              <a:cxn ang="0">
                <a:pos x="351" y="354"/>
              </a:cxn>
              <a:cxn ang="0">
                <a:pos x="456" y="310"/>
              </a:cxn>
              <a:cxn ang="0">
                <a:pos x="395" y="346"/>
              </a:cxn>
              <a:cxn ang="0">
                <a:pos x="360" y="310"/>
              </a:cxn>
              <a:cxn ang="0">
                <a:pos x="395" y="275"/>
              </a:cxn>
              <a:cxn ang="0">
                <a:pos x="395" y="346"/>
              </a:cxn>
            </a:cxnLst>
            <a:rect l="0" t="0" r="r" b="b"/>
            <a:pathLst>
              <a:path w="456" h="426">
                <a:moveTo>
                  <a:pt x="395" y="249"/>
                </a:moveTo>
                <a:cubicBezTo>
                  <a:pt x="395" y="249"/>
                  <a:pt x="395" y="249"/>
                  <a:pt x="395" y="249"/>
                </a:cubicBezTo>
                <a:cubicBezTo>
                  <a:pt x="395" y="249"/>
                  <a:pt x="395" y="249"/>
                  <a:pt x="395" y="249"/>
                </a:cubicBezTo>
                <a:cubicBezTo>
                  <a:pt x="228" y="249"/>
                  <a:pt x="228" y="249"/>
                  <a:pt x="228" y="249"/>
                </a:cubicBezTo>
                <a:cubicBezTo>
                  <a:pt x="228" y="145"/>
                  <a:pt x="228" y="145"/>
                  <a:pt x="228" y="145"/>
                </a:cubicBezTo>
                <a:cubicBezTo>
                  <a:pt x="228" y="130"/>
                  <a:pt x="211" y="95"/>
                  <a:pt x="203" y="78"/>
                </a:cubicBezTo>
                <a:cubicBezTo>
                  <a:pt x="203" y="29"/>
                  <a:pt x="203" y="29"/>
                  <a:pt x="203" y="29"/>
                </a:cubicBezTo>
                <a:cubicBezTo>
                  <a:pt x="203" y="18"/>
                  <a:pt x="197" y="9"/>
                  <a:pt x="188" y="4"/>
                </a:cubicBezTo>
                <a:cubicBezTo>
                  <a:pt x="181" y="0"/>
                  <a:pt x="172" y="0"/>
                  <a:pt x="165" y="0"/>
                </a:cubicBezTo>
                <a:cubicBezTo>
                  <a:pt x="164" y="0"/>
                  <a:pt x="164" y="0"/>
                  <a:pt x="164" y="0"/>
                </a:cubicBezTo>
                <a:cubicBezTo>
                  <a:pt x="157" y="0"/>
                  <a:pt x="148" y="0"/>
                  <a:pt x="140" y="4"/>
                </a:cubicBezTo>
                <a:cubicBezTo>
                  <a:pt x="131" y="9"/>
                  <a:pt x="126" y="18"/>
                  <a:pt x="126" y="29"/>
                </a:cubicBezTo>
                <a:cubicBezTo>
                  <a:pt x="126" y="78"/>
                  <a:pt x="126" y="78"/>
                  <a:pt x="126" y="78"/>
                </a:cubicBezTo>
                <a:cubicBezTo>
                  <a:pt x="117" y="95"/>
                  <a:pt x="100" y="130"/>
                  <a:pt x="100" y="145"/>
                </a:cubicBezTo>
                <a:cubicBezTo>
                  <a:pt x="100" y="249"/>
                  <a:pt x="100" y="249"/>
                  <a:pt x="100" y="249"/>
                </a:cubicBezTo>
                <a:cubicBezTo>
                  <a:pt x="62" y="249"/>
                  <a:pt x="62" y="249"/>
                  <a:pt x="62" y="249"/>
                </a:cubicBezTo>
                <a:cubicBezTo>
                  <a:pt x="46" y="249"/>
                  <a:pt x="30" y="255"/>
                  <a:pt x="18" y="267"/>
                </a:cubicBezTo>
                <a:cubicBezTo>
                  <a:pt x="7" y="278"/>
                  <a:pt x="0" y="294"/>
                  <a:pt x="0" y="310"/>
                </a:cubicBezTo>
                <a:cubicBezTo>
                  <a:pt x="0" y="344"/>
                  <a:pt x="28" y="372"/>
                  <a:pt x="62" y="372"/>
                </a:cubicBezTo>
                <a:cubicBezTo>
                  <a:pt x="151" y="372"/>
                  <a:pt x="151" y="372"/>
                  <a:pt x="151" y="372"/>
                </a:cubicBezTo>
                <a:cubicBezTo>
                  <a:pt x="151" y="411"/>
                  <a:pt x="151" y="411"/>
                  <a:pt x="151" y="411"/>
                </a:cubicBezTo>
                <a:cubicBezTo>
                  <a:pt x="151" y="417"/>
                  <a:pt x="154" y="421"/>
                  <a:pt x="158" y="423"/>
                </a:cubicBezTo>
                <a:cubicBezTo>
                  <a:pt x="163" y="426"/>
                  <a:pt x="168" y="425"/>
                  <a:pt x="172" y="422"/>
                </a:cubicBezTo>
                <a:cubicBezTo>
                  <a:pt x="238" y="369"/>
                  <a:pt x="238" y="369"/>
                  <a:pt x="238" y="369"/>
                </a:cubicBezTo>
                <a:cubicBezTo>
                  <a:pt x="242" y="367"/>
                  <a:pt x="243" y="363"/>
                  <a:pt x="243" y="359"/>
                </a:cubicBezTo>
                <a:cubicBezTo>
                  <a:pt x="243" y="355"/>
                  <a:pt x="242" y="351"/>
                  <a:pt x="238" y="348"/>
                </a:cubicBezTo>
                <a:cubicBezTo>
                  <a:pt x="172" y="296"/>
                  <a:pt x="172" y="296"/>
                  <a:pt x="172" y="296"/>
                </a:cubicBezTo>
                <a:cubicBezTo>
                  <a:pt x="167" y="291"/>
                  <a:pt x="158" y="292"/>
                  <a:pt x="154" y="298"/>
                </a:cubicBezTo>
                <a:cubicBezTo>
                  <a:pt x="149" y="303"/>
                  <a:pt x="150" y="312"/>
                  <a:pt x="156" y="316"/>
                </a:cubicBezTo>
                <a:cubicBezTo>
                  <a:pt x="209" y="359"/>
                  <a:pt x="209" y="359"/>
                  <a:pt x="209" y="359"/>
                </a:cubicBezTo>
                <a:cubicBezTo>
                  <a:pt x="177" y="384"/>
                  <a:pt x="177" y="384"/>
                  <a:pt x="177" y="384"/>
                </a:cubicBezTo>
                <a:cubicBezTo>
                  <a:pt x="177" y="359"/>
                  <a:pt x="177" y="359"/>
                  <a:pt x="177" y="359"/>
                </a:cubicBezTo>
                <a:cubicBezTo>
                  <a:pt x="177" y="351"/>
                  <a:pt x="172" y="346"/>
                  <a:pt x="164" y="346"/>
                </a:cubicBezTo>
                <a:cubicBezTo>
                  <a:pt x="62" y="346"/>
                  <a:pt x="62" y="346"/>
                  <a:pt x="62" y="346"/>
                </a:cubicBezTo>
                <a:cubicBezTo>
                  <a:pt x="43" y="346"/>
                  <a:pt x="27" y="330"/>
                  <a:pt x="27" y="310"/>
                </a:cubicBezTo>
                <a:cubicBezTo>
                  <a:pt x="27" y="301"/>
                  <a:pt x="31" y="292"/>
                  <a:pt x="37" y="286"/>
                </a:cubicBezTo>
                <a:cubicBezTo>
                  <a:pt x="44" y="279"/>
                  <a:pt x="53" y="275"/>
                  <a:pt x="62" y="275"/>
                </a:cubicBezTo>
                <a:cubicBezTo>
                  <a:pt x="62" y="275"/>
                  <a:pt x="114" y="275"/>
                  <a:pt x="114" y="275"/>
                </a:cubicBezTo>
                <a:cubicBezTo>
                  <a:pt x="121" y="275"/>
                  <a:pt x="127" y="269"/>
                  <a:pt x="127" y="262"/>
                </a:cubicBezTo>
                <a:cubicBezTo>
                  <a:pt x="127" y="145"/>
                  <a:pt x="127" y="145"/>
                  <a:pt x="127" y="145"/>
                </a:cubicBezTo>
                <a:cubicBezTo>
                  <a:pt x="127" y="138"/>
                  <a:pt x="140" y="109"/>
                  <a:pt x="151" y="87"/>
                </a:cubicBezTo>
                <a:cubicBezTo>
                  <a:pt x="152" y="85"/>
                  <a:pt x="152" y="83"/>
                  <a:pt x="152" y="81"/>
                </a:cubicBezTo>
                <a:cubicBezTo>
                  <a:pt x="152" y="29"/>
                  <a:pt x="152" y="29"/>
                  <a:pt x="152" y="29"/>
                </a:cubicBezTo>
                <a:cubicBezTo>
                  <a:pt x="152" y="29"/>
                  <a:pt x="152" y="28"/>
                  <a:pt x="152" y="28"/>
                </a:cubicBezTo>
                <a:cubicBezTo>
                  <a:pt x="153" y="28"/>
                  <a:pt x="156" y="27"/>
                  <a:pt x="164" y="27"/>
                </a:cubicBezTo>
                <a:cubicBezTo>
                  <a:pt x="165" y="27"/>
                  <a:pt x="165" y="27"/>
                  <a:pt x="165" y="27"/>
                </a:cubicBezTo>
                <a:cubicBezTo>
                  <a:pt x="172" y="27"/>
                  <a:pt x="175" y="28"/>
                  <a:pt x="176" y="28"/>
                </a:cubicBezTo>
                <a:cubicBezTo>
                  <a:pt x="176" y="28"/>
                  <a:pt x="176" y="29"/>
                  <a:pt x="176" y="29"/>
                </a:cubicBezTo>
                <a:cubicBezTo>
                  <a:pt x="176" y="81"/>
                  <a:pt x="176" y="81"/>
                  <a:pt x="176" y="81"/>
                </a:cubicBezTo>
                <a:cubicBezTo>
                  <a:pt x="176" y="83"/>
                  <a:pt x="176" y="85"/>
                  <a:pt x="177" y="87"/>
                </a:cubicBezTo>
                <a:cubicBezTo>
                  <a:pt x="189" y="109"/>
                  <a:pt x="201" y="138"/>
                  <a:pt x="201" y="145"/>
                </a:cubicBezTo>
                <a:cubicBezTo>
                  <a:pt x="201" y="262"/>
                  <a:pt x="201" y="262"/>
                  <a:pt x="201" y="262"/>
                </a:cubicBezTo>
                <a:cubicBezTo>
                  <a:pt x="201" y="269"/>
                  <a:pt x="207" y="275"/>
                  <a:pt x="214" y="275"/>
                </a:cubicBezTo>
                <a:cubicBezTo>
                  <a:pt x="344" y="275"/>
                  <a:pt x="344" y="275"/>
                  <a:pt x="344" y="275"/>
                </a:cubicBezTo>
                <a:cubicBezTo>
                  <a:pt x="337" y="286"/>
                  <a:pt x="333" y="298"/>
                  <a:pt x="333" y="310"/>
                </a:cubicBezTo>
                <a:cubicBezTo>
                  <a:pt x="333" y="327"/>
                  <a:pt x="339" y="342"/>
                  <a:pt x="351" y="354"/>
                </a:cubicBezTo>
                <a:cubicBezTo>
                  <a:pt x="363" y="366"/>
                  <a:pt x="378" y="372"/>
                  <a:pt x="395" y="372"/>
                </a:cubicBezTo>
                <a:cubicBezTo>
                  <a:pt x="429" y="372"/>
                  <a:pt x="456" y="344"/>
                  <a:pt x="456" y="310"/>
                </a:cubicBezTo>
                <a:cubicBezTo>
                  <a:pt x="456" y="276"/>
                  <a:pt x="429" y="249"/>
                  <a:pt x="395" y="249"/>
                </a:cubicBezTo>
                <a:close/>
                <a:moveTo>
                  <a:pt x="395" y="346"/>
                </a:moveTo>
                <a:cubicBezTo>
                  <a:pt x="385" y="346"/>
                  <a:pt x="376" y="342"/>
                  <a:pt x="370" y="335"/>
                </a:cubicBezTo>
                <a:cubicBezTo>
                  <a:pt x="363" y="329"/>
                  <a:pt x="360" y="320"/>
                  <a:pt x="360" y="310"/>
                </a:cubicBezTo>
                <a:cubicBezTo>
                  <a:pt x="360" y="301"/>
                  <a:pt x="363" y="292"/>
                  <a:pt x="370" y="286"/>
                </a:cubicBezTo>
                <a:cubicBezTo>
                  <a:pt x="376" y="279"/>
                  <a:pt x="385" y="275"/>
                  <a:pt x="395" y="275"/>
                </a:cubicBezTo>
                <a:cubicBezTo>
                  <a:pt x="414" y="275"/>
                  <a:pt x="430" y="291"/>
                  <a:pt x="430" y="310"/>
                </a:cubicBezTo>
                <a:cubicBezTo>
                  <a:pt x="430" y="330"/>
                  <a:pt x="414" y="346"/>
                  <a:pt x="395" y="34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66" name="Freeform 192"/>
          <p:cNvSpPr>
            <a:spLocks noChangeAspect="1" noEditPoints="1"/>
          </p:cNvSpPr>
          <p:nvPr userDrawn="1"/>
        </p:nvSpPr>
        <p:spPr bwMode="auto">
          <a:xfrm>
            <a:off x="6355972" y="1646520"/>
            <a:ext cx="295849" cy="294894"/>
          </a:xfrm>
          <a:custGeom>
            <a:avLst/>
            <a:gdLst/>
            <a:ahLst/>
            <a:cxnLst>
              <a:cxn ang="0">
                <a:pos x="113" y="371"/>
              </a:cxn>
              <a:cxn ang="0">
                <a:pos x="33" y="399"/>
              </a:cxn>
              <a:cxn ang="0">
                <a:pos x="0" y="326"/>
              </a:cxn>
              <a:cxn ang="0">
                <a:pos x="54" y="183"/>
              </a:cxn>
              <a:cxn ang="0">
                <a:pos x="120" y="174"/>
              </a:cxn>
              <a:cxn ang="0">
                <a:pos x="128" y="247"/>
              </a:cxn>
              <a:cxn ang="0">
                <a:pos x="158" y="223"/>
              </a:cxn>
              <a:cxn ang="0">
                <a:pos x="129" y="210"/>
              </a:cxn>
              <a:cxn ang="0">
                <a:pos x="153" y="155"/>
              </a:cxn>
              <a:cxn ang="0">
                <a:pos x="316" y="221"/>
              </a:cxn>
              <a:cxn ang="0">
                <a:pos x="340" y="242"/>
              </a:cxn>
              <a:cxn ang="0">
                <a:pos x="398" y="288"/>
              </a:cxn>
              <a:cxn ang="0">
                <a:pos x="402" y="371"/>
              </a:cxn>
              <a:cxn ang="0">
                <a:pos x="308" y="406"/>
              </a:cxn>
              <a:cxn ang="0">
                <a:pos x="262" y="332"/>
              </a:cxn>
              <a:cxn ang="0">
                <a:pos x="324" y="376"/>
              </a:cxn>
              <a:cxn ang="0">
                <a:pos x="376" y="356"/>
              </a:cxn>
              <a:cxn ang="0">
                <a:pos x="373" y="296"/>
              </a:cxn>
              <a:cxn ang="0">
                <a:pos x="330" y="267"/>
              </a:cxn>
              <a:cxn ang="0">
                <a:pos x="279" y="224"/>
              </a:cxn>
              <a:cxn ang="0">
                <a:pos x="158" y="196"/>
              </a:cxn>
              <a:cxn ang="0">
                <a:pos x="290" y="266"/>
              </a:cxn>
              <a:cxn ang="0">
                <a:pos x="128" y="274"/>
              </a:cxn>
              <a:cxn ang="0">
                <a:pos x="93" y="191"/>
              </a:cxn>
              <a:cxn ang="0">
                <a:pos x="28" y="317"/>
              </a:cxn>
              <a:cxn ang="0">
                <a:pos x="27" y="318"/>
              </a:cxn>
              <a:cxn ang="0">
                <a:pos x="29" y="347"/>
              </a:cxn>
              <a:cxn ang="0">
                <a:pos x="62" y="379"/>
              </a:cxn>
              <a:cxn ang="0">
                <a:pos x="103" y="345"/>
              </a:cxn>
              <a:cxn ang="0">
                <a:pos x="230" y="354"/>
              </a:cxn>
              <a:cxn ang="0">
                <a:pos x="242" y="379"/>
              </a:cxn>
              <a:cxn ang="0">
                <a:pos x="379" y="423"/>
              </a:cxn>
              <a:cxn ang="0">
                <a:pos x="410" y="259"/>
              </a:cxn>
              <a:cxn ang="0">
                <a:pos x="355" y="168"/>
              </a:cxn>
              <a:cxn ang="0">
                <a:pos x="358" y="167"/>
              </a:cxn>
              <a:cxn ang="0">
                <a:pos x="391" y="148"/>
              </a:cxn>
              <a:cxn ang="0">
                <a:pos x="396" y="95"/>
              </a:cxn>
              <a:cxn ang="0">
                <a:pos x="391" y="95"/>
              </a:cxn>
              <a:cxn ang="0">
                <a:pos x="377" y="32"/>
              </a:cxn>
              <a:cxn ang="0">
                <a:pos x="369" y="28"/>
              </a:cxn>
              <a:cxn ang="0">
                <a:pos x="364" y="90"/>
              </a:cxn>
              <a:cxn ang="0">
                <a:pos x="312" y="90"/>
              </a:cxn>
              <a:cxn ang="0">
                <a:pos x="306" y="28"/>
              </a:cxn>
              <a:cxn ang="0">
                <a:pos x="299" y="32"/>
              </a:cxn>
              <a:cxn ang="0">
                <a:pos x="284" y="95"/>
              </a:cxn>
              <a:cxn ang="0">
                <a:pos x="280" y="106"/>
              </a:cxn>
              <a:cxn ang="0">
                <a:pos x="282" y="145"/>
              </a:cxn>
              <a:cxn ang="0">
                <a:pos x="318" y="167"/>
              </a:cxn>
              <a:cxn ang="0">
                <a:pos x="269" y="172"/>
              </a:cxn>
              <a:cxn ang="0">
                <a:pos x="255" y="145"/>
              </a:cxn>
              <a:cxn ang="0">
                <a:pos x="253" y="94"/>
              </a:cxn>
              <a:cxn ang="0">
                <a:pos x="272" y="70"/>
              </a:cxn>
              <a:cxn ang="0">
                <a:pos x="304" y="0"/>
              </a:cxn>
              <a:cxn ang="0">
                <a:pos x="334" y="68"/>
              </a:cxn>
              <a:cxn ang="0">
                <a:pos x="351" y="9"/>
              </a:cxn>
              <a:cxn ang="0">
                <a:pos x="403" y="32"/>
              </a:cxn>
              <a:cxn ang="0">
                <a:pos x="422" y="95"/>
              </a:cxn>
              <a:cxn ang="0">
                <a:pos x="415" y="160"/>
              </a:cxn>
              <a:cxn ang="0">
                <a:pos x="384" y="185"/>
              </a:cxn>
              <a:cxn ang="0">
                <a:pos x="444" y="395"/>
              </a:cxn>
              <a:cxn ang="0">
                <a:pos x="331" y="459"/>
              </a:cxn>
              <a:cxn ang="0">
                <a:pos x="294" y="122"/>
              </a:cxn>
            </a:cxnLst>
            <a:rect l="0" t="0" r="r" b="b"/>
            <a:pathLst>
              <a:path w="460" h="459">
                <a:moveTo>
                  <a:pt x="271" y="444"/>
                </a:moveTo>
                <a:cubicBezTo>
                  <a:pt x="254" y="434"/>
                  <a:pt x="242" y="422"/>
                  <a:pt x="232" y="410"/>
                </a:cubicBezTo>
                <a:cubicBezTo>
                  <a:pt x="232" y="410"/>
                  <a:pt x="232" y="410"/>
                  <a:pt x="232" y="410"/>
                </a:cubicBezTo>
                <a:cubicBezTo>
                  <a:pt x="220" y="395"/>
                  <a:pt x="212" y="380"/>
                  <a:pt x="208" y="371"/>
                </a:cubicBezTo>
                <a:cubicBezTo>
                  <a:pt x="208" y="371"/>
                  <a:pt x="208" y="371"/>
                  <a:pt x="208" y="371"/>
                </a:cubicBezTo>
                <a:cubicBezTo>
                  <a:pt x="113" y="371"/>
                  <a:pt x="113" y="371"/>
                  <a:pt x="113" y="371"/>
                </a:cubicBezTo>
                <a:cubicBezTo>
                  <a:pt x="109" y="381"/>
                  <a:pt x="103" y="389"/>
                  <a:pt x="95" y="395"/>
                </a:cubicBezTo>
                <a:cubicBezTo>
                  <a:pt x="95" y="395"/>
                  <a:pt x="95" y="395"/>
                  <a:pt x="95" y="395"/>
                </a:cubicBezTo>
                <a:cubicBezTo>
                  <a:pt x="85" y="403"/>
                  <a:pt x="73" y="406"/>
                  <a:pt x="62" y="406"/>
                </a:cubicBezTo>
                <a:cubicBezTo>
                  <a:pt x="62" y="406"/>
                  <a:pt x="62" y="406"/>
                  <a:pt x="62" y="406"/>
                </a:cubicBezTo>
                <a:cubicBezTo>
                  <a:pt x="52" y="406"/>
                  <a:pt x="42" y="404"/>
                  <a:pt x="33" y="399"/>
                </a:cubicBezTo>
                <a:cubicBezTo>
                  <a:pt x="33" y="399"/>
                  <a:pt x="33" y="399"/>
                  <a:pt x="33" y="399"/>
                </a:cubicBezTo>
                <a:cubicBezTo>
                  <a:pt x="25" y="395"/>
                  <a:pt x="19" y="389"/>
                  <a:pt x="15" y="382"/>
                </a:cubicBezTo>
                <a:cubicBezTo>
                  <a:pt x="15" y="382"/>
                  <a:pt x="15" y="382"/>
                  <a:pt x="15" y="382"/>
                </a:cubicBezTo>
                <a:cubicBezTo>
                  <a:pt x="11" y="376"/>
                  <a:pt x="8" y="369"/>
                  <a:pt x="5" y="362"/>
                </a:cubicBezTo>
                <a:cubicBezTo>
                  <a:pt x="5" y="362"/>
                  <a:pt x="5" y="362"/>
                  <a:pt x="5" y="362"/>
                </a:cubicBezTo>
                <a:cubicBezTo>
                  <a:pt x="1" y="349"/>
                  <a:pt x="1" y="335"/>
                  <a:pt x="0" y="326"/>
                </a:cubicBezTo>
                <a:cubicBezTo>
                  <a:pt x="0" y="326"/>
                  <a:pt x="0" y="326"/>
                  <a:pt x="0" y="326"/>
                </a:cubicBezTo>
                <a:cubicBezTo>
                  <a:pt x="0" y="321"/>
                  <a:pt x="1" y="317"/>
                  <a:pt x="1" y="315"/>
                </a:cubicBezTo>
                <a:cubicBezTo>
                  <a:pt x="1" y="315"/>
                  <a:pt x="1" y="315"/>
                  <a:pt x="1" y="315"/>
                </a:cubicBezTo>
                <a:cubicBezTo>
                  <a:pt x="3" y="280"/>
                  <a:pt x="9" y="252"/>
                  <a:pt x="19" y="230"/>
                </a:cubicBezTo>
                <a:cubicBezTo>
                  <a:pt x="19" y="230"/>
                  <a:pt x="19" y="230"/>
                  <a:pt x="19" y="230"/>
                </a:cubicBezTo>
                <a:cubicBezTo>
                  <a:pt x="29" y="209"/>
                  <a:pt x="41" y="193"/>
                  <a:pt x="54" y="183"/>
                </a:cubicBezTo>
                <a:cubicBezTo>
                  <a:pt x="54" y="183"/>
                  <a:pt x="54" y="183"/>
                  <a:pt x="54" y="183"/>
                </a:cubicBezTo>
                <a:cubicBezTo>
                  <a:pt x="79" y="162"/>
                  <a:pt x="104" y="161"/>
                  <a:pt x="106" y="160"/>
                </a:cubicBezTo>
                <a:cubicBezTo>
                  <a:pt x="106" y="160"/>
                  <a:pt x="106" y="160"/>
                  <a:pt x="106" y="160"/>
                </a:cubicBezTo>
                <a:cubicBezTo>
                  <a:pt x="109" y="160"/>
                  <a:pt x="113" y="162"/>
                  <a:pt x="115" y="164"/>
                </a:cubicBezTo>
                <a:cubicBezTo>
                  <a:pt x="115" y="164"/>
                  <a:pt x="115" y="164"/>
                  <a:pt x="115" y="164"/>
                </a:cubicBezTo>
                <a:cubicBezTo>
                  <a:pt x="118" y="167"/>
                  <a:pt x="120" y="170"/>
                  <a:pt x="120" y="174"/>
                </a:cubicBezTo>
                <a:cubicBezTo>
                  <a:pt x="120" y="174"/>
                  <a:pt x="120" y="174"/>
                  <a:pt x="120" y="174"/>
                </a:cubicBezTo>
                <a:cubicBezTo>
                  <a:pt x="120" y="182"/>
                  <a:pt x="119" y="233"/>
                  <a:pt x="119" y="239"/>
                </a:cubicBezTo>
                <a:cubicBezTo>
                  <a:pt x="119" y="239"/>
                  <a:pt x="119" y="239"/>
                  <a:pt x="119" y="239"/>
                </a:cubicBezTo>
                <a:cubicBezTo>
                  <a:pt x="119" y="240"/>
                  <a:pt x="120" y="243"/>
                  <a:pt x="122" y="245"/>
                </a:cubicBezTo>
                <a:cubicBezTo>
                  <a:pt x="122" y="245"/>
                  <a:pt x="122" y="245"/>
                  <a:pt x="122" y="245"/>
                </a:cubicBezTo>
                <a:cubicBezTo>
                  <a:pt x="124" y="246"/>
                  <a:pt x="126" y="247"/>
                  <a:pt x="128" y="247"/>
                </a:cubicBezTo>
                <a:cubicBezTo>
                  <a:pt x="128" y="247"/>
                  <a:pt x="128" y="247"/>
                  <a:pt x="128" y="247"/>
                </a:cubicBezTo>
                <a:cubicBezTo>
                  <a:pt x="136" y="247"/>
                  <a:pt x="199" y="248"/>
                  <a:pt x="240" y="248"/>
                </a:cubicBezTo>
                <a:cubicBezTo>
                  <a:pt x="240" y="248"/>
                  <a:pt x="240" y="248"/>
                  <a:pt x="240" y="248"/>
                </a:cubicBezTo>
                <a:cubicBezTo>
                  <a:pt x="228" y="240"/>
                  <a:pt x="217" y="235"/>
                  <a:pt x="206" y="231"/>
                </a:cubicBezTo>
                <a:cubicBezTo>
                  <a:pt x="206" y="231"/>
                  <a:pt x="206" y="231"/>
                  <a:pt x="206" y="231"/>
                </a:cubicBezTo>
                <a:cubicBezTo>
                  <a:pt x="186" y="224"/>
                  <a:pt x="169" y="223"/>
                  <a:pt x="158" y="223"/>
                </a:cubicBezTo>
                <a:cubicBezTo>
                  <a:pt x="158" y="223"/>
                  <a:pt x="158" y="223"/>
                  <a:pt x="158" y="223"/>
                </a:cubicBezTo>
                <a:cubicBezTo>
                  <a:pt x="150" y="223"/>
                  <a:pt x="146" y="223"/>
                  <a:pt x="145" y="224"/>
                </a:cubicBezTo>
                <a:cubicBezTo>
                  <a:pt x="145" y="224"/>
                  <a:pt x="145" y="224"/>
                  <a:pt x="145" y="224"/>
                </a:cubicBezTo>
                <a:cubicBezTo>
                  <a:pt x="145" y="224"/>
                  <a:pt x="145" y="224"/>
                  <a:pt x="145" y="224"/>
                </a:cubicBezTo>
                <a:cubicBezTo>
                  <a:pt x="141" y="224"/>
                  <a:pt x="137" y="223"/>
                  <a:pt x="134" y="221"/>
                </a:cubicBezTo>
                <a:cubicBezTo>
                  <a:pt x="134" y="221"/>
                  <a:pt x="134" y="221"/>
                  <a:pt x="134" y="221"/>
                </a:cubicBezTo>
                <a:cubicBezTo>
                  <a:pt x="131" y="218"/>
                  <a:pt x="129" y="214"/>
                  <a:pt x="129" y="210"/>
                </a:cubicBezTo>
                <a:cubicBezTo>
                  <a:pt x="129" y="210"/>
                  <a:pt x="129" y="210"/>
                  <a:pt x="129" y="210"/>
                </a:cubicBezTo>
                <a:cubicBezTo>
                  <a:pt x="129" y="169"/>
                  <a:pt x="129" y="169"/>
                  <a:pt x="129" y="169"/>
                </a:cubicBezTo>
                <a:cubicBezTo>
                  <a:pt x="129" y="162"/>
                  <a:pt x="135" y="156"/>
                  <a:pt x="142" y="155"/>
                </a:cubicBezTo>
                <a:cubicBezTo>
                  <a:pt x="142" y="155"/>
                  <a:pt x="142" y="155"/>
                  <a:pt x="142" y="155"/>
                </a:cubicBezTo>
                <a:cubicBezTo>
                  <a:pt x="146" y="155"/>
                  <a:pt x="150" y="155"/>
                  <a:pt x="153" y="155"/>
                </a:cubicBezTo>
                <a:cubicBezTo>
                  <a:pt x="153" y="155"/>
                  <a:pt x="153" y="155"/>
                  <a:pt x="153" y="155"/>
                </a:cubicBezTo>
                <a:cubicBezTo>
                  <a:pt x="183" y="155"/>
                  <a:pt x="212" y="162"/>
                  <a:pt x="236" y="171"/>
                </a:cubicBezTo>
                <a:cubicBezTo>
                  <a:pt x="236" y="171"/>
                  <a:pt x="236" y="171"/>
                  <a:pt x="236" y="171"/>
                </a:cubicBezTo>
                <a:cubicBezTo>
                  <a:pt x="261" y="180"/>
                  <a:pt x="282" y="192"/>
                  <a:pt x="296" y="203"/>
                </a:cubicBezTo>
                <a:cubicBezTo>
                  <a:pt x="296" y="203"/>
                  <a:pt x="296" y="203"/>
                  <a:pt x="296" y="203"/>
                </a:cubicBezTo>
                <a:cubicBezTo>
                  <a:pt x="302" y="208"/>
                  <a:pt x="309" y="214"/>
                  <a:pt x="316" y="221"/>
                </a:cubicBezTo>
                <a:cubicBezTo>
                  <a:pt x="316" y="221"/>
                  <a:pt x="316" y="221"/>
                  <a:pt x="316" y="221"/>
                </a:cubicBezTo>
                <a:cubicBezTo>
                  <a:pt x="322" y="227"/>
                  <a:pt x="329" y="233"/>
                  <a:pt x="334" y="237"/>
                </a:cubicBezTo>
                <a:cubicBezTo>
                  <a:pt x="334" y="237"/>
                  <a:pt x="334" y="237"/>
                  <a:pt x="334" y="237"/>
                </a:cubicBezTo>
                <a:cubicBezTo>
                  <a:pt x="337" y="240"/>
                  <a:pt x="340" y="242"/>
                  <a:pt x="340" y="242"/>
                </a:cubicBezTo>
                <a:cubicBezTo>
                  <a:pt x="340" y="242"/>
                  <a:pt x="340" y="242"/>
                  <a:pt x="340" y="242"/>
                </a:cubicBezTo>
                <a:cubicBezTo>
                  <a:pt x="340" y="242"/>
                  <a:pt x="340" y="242"/>
                  <a:pt x="340" y="242"/>
                </a:cubicBezTo>
                <a:cubicBezTo>
                  <a:pt x="340" y="242"/>
                  <a:pt x="340" y="242"/>
                  <a:pt x="340" y="242"/>
                </a:cubicBezTo>
                <a:cubicBezTo>
                  <a:pt x="343" y="243"/>
                  <a:pt x="351" y="246"/>
                  <a:pt x="359" y="249"/>
                </a:cubicBezTo>
                <a:cubicBezTo>
                  <a:pt x="359" y="249"/>
                  <a:pt x="359" y="249"/>
                  <a:pt x="359" y="249"/>
                </a:cubicBezTo>
                <a:cubicBezTo>
                  <a:pt x="367" y="253"/>
                  <a:pt x="377" y="259"/>
                  <a:pt x="385" y="267"/>
                </a:cubicBezTo>
                <a:cubicBezTo>
                  <a:pt x="385" y="267"/>
                  <a:pt x="385" y="267"/>
                  <a:pt x="385" y="267"/>
                </a:cubicBezTo>
                <a:cubicBezTo>
                  <a:pt x="390" y="272"/>
                  <a:pt x="395" y="279"/>
                  <a:pt x="398" y="288"/>
                </a:cubicBezTo>
                <a:cubicBezTo>
                  <a:pt x="398" y="288"/>
                  <a:pt x="398" y="288"/>
                  <a:pt x="398" y="288"/>
                </a:cubicBezTo>
                <a:cubicBezTo>
                  <a:pt x="400" y="295"/>
                  <a:pt x="402" y="303"/>
                  <a:pt x="402" y="311"/>
                </a:cubicBezTo>
                <a:cubicBezTo>
                  <a:pt x="402" y="311"/>
                  <a:pt x="402" y="311"/>
                  <a:pt x="402" y="311"/>
                </a:cubicBezTo>
                <a:cubicBezTo>
                  <a:pt x="403" y="319"/>
                  <a:pt x="404" y="327"/>
                  <a:pt x="404" y="335"/>
                </a:cubicBezTo>
                <a:cubicBezTo>
                  <a:pt x="404" y="335"/>
                  <a:pt x="404" y="335"/>
                  <a:pt x="404" y="335"/>
                </a:cubicBezTo>
                <a:cubicBezTo>
                  <a:pt x="404" y="354"/>
                  <a:pt x="402" y="371"/>
                  <a:pt x="402" y="371"/>
                </a:cubicBezTo>
                <a:cubicBezTo>
                  <a:pt x="402" y="371"/>
                  <a:pt x="402" y="371"/>
                  <a:pt x="402" y="371"/>
                </a:cubicBezTo>
                <a:cubicBezTo>
                  <a:pt x="401" y="378"/>
                  <a:pt x="395" y="383"/>
                  <a:pt x="389" y="383"/>
                </a:cubicBezTo>
                <a:cubicBezTo>
                  <a:pt x="389" y="383"/>
                  <a:pt x="389" y="383"/>
                  <a:pt x="389" y="383"/>
                </a:cubicBezTo>
                <a:cubicBezTo>
                  <a:pt x="355" y="383"/>
                  <a:pt x="355" y="383"/>
                  <a:pt x="355" y="383"/>
                </a:cubicBezTo>
                <a:cubicBezTo>
                  <a:pt x="349" y="391"/>
                  <a:pt x="342" y="396"/>
                  <a:pt x="335" y="400"/>
                </a:cubicBezTo>
                <a:cubicBezTo>
                  <a:pt x="335" y="400"/>
                  <a:pt x="335" y="400"/>
                  <a:pt x="335" y="400"/>
                </a:cubicBezTo>
                <a:cubicBezTo>
                  <a:pt x="326" y="404"/>
                  <a:pt x="316" y="406"/>
                  <a:pt x="308" y="406"/>
                </a:cubicBezTo>
                <a:cubicBezTo>
                  <a:pt x="308" y="406"/>
                  <a:pt x="308" y="406"/>
                  <a:pt x="308" y="406"/>
                </a:cubicBezTo>
                <a:cubicBezTo>
                  <a:pt x="292" y="406"/>
                  <a:pt x="278" y="398"/>
                  <a:pt x="268" y="388"/>
                </a:cubicBezTo>
                <a:cubicBezTo>
                  <a:pt x="268" y="388"/>
                  <a:pt x="268" y="388"/>
                  <a:pt x="268" y="388"/>
                </a:cubicBezTo>
                <a:cubicBezTo>
                  <a:pt x="258" y="378"/>
                  <a:pt x="252" y="364"/>
                  <a:pt x="252" y="349"/>
                </a:cubicBezTo>
                <a:cubicBezTo>
                  <a:pt x="252" y="349"/>
                  <a:pt x="252" y="349"/>
                  <a:pt x="252" y="349"/>
                </a:cubicBezTo>
                <a:cubicBezTo>
                  <a:pt x="251" y="338"/>
                  <a:pt x="256" y="332"/>
                  <a:pt x="262" y="332"/>
                </a:cubicBezTo>
                <a:cubicBezTo>
                  <a:pt x="274" y="331"/>
                  <a:pt x="277" y="339"/>
                  <a:pt x="280" y="356"/>
                </a:cubicBezTo>
                <a:cubicBezTo>
                  <a:pt x="281" y="362"/>
                  <a:pt x="283" y="366"/>
                  <a:pt x="287" y="370"/>
                </a:cubicBezTo>
                <a:cubicBezTo>
                  <a:pt x="287" y="370"/>
                  <a:pt x="287" y="370"/>
                  <a:pt x="287" y="370"/>
                </a:cubicBezTo>
                <a:cubicBezTo>
                  <a:pt x="293" y="376"/>
                  <a:pt x="300" y="379"/>
                  <a:pt x="308" y="379"/>
                </a:cubicBezTo>
                <a:cubicBezTo>
                  <a:pt x="308" y="379"/>
                  <a:pt x="308" y="379"/>
                  <a:pt x="308" y="379"/>
                </a:cubicBezTo>
                <a:cubicBezTo>
                  <a:pt x="313" y="379"/>
                  <a:pt x="319" y="378"/>
                  <a:pt x="324" y="376"/>
                </a:cubicBezTo>
                <a:cubicBezTo>
                  <a:pt x="324" y="376"/>
                  <a:pt x="324" y="376"/>
                  <a:pt x="324" y="376"/>
                </a:cubicBezTo>
                <a:cubicBezTo>
                  <a:pt x="328" y="373"/>
                  <a:pt x="332" y="370"/>
                  <a:pt x="336" y="364"/>
                </a:cubicBezTo>
                <a:cubicBezTo>
                  <a:pt x="336" y="364"/>
                  <a:pt x="336" y="364"/>
                  <a:pt x="336" y="364"/>
                </a:cubicBezTo>
                <a:cubicBezTo>
                  <a:pt x="338" y="359"/>
                  <a:pt x="342" y="357"/>
                  <a:pt x="347" y="357"/>
                </a:cubicBezTo>
                <a:cubicBezTo>
                  <a:pt x="347" y="357"/>
                  <a:pt x="347" y="357"/>
                  <a:pt x="347" y="357"/>
                </a:cubicBezTo>
                <a:cubicBezTo>
                  <a:pt x="376" y="356"/>
                  <a:pt x="376" y="356"/>
                  <a:pt x="376" y="356"/>
                </a:cubicBezTo>
                <a:cubicBezTo>
                  <a:pt x="377" y="351"/>
                  <a:pt x="377" y="343"/>
                  <a:pt x="377" y="335"/>
                </a:cubicBezTo>
                <a:cubicBezTo>
                  <a:pt x="377" y="335"/>
                  <a:pt x="377" y="335"/>
                  <a:pt x="377" y="335"/>
                </a:cubicBezTo>
                <a:cubicBezTo>
                  <a:pt x="377" y="328"/>
                  <a:pt x="377" y="320"/>
                  <a:pt x="376" y="313"/>
                </a:cubicBezTo>
                <a:cubicBezTo>
                  <a:pt x="376" y="313"/>
                  <a:pt x="376" y="313"/>
                  <a:pt x="376" y="313"/>
                </a:cubicBezTo>
                <a:cubicBezTo>
                  <a:pt x="375" y="307"/>
                  <a:pt x="374" y="300"/>
                  <a:pt x="373" y="296"/>
                </a:cubicBezTo>
                <a:cubicBezTo>
                  <a:pt x="373" y="296"/>
                  <a:pt x="373" y="296"/>
                  <a:pt x="373" y="296"/>
                </a:cubicBezTo>
                <a:cubicBezTo>
                  <a:pt x="371" y="290"/>
                  <a:pt x="366" y="285"/>
                  <a:pt x="360" y="281"/>
                </a:cubicBezTo>
                <a:cubicBezTo>
                  <a:pt x="360" y="281"/>
                  <a:pt x="360" y="281"/>
                  <a:pt x="360" y="281"/>
                </a:cubicBezTo>
                <a:cubicBezTo>
                  <a:pt x="354" y="277"/>
                  <a:pt x="347" y="273"/>
                  <a:pt x="341" y="271"/>
                </a:cubicBezTo>
                <a:cubicBezTo>
                  <a:pt x="341" y="271"/>
                  <a:pt x="341" y="271"/>
                  <a:pt x="341" y="271"/>
                </a:cubicBezTo>
                <a:cubicBezTo>
                  <a:pt x="337" y="269"/>
                  <a:pt x="333" y="268"/>
                  <a:pt x="330" y="267"/>
                </a:cubicBezTo>
                <a:cubicBezTo>
                  <a:pt x="330" y="267"/>
                  <a:pt x="330" y="267"/>
                  <a:pt x="330" y="267"/>
                </a:cubicBezTo>
                <a:cubicBezTo>
                  <a:pt x="325" y="265"/>
                  <a:pt x="322" y="262"/>
                  <a:pt x="317" y="258"/>
                </a:cubicBezTo>
                <a:cubicBezTo>
                  <a:pt x="317" y="258"/>
                  <a:pt x="317" y="258"/>
                  <a:pt x="317" y="258"/>
                </a:cubicBezTo>
                <a:cubicBezTo>
                  <a:pt x="313" y="255"/>
                  <a:pt x="309" y="251"/>
                  <a:pt x="305" y="247"/>
                </a:cubicBezTo>
                <a:cubicBezTo>
                  <a:pt x="305" y="247"/>
                  <a:pt x="305" y="247"/>
                  <a:pt x="305" y="247"/>
                </a:cubicBezTo>
                <a:cubicBezTo>
                  <a:pt x="296" y="238"/>
                  <a:pt x="287" y="229"/>
                  <a:pt x="279" y="224"/>
                </a:cubicBezTo>
                <a:cubicBezTo>
                  <a:pt x="279" y="224"/>
                  <a:pt x="279" y="224"/>
                  <a:pt x="279" y="224"/>
                </a:cubicBezTo>
                <a:cubicBezTo>
                  <a:pt x="268" y="215"/>
                  <a:pt x="249" y="204"/>
                  <a:pt x="227" y="196"/>
                </a:cubicBezTo>
                <a:cubicBezTo>
                  <a:pt x="227" y="196"/>
                  <a:pt x="227" y="196"/>
                  <a:pt x="227" y="196"/>
                </a:cubicBezTo>
                <a:cubicBezTo>
                  <a:pt x="205" y="188"/>
                  <a:pt x="180" y="182"/>
                  <a:pt x="156" y="182"/>
                </a:cubicBezTo>
                <a:cubicBezTo>
                  <a:pt x="156" y="182"/>
                  <a:pt x="156" y="182"/>
                  <a:pt x="156" y="182"/>
                </a:cubicBezTo>
                <a:cubicBezTo>
                  <a:pt x="156" y="196"/>
                  <a:pt x="156" y="196"/>
                  <a:pt x="156" y="196"/>
                </a:cubicBezTo>
                <a:cubicBezTo>
                  <a:pt x="157" y="196"/>
                  <a:pt x="157" y="196"/>
                  <a:pt x="158" y="196"/>
                </a:cubicBezTo>
                <a:cubicBezTo>
                  <a:pt x="158" y="196"/>
                  <a:pt x="158" y="196"/>
                  <a:pt x="158" y="196"/>
                </a:cubicBezTo>
                <a:cubicBezTo>
                  <a:pt x="171" y="196"/>
                  <a:pt x="191" y="198"/>
                  <a:pt x="214" y="206"/>
                </a:cubicBezTo>
                <a:cubicBezTo>
                  <a:pt x="214" y="206"/>
                  <a:pt x="214" y="206"/>
                  <a:pt x="214" y="206"/>
                </a:cubicBezTo>
                <a:cubicBezTo>
                  <a:pt x="237" y="213"/>
                  <a:pt x="263" y="227"/>
                  <a:pt x="287" y="252"/>
                </a:cubicBezTo>
                <a:cubicBezTo>
                  <a:pt x="287" y="252"/>
                  <a:pt x="287" y="252"/>
                  <a:pt x="287" y="252"/>
                </a:cubicBezTo>
                <a:cubicBezTo>
                  <a:pt x="291" y="255"/>
                  <a:pt x="292" y="261"/>
                  <a:pt x="290" y="266"/>
                </a:cubicBezTo>
                <a:cubicBezTo>
                  <a:pt x="290" y="266"/>
                  <a:pt x="290" y="266"/>
                  <a:pt x="290" y="266"/>
                </a:cubicBezTo>
                <a:cubicBezTo>
                  <a:pt x="288" y="271"/>
                  <a:pt x="283" y="274"/>
                  <a:pt x="278" y="274"/>
                </a:cubicBezTo>
                <a:cubicBezTo>
                  <a:pt x="278" y="274"/>
                  <a:pt x="278" y="274"/>
                  <a:pt x="278" y="274"/>
                </a:cubicBezTo>
                <a:cubicBezTo>
                  <a:pt x="278" y="274"/>
                  <a:pt x="243" y="274"/>
                  <a:pt x="207" y="274"/>
                </a:cubicBezTo>
                <a:cubicBezTo>
                  <a:pt x="207" y="274"/>
                  <a:pt x="207" y="274"/>
                  <a:pt x="207" y="274"/>
                </a:cubicBezTo>
                <a:cubicBezTo>
                  <a:pt x="172" y="274"/>
                  <a:pt x="134" y="274"/>
                  <a:pt x="128" y="274"/>
                </a:cubicBezTo>
                <a:cubicBezTo>
                  <a:pt x="128" y="274"/>
                  <a:pt x="128" y="274"/>
                  <a:pt x="128" y="274"/>
                </a:cubicBezTo>
                <a:cubicBezTo>
                  <a:pt x="118" y="274"/>
                  <a:pt x="109" y="269"/>
                  <a:pt x="103" y="263"/>
                </a:cubicBezTo>
                <a:cubicBezTo>
                  <a:pt x="103" y="263"/>
                  <a:pt x="103" y="263"/>
                  <a:pt x="103" y="263"/>
                </a:cubicBezTo>
                <a:cubicBezTo>
                  <a:pt x="97" y="257"/>
                  <a:pt x="93" y="249"/>
                  <a:pt x="93" y="239"/>
                </a:cubicBezTo>
                <a:cubicBezTo>
                  <a:pt x="93" y="239"/>
                  <a:pt x="93" y="239"/>
                  <a:pt x="93" y="239"/>
                </a:cubicBezTo>
                <a:cubicBezTo>
                  <a:pt x="93" y="235"/>
                  <a:pt x="93" y="209"/>
                  <a:pt x="93" y="191"/>
                </a:cubicBezTo>
                <a:cubicBezTo>
                  <a:pt x="93" y="191"/>
                  <a:pt x="93" y="191"/>
                  <a:pt x="93" y="191"/>
                </a:cubicBezTo>
                <a:cubicBezTo>
                  <a:pt x="90" y="192"/>
                  <a:pt x="88" y="193"/>
                  <a:pt x="85" y="194"/>
                </a:cubicBezTo>
                <a:cubicBezTo>
                  <a:pt x="85" y="194"/>
                  <a:pt x="85" y="194"/>
                  <a:pt x="85" y="194"/>
                </a:cubicBezTo>
                <a:cubicBezTo>
                  <a:pt x="72" y="201"/>
                  <a:pt x="56" y="214"/>
                  <a:pt x="43" y="241"/>
                </a:cubicBezTo>
                <a:cubicBezTo>
                  <a:pt x="43" y="241"/>
                  <a:pt x="43" y="241"/>
                  <a:pt x="43" y="241"/>
                </a:cubicBezTo>
                <a:cubicBezTo>
                  <a:pt x="35" y="259"/>
                  <a:pt x="29" y="284"/>
                  <a:pt x="28" y="317"/>
                </a:cubicBezTo>
                <a:cubicBezTo>
                  <a:pt x="28" y="317"/>
                  <a:pt x="28" y="317"/>
                  <a:pt x="28" y="317"/>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9"/>
                  <a:pt x="27" y="319"/>
                  <a:pt x="27" y="320"/>
                </a:cubicBezTo>
                <a:cubicBezTo>
                  <a:pt x="27" y="320"/>
                  <a:pt x="27" y="320"/>
                  <a:pt x="27" y="320"/>
                </a:cubicBezTo>
                <a:cubicBezTo>
                  <a:pt x="27" y="321"/>
                  <a:pt x="27" y="324"/>
                  <a:pt x="27" y="326"/>
                </a:cubicBezTo>
                <a:cubicBezTo>
                  <a:pt x="27" y="326"/>
                  <a:pt x="27" y="326"/>
                  <a:pt x="27" y="326"/>
                </a:cubicBezTo>
                <a:cubicBezTo>
                  <a:pt x="27" y="332"/>
                  <a:pt x="28" y="339"/>
                  <a:pt x="29" y="347"/>
                </a:cubicBezTo>
                <a:cubicBezTo>
                  <a:pt x="29" y="347"/>
                  <a:pt x="29" y="347"/>
                  <a:pt x="29" y="347"/>
                </a:cubicBezTo>
                <a:cubicBezTo>
                  <a:pt x="31" y="354"/>
                  <a:pt x="33" y="362"/>
                  <a:pt x="37" y="367"/>
                </a:cubicBezTo>
                <a:cubicBezTo>
                  <a:pt x="37" y="367"/>
                  <a:pt x="37" y="367"/>
                  <a:pt x="37" y="367"/>
                </a:cubicBezTo>
                <a:cubicBezTo>
                  <a:pt x="39" y="371"/>
                  <a:pt x="42" y="374"/>
                  <a:pt x="46" y="376"/>
                </a:cubicBezTo>
                <a:cubicBezTo>
                  <a:pt x="46" y="376"/>
                  <a:pt x="46" y="376"/>
                  <a:pt x="46" y="376"/>
                </a:cubicBezTo>
                <a:cubicBezTo>
                  <a:pt x="50" y="378"/>
                  <a:pt x="56" y="379"/>
                  <a:pt x="62" y="379"/>
                </a:cubicBezTo>
                <a:cubicBezTo>
                  <a:pt x="62" y="379"/>
                  <a:pt x="62" y="379"/>
                  <a:pt x="62" y="379"/>
                </a:cubicBezTo>
                <a:cubicBezTo>
                  <a:pt x="68" y="379"/>
                  <a:pt x="74" y="378"/>
                  <a:pt x="79" y="374"/>
                </a:cubicBezTo>
                <a:cubicBezTo>
                  <a:pt x="79" y="374"/>
                  <a:pt x="79" y="374"/>
                  <a:pt x="79" y="374"/>
                </a:cubicBezTo>
                <a:cubicBezTo>
                  <a:pt x="84" y="370"/>
                  <a:pt x="88" y="364"/>
                  <a:pt x="90" y="355"/>
                </a:cubicBezTo>
                <a:cubicBezTo>
                  <a:pt x="90" y="355"/>
                  <a:pt x="90" y="355"/>
                  <a:pt x="90" y="355"/>
                </a:cubicBezTo>
                <a:cubicBezTo>
                  <a:pt x="92" y="349"/>
                  <a:pt x="97" y="345"/>
                  <a:pt x="103" y="345"/>
                </a:cubicBezTo>
                <a:cubicBezTo>
                  <a:pt x="103" y="345"/>
                  <a:pt x="103" y="345"/>
                  <a:pt x="103" y="345"/>
                </a:cubicBezTo>
                <a:cubicBezTo>
                  <a:pt x="217" y="345"/>
                  <a:pt x="217" y="345"/>
                  <a:pt x="217" y="345"/>
                </a:cubicBezTo>
                <a:cubicBezTo>
                  <a:pt x="223" y="345"/>
                  <a:pt x="228" y="348"/>
                  <a:pt x="230" y="354"/>
                </a:cubicBezTo>
                <a:cubicBezTo>
                  <a:pt x="230" y="354"/>
                  <a:pt x="230" y="354"/>
                  <a:pt x="230" y="354"/>
                </a:cubicBezTo>
                <a:cubicBezTo>
                  <a:pt x="230" y="354"/>
                  <a:pt x="230" y="354"/>
                  <a:pt x="230" y="354"/>
                </a:cubicBezTo>
                <a:cubicBezTo>
                  <a:pt x="230" y="354"/>
                  <a:pt x="230" y="354"/>
                  <a:pt x="230" y="354"/>
                </a:cubicBezTo>
                <a:cubicBezTo>
                  <a:pt x="230" y="354"/>
                  <a:pt x="230" y="354"/>
                  <a:pt x="230" y="354"/>
                </a:cubicBezTo>
                <a:cubicBezTo>
                  <a:pt x="230" y="354"/>
                  <a:pt x="230" y="355"/>
                  <a:pt x="230" y="355"/>
                </a:cubicBezTo>
                <a:cubicBezTo>
                  <a:pt x="230" y="355"/>
                  <a:pt x="230" y="355"/>
                  <a:pt x="230" y="355"/>
                </a:cubicBezTo>
                <a:cubicBezTo>
                  <a:pt x="231" y="357"/>
                  <a:pt x="232" y="358"/>
                  <a:pt x="233" y="361"/>
                </a:cubicBezTo>
                <a:cubicBezTo>
                  <a:pt x="233" y="361"/>
                  <a:pt x="233" y="361"/>
                  <a:pt x="233" y="361"/>
                </a:cubicBezTo>
                <a:cubicBezTo>
                  <a:pt x="235" y="365"/>
                  <a:pt x="238" y="372"/>
                  <a:pt x="242" y="379"/>
                </a:cubicBezTo>
                <a:cubicBezTo>
                  <a:pt x="242" y="379"/>
                  <a:pt x="242" y="379"/>
                  <a:pt x="242" y="379"/>
                </a:cubicBezTo>
                <a:cubicBezTo>
                  <a:pt x="251" y="393"/>
                  <a:pt x="265" y="410"/>
                  <a:pt x="284" y="420"/>
                </a:cubicBezTo>
                <a:cubicBezTo>
                  <a:pt x="284" y="420"/>
                  <a:pt x="284" y="420"/>
                  <a:pt x="284" y="420"/>
                </a:cubicBezTo>
                <a:cubicBezTo>
                  <a:pt x="297" y="428"/>
                  <a:pt x="312" y="432"/>
                  <a:pt x="331" y="432"/>
                </a:cubicBezTo>
                <a:cubicBezTo>
                  <a:pt x="331" y="432"/>
                  <a:pt x="331" y="432"/>
                  <a:pt x="331" y="432"/>
                </a:cubicBezTo>
                <a:cubicBezTo>
                  <a:pt x="350" y="432"/>
                  <a:pt x="366" y="429"/>
                  <a:pt x="379" y="423"/>
                </a:cubicBezTo>
                <a:cubicBezTo>
                  <a:pt x="379" y="423"/>
                  <a:pt x="379" y="423"/>
                  <a:pt x="379" y="423"/>
                </a:cubicBezTo>
                <a:cubicBezTo>
                  <a:pt x="392" y="416"/>
                  <a:pt x="402" y="408"/>
                  <a:pt x="410" y="398"/>
                </a:cubicBezTo>
                <a:cubicBezTo>
                  <a:pt x="410" y="398"/>
                  <a:pt x="410" y="398"/>
                  <a:pt x="410" y="398"/>
                </a:cubicBezTo>
                <a:cubicBezTo>
                  <a:pt x="426" y="378"/>
                  <a:pt x="434" y="352"/>
                  <a:pt x="434" y="330"/>
                </a:cubicBezTo>
                <a:cubicBezTo>
                  <a:pt x="434" y="330"/>
                  <a:pt x="434" y="330"/>
                  <a:pt x="434" y="330"/>
                </a:cubicBezTo>
                <a:cubicBezTo>
                  <a:pt x="434" y="309"/>
                  <a:pt x="425" y="284"/>
                  <a:pt x="410" y="259"/>
                </a:cubicBezTo>
                <a:cubicBezTo>
                  <a:pt x="410" y="259"/>
                  <a:pt x="410" y="259"/>
                  <a:pt x="410" y="259"/>
                </a:cubicBezTo>
                <a:cubicBezTo>
                  <a:pt x="395" y="235"/>
                  <a:pt x="374" y="211"/>
                  <a:pt x="351" y="191"/>
                </a:cubicBezTo>
                <a:cubicBezTo>
                  <a:pt x="351" y="191"/>
                  <a:pt x="351" y="191"/>
                  <a:pt x="351" y="191"/>
                </a:cubicBezTo>
                <a:cubicBezTo>
                  <a:pt x="347" y="188"/>
                  <a:pt x="345" y="183"/>
                  <a:pt x="346" y="179"/>
                </a:cubicBezTo>
                <a:cubicBezTo>
                  <a:pt x="346" y="179"/>
                  <a:pt x="346" y="179"/>
                  <a:pt x="346" y="179"/>
                </a:cubicBezTo>
                <a:cubicBezTo>
                  <a:pt x="347" y="174"/>
                  <a:pt x="350" y="170"/>
                  <a:pt x="355" y="168"/>
                </a:cubicBezTo>
                <a:cubicBezTo>
                  <a:pt x="355" y="168"/>
                  <a:pt x="355" y="168"/>
                  <a:pt x="355" y="168"/>
                </a:cubicBezTo>
                <a:cubicBezTo>
                  <a:pt x="355" y="168"/>
                  <a:pt x="355" y="168"/>
                  <a:pt x="355" y="168"/>
                </a:cubicBezTo>
                <a:cubicBezTo>
                  <a:pt x="355" y="168"/>
                  <a:pt x="355" y="168"/>
                  <a:pt x="355" y="168"/>
                </a:cubicBezTo>
                <a:cubicBezTo>
                  <a:pt x="355" y="168"/>
                  <a:pt x="355" y="168"/>
                  <a:pt x="356" y="168"/>
                </a:cubicBezTo>
                <a:cubicBezTo>
                  <a:pt x="356" y="168"/>
                  <a:pt x="356" y="168"/>
                  <a:pt x="356" y="168"/>
                </a:cubicBezTo>
                <a:cubicBezTo>
                  <a:pt x="356" y="168"/>
                  <a:pt x="357" y="168"/>
                  <a:pt x="358" y="167"/>
                </a:cubicBezTo>
                <a:cubicBezTo>
                  <a:pt x="358" y="167"/>
                  <a:pt x="358" y="167"/>
                  <a:pt x="358" y="167"/>
                </a:cubicBezTo>
                <a:cubicBezTo>
                  <a:pt x="360" y="167"/>
                  <a:pt x="363" y="165"/>
                  <a:pt x="366" y="164"/>
                </a:cubicBezTo>
                <a:cubicBezTo>
                  <a:pt x="366" y="164"/>
                  <a:pt x="366" y="164"/>
                  <a:pt x="366" y="164"/>
                </a:cubicBezTo>
                <a:cubicBezTo>
                  <a:pt x="372" y="161"/>
                  <a:pt x="380" y="157"/>
                  <a:pt x="385" y="153"/>
                </a:cubicBezTo>
                <a:cubicBezTo>
                  <a:pt x="385" y="153"/>
                  <a:pt x="385" y="153"/>
                  <a:pt x="385" y="153"/>
                </a:cubicBezTo>
                <a:cubicBezTo>
                  <a:pt x="389" y="151"/>
                  <a:pt x="391" y="148"/>
                  <a:pt x="391" y="148"/>
                </a:cubicBezTo>
                <a:cubicBezTo>
                  <a:pt x="391" y="148"/>
                  <a:pt x="391" y="148"/>
                  <a:pt x="391" y="148"/>
                </a:cubicBezTo>
                <a:cubicBezTo>
                  <a:pt x="392" y="145"/>
                  <a:pt x="394" y="139"/>
                  <a:pt x="395" y="132"/>
                </a:cubicBezTo>
                <a:cubicBezTo>
                  <a:pt x="395" y="132"/>
                  <a:pt x="395" y="132"/>
                  <a:pt x="395" y="132"/>
                </a:cubicBezTo>
                <a:cubicBezTo>
                  <a:pt x="396" y="125"/>
                  <a:pt x="396" y="118"/>
                  <a:pt x="396" y="111"/>
                </a:cubicBezTo>
                <a:cubicBezTo>
                  <a:pt x="396" y="111"/>
                  <a:pt x="396" y="111"/>
                  <a:pt x="396" y="111"/>
                </a:cubicBezTo>
                <a:cubicBezTo>
                  <a:pt x="396" y="104"/>
                  <a:pt x="396" y="99"/>
                  <a:pt x="396" y="95"/>
                </a:cubicBezTo>
                <a:cubicBezTo>
                  <a:pt x="396" y="95"/>
                  <a:pt x="396" y="95"/>
                  <a:pt x="396" y="95"/>
                </a:cubicBezTo>
                <a:cubicBezTo>
                  <a:pt x="395" y="95"/>
                  <a:pt x="393" y="95"/>
                  <a:pt x="392" y="95"/>
                </a:cubicBezTo>
                <a:cubicBezTo>
                  <a:pt x="392" y="95"/>
                  <a:pt x="392" y="95"/>
                  <a:pt x="392"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87" y="95"/>
                  <a:pt x="384" y="94"/>
                  <a:pt x="381" y="91"/>
                </a:cubicBezTo>
                <a:cubicBezTo>
                  <a:pt x="381" y="91"/>
                  <a:pt x="381" y="91"/>
                  <a:pt x="381" y="91"/>
                </a:cubicBezTo>
                <a:cubicBezTo>
                  <a:pt x="378" y="89"/>
                  <a:pt x="377" y="85"/>
                  <a:pt x="377" y="81"/>
                </a:cubicBezTo>
                <a:cubicBezTo>
                  <a:pt x="377" y="81"/>
                  <a:pt x="377" y="81"/>
                  <a:pt x="377" y="81"/>
                </a:cubicBezTo>
                <a:cubicBezTo>
                  <a:pt x="377" y="81"/>
                  <a:pt x="377" y="40"/>
                  <a:pt x="377" y="32"/>
                </a:cubicBezTo>
                <a:cubicBezTo>
                  <a:pt x="377" y="32"/>
                  <a:pt x="377" y="32"/>
                  <a:pt x="377" y="32"/>
                </a:cubicBezTo>
                <a:cubicBezTo>
                  <a:pt x="377" y="30"/>
                  <a:pt x="376" y="28"/>
                  <a:pt x="375" y="28"/>
                </a:cubicBezTo>
                <a:cubicBezTo>
                  <a:pt x="375" y="28"/>
                  <a:pt x="375" y="28"/>
                  <a:pt x="375" y="28"/>
                </a:cubicBezTo>
                <a:cubicBezTo>
                  <a:pt x="375" y="27"/>
                  <a:pt x="374" y="27"/>
                  <a:pt x="373" y="27"/>
                </a:cubicBezTo>
                <a:cubicBezTo>
                  <a:pt x="373" y="27"/>
                  <a:pt x="373" y="27"/>
                  <a:pt x="373" y="27"/>
                </a:cubicBezTo>
                <a:cubicBezTo>
                  <a:pt x="371" y="27"/>
                  <a:pt x="370" y="27"/>
                  <a:pt x="369" y="28"/>
                </a:cubicBezTo>
                <a:cubicBezTo>
                  <a:pt x="369" y="28"/>
                  <a:pt x="369" y="28"/>
                  <a:pt x="369" y="28"/>
                </a:cubicBezTo>
                <a:cubicBezTo>
                  <a:pt x="369" y="28"/>
                  <a:pt x="368" y="29"/>
                  <a:pt x="368" y="32"/>
                </a:cubicBezTo>
                <a:cubicBezTo>
                  <a:pt x="368" y="32"/>
                  <a:pt x="368" y="32"/>
                  <a:pt x="368" y="32"/>
                </a:cubicBezTo>
                <a:cubicBezTo>
                  <a:pt x="368" y="41"/>
                  <a:pt x="368" y="76"/>
                  <a:pt x="368" y="81"/>
                </a:cubicBezTo>
                <a:cubicBezTo>
                  <a:pt x="368" y="81"/>
                  <a:pt x="368" y="81"/>
                  <a:pt x="368" y="81"/>
                </a:cubicBezTo>
                <a:cubicBezTo>
                  <a:pt x="368" y="85"/>
                  <a:pt x="367" y="88"/>
                  <a:pt x="364" y="90"/>
                </a:cubicBezTo>
                <a:cubicBezTo>
                  <a:pt x="364" y="90"/>
                  <a:pt x="364" y="90"/>
                  <a:pt x="364" y="90"/>
                </a:cubicBezTo>
                <a:cubicBezTo>
                  <a:pt x="362" y="93"/>
                  <a:pt x="358" y="94"/>
                  <a:pt x="355" y="94"/>
                </a:cubicBezTo>
                <a:cubicBezTo>
                  <a:pt x="355" y="94"/>
                  <a:pt x="355" y="94"/>
                  <a:pt x="355" y="94"/>
                </a:cubicBezTo>
                <a:cubicBezTo>
                  <a:pt x="321" y="94"/>
                  <a:pt x="321" y="94"/>
                  <a:pt x="321" y="94"/>
                </a:cubicBezTo>
                <a:cubicBezTo>
                  <a:pt x="317" y="94"/>
                  <a:pt x="314" y="93"/>
                  <a:pt x="312" y="90"/>
                </a:cubicBezTo>
                <a:cubicBezTo>
                  <a:pt x="312" y="90"/>
                  <a:pt x="312" y="90"/>
                  <a:pt x="312" y="90"/>
                </a:cubicBezTo>
                <a:cubicBezTo>
                  <a:pt x="309" y="88"/>
                  <a:pt x="308" y="85"/>
                  <a:pt x="308" y="81"/>
                </a:cubicBezTo>
                <a:cubicBezTo>
                  <a:pt x="308" y="81"/>
                  <a:pt x="308" y="81"/>
                  <a:pt x="308" y="81"/>
                </a:cubicBezTo>
                <a:cubicBezTo>
                  <a:pt x="308" y="81"/>
                  <a:pt x="308" y="42"/>
                  <a:pt x="308" y="32"/>
                </a:cubicBezTo>
                <a:cubicBezTo>
                  <a:pt x="308" y="32"/>
                  <a:pt x="308" y="32"/>
                  <a:pt x="308" y="32"/>
                </a:cubicBezTo>
                <a:cubicBezTo>
                  <a:pt x="308" y="29"/>
                  <a:pt x="307" y="28"/>
                  <a:pt x="306" y="28"/>
                </a:cubicBezTo>
                <a:cubicBezTo>
                  <a:pt x="306" y="28"/>
                  <a:pt x="306" y="28"/>
                  <a:pt x="306" y="28"/>
                </a:cubicBezTo>
                <a:cubicBezTo>
                  <a:pt x="306" y="27"/>
                  <a:pt x="305" y="27"/>
                  <a:pt x="304" y="27"/>
                </a:cubicBezTo>
                <a:cubicBezTo>
                  <a:pt x="304" y="27"/>
                  <a:pt x="304" y="27"/>
                  <a:pt x="304" y="27"/>
                </a:cubicBezTo>
                <a:cubicBezTo>
                  <a:pt x="302" y="27"/>
                  <a:pt x="301" y="27"/>
                  <a:pt x="300" y="28"/>
                </a:cubicBezTo>
                <a:cubicBezTo>
                  <a:pt x="300" y="28"/>
                  <a:pt x="300" y="28"/>
                  <a:pt x="300" y="28"/>
                </a:cubicBezTo>
                <a:cubicBezTo>
                  <a:pt x="300" y="28"/>
                  <a:pt x="299" y="29"/>
                  <a:pt x="299" y="32"/>
                </a:cubicBezTo>
                <a:cubicBezTo>
                  <a:pt x="299" y="32"/>
                  <a:pt x="299" y="32"/>
                  <a:pt x="299" y="32"/>
                </a:cubicBezTo>
                <a:cubicBezTo>
                  <a:pt x="299" y="41"/>
                  <a:pt x="299" y="74"/>
                  <a:pt x="299" y="82"/>
                </a:cubicBezTo>
                <a:cubicBezTo>
                  <a:pt x="299" y="82"/>
                  <a:pt x="299" y="82"/>
                  <a:pt x="299" y="82"/>
                </a:cubicBezTo>
                <a:cubicBezTo>
                  <a:pt x="299" y="86"/>
                  <a:pt x="297" y="89"/>
                  <a:pt x="294" y="92"/>
                </a:cubicBezTo>
                <a:cubicBezTo>
                  <a:pt x="294" y="92"/>
                  <a:pt x="294" y="92"/>
                  <a:pt x="294" y="92"/>
                </a:cubicBezTo>
                <a:cubicBezTo>
                  <a:pt x="291" y="94"/>
                  <a:pt x="288" y="95"/>
                  <a:pt x="284" y="95"/>
                </a:cubicBezTo>
                <a:cubicBezTo>
                  <a:pt x="284" y="95"/>
                  <a:pt x="284" y="95"/>
                  <a:pt x="284" y="95"/>
                </a:cubicBezTo>
                <a:cubicBezTo>
                  <a:pt x="284" y="95"/>
                  <a:pt x="284" y="95"/>
                  <a:pt x="284" y="95"/>
                </a:cubicBezTo>
                <a:cubicBezTo>
                  <a:pt x="284" y="95"/>
                  <a:pt x="283" y="95"/>
                  <a:pt x="283" y="95"/>
                </a:cubicBezTo>
                <a:cubicBezTo>
                  <a:pt x="283" y="95"/>
                  <a:pt x="283" y="95"/>
                  <a:pt x="283" y="95"/>
                </a:cubicBezTo>
                <a:cubicBezTo>
                  <a:pt x="282" y="95"/>
                  <a:pt x="281" y="95"/>
                  <a:pt x="280" y="95"/>
                </a:cubicBezTo>
                <a:cubicBezTo>
                  <a:pt x="280" y="95"/>
                  <a:pt x="280" y="95"/>
                  <a:pt x="280" y="95"/>
                </a:cubicBezTo>
                <a:cubicBezTo>
                  <a:pt x="280" y="98"/>
                  <a:pt x="280" y="102"/>
                  <a:pt x="280" y="106"/>
                </a:cubicBezTo>
                <a:cubicBezTo>
                  <a:pt x="280" y="106"/>
                  <a:pt x="280" y="106"/>
                  <a:pt x="280" y="106"/>
                </a:cubicBezTo>
                <a:cubicBezTo>
                  <a:pt x="280" y="116"/>
                  <a:pt x="280" y="130"/>
                  <a:pt x="281" y="139"/>
                </a:cubicBezTo>
                <a:cubicBezTo>
                  <a:pt x="281" y="139"/>
                  <a:pt x="281" y="139"/>
                  <a:pt x="281" y="139"/>
                </a:cubicBezTo>
                <a:cubicBezTo>
                  <a:pt x="281" y="142"/>
                  <a:pt x="282" y="144"/>
                  <a:pt x="282" y="145"/>
                </a:cubicBezTo>
                <a:cubicBezTo>
                  <a:pt x="282" y="145"/>
                  <a:pt x="282" y="145"/>
                  <a:pt x="282" y="145"/>
                </a:cubicBezTo>
                <a:cubicBezTo>
                  <a:pt x="282" y="145"/>
                  <a:pt x="282" y="145"/>
                  <a:pt x="282" y="145"/>
                </a:cubicBezTo>
                <a:cubicBezTo>
                  <a:pt x="282" y="145"/>
                  <a:pt x="282" y="145"/>
                  <a:pt x="282" y="145"/>
                </a:cubicBezTo>
                <a:cubicBezTo>
                  <a:pt x="283" y="148"/>
                  <a:pt x="285" y="150"/>
                  <a:pt x="287" y="152"/>
                </a:cubicBezTo>
                <a:cubicBezTo>
                  <a:pt x="287" y="152"/>
                  <a:pt x="287" y="152"/>
                  <a:pt x="287" y="152"/>
                </a:cubicBezTo>
                <a:cubicBezTo>
                  <a:pt x="289" y="154"/>
                  <a:pt x="293" y="156"/>
                  <a:pt x="296" y="158"/>
                </a:cubicBezTo>
                <a:cubicBezTo>
                  <a:pt x="296" y="158"/>
                  <a:pt x="296" y="158"/>
                  <a:pt x="296" y="158"/>
                </a:cubicBezTo>
                <a:cubicBezTo>
                  <a:pt x="303" y="162"/>
                  <a:pt x="312" y="165"/>
                  <a:pt x="318" y="167"/>
                </a:cubicBezTo>
                <a:cubicBezTo>
                  <a:pt x="318" y="167"/>
                  <a:pt x="318" y="167"/>
                  <a:pt x="318" y="167"/>
                </a:cubicBezTo>
                <a:cubicBezTo>
                  <a:pt x="325" y="169"/>
                  <a:pt x="330" y="176"/>
                  <a:pt x="328" y="183"/>
                </a:cubicBezTo>
                <a:cubicBezTo>
                  <a:pt x="328" y="183"/>
                  <a:pt x="328" y="183"/>
                  <a:pt x="328" y="183"/>
                </a:cubicBezTo>
                <a:cubicBezTo>
                  <a:pt x="326" y="190"/>
                  <a:pt x="318" y="194"/>
                  <a:pt x="311" y="192"/>
                </a:cubicBezTo>
                <a:cubicBezTo>
                  <a:pt x="311" y="192"/>
                  <a:pt x="311" y="192"/>
                  <a:pt x="311" y="192"/>
                </a:cubicBezTo>
                <a:cubicBezTo>
                  <a:pt x="300" y="189"/>
                  <a:pt x="283" y="184"/>
                  <a:pt x="269" y="172"/>
                </a:cubicBezTo>
                <a:cubicBezTo>
                  <a:pt x="269" y="172"/>
                  <a:pt x="269" y="172"/>
                  <a:pt x="269" y="172"/>
                </a:cubicBezTo>
                <a:cubicBezTo>
                  <a:pt x="264" y="167"/>
                  <a:pt x="260" y="162"/>
                  <a:pt x="257" y="156"/>
                </a:cubicBezTo>
                <a:cubicBezTo>
                  <a:pt x="257" y="156"/>
                  <a:pt x="257" y="156"/>
                  <a:pt x="257" y="156"/>
                </a:cubicBezTo>
                <a:cubicBezTo>
                  <a:pt x="256" y="154"/>
                  <a:pt x="256" y="152"/>
                  <a:pt x="256" y="150"/>
                </a:cubicBezTo>
                <a:cubicBezTo>
                  <a:pt x="256" y="150"/>
                  <a:pt x="256" y="150"/>
                  <a:pt x="256" y="150"/>
                </a:cubicBezTo>
                <a:cubicBezTo>
                  <a:pt x="255" y="148"/>
                  <a:pt x="255" y="147"/>
                  <a:pt x="255" y="145"/>
                </a:cubicBezTo>
                <a:cubicBezTo>
                  <a:pt x="255" y="145"/>
                  <a:pt x="255" y="145"/>
                  <a:pt x="255" y="145"/>
                </a:cubicBezTo>
                <a:cubicBezTo>
                  <a:pt x="254" y="141"/>
                  <a:pt x="254" y="137"/>
                  <a:pt x="254" y="132"/>
                </a:cubicBezTo>
                <a:cubicBezTo>
                  <a:pt x="254" y="132"/>
                  <a:pt x="254" y="132"/>
                  <a:pt x="254" y="132"/>
                </a:cubicBezTo>
                <a:cubicBezTo>
                  <a:pt x="253" y="124"/>
                  <a:pt x="253" y="114"/>
                  <a:pt x="253" y="106"/>
                </a:cubicBezTo>
                <a:cubicBezTo>
                  <a:pt x="253" y="106"/>
                  <a:pt x="253" y="106"/>
                  <a:pt x="253" y="106"/>
                </a:cubicBezTo>
                <a:cubicBezTo>
                  <a:pt x="253" y="101"/>
                  <a:pt x="253" y="97"/>
                  <a:pt x="253" y="94"/>
                </a:cubicBezTo>
                <a:cubicBezTo>
                  <a:pt x="253" y="94"/>
                  <a:pt x="253" y="94"/>
                  <a:pt x="253" y="94"/>
                </a:cubicBezTo>
                <a:cubicBezTo>
                  <a:pt x="253" y="89"/>
                  <a:pt x="255" y="84"/>
                  <a:pt x="257" y="81"/>
                </a:cubicBezTo>
                <a:cubicBezTo>
                  <a:pt x="257" y="81"/>
                  <a:pt x="257" y="81"/>
                  <a:pt x="257" y="81"/>
                </a:cubicBezTo>
                <a:cubicBezTo>
                  <a:pt x="260" y="77"/>
                  <a:pt x="263" y="74"/>
                  <a:pt x="266" y="72"/>
                </a:cubicBezTo>
                <a:cubicBezTo>
                  <a:pt x="266" y="72"/>
                  <a:pt x="266" y="72"/>
                  <a:pt x="266" y="72"/>
                </a:cubicBezTo>
                <a:cubicBezTo>
                  <a:pt x="268" y="71"/>
                  <a:pt x="270" y="70"/>
                  <a:pt x="272" y="70"/>
                </a:cubicBezTo>
                <a:cubicBezTo>
                  <a:pt x="272" y="70"/>
                  <a:pt x="272" y="70"/>
                  <a:pt x="272" y="70"/>
                </a:cubicBezTo>
                <a:cubicBezTo>
                  <a:pt x="272" y="57"/>
                  <a:pt x="272" y="38"/>
                  <a:pt x="272" y="32"/>
                </a:cubicBezTo>
                <a:cubicBezTo>
                  <a:pt x="272" y="32"/>
                  <a:pt x="272" y="32"/>
                  <a:pt x="272" y="32"/>
                </a:cubicBezTo>
                <a:cubicBezTo>
                  <a:pt x="272" y="23"/>
                  <a:pt x="276" y="14"/>
                  <a:pt x="282" y="8"/>
                </a:cubicBezTo>
                <a:cubicBezTo>
                  <a:pt x="282" y="8"/>
                  <a:pt x="282" y="8"/>
                  <a:pt x="282" y="8"/>
                </a:cubicBezTo>
                <a:cubicBezTo>
                  <a:pt x="289" y="2"/>
                  <a:pt x="296" y="0"/>
                  <a:pt x="304" y="0"/>
                </a:cubicBezTo>
                <a:cubicBezTo>
                  <a:pt x="304" y="0"/>
                  <a:pt x="304" y="0"/>
                  <a:pt x="304" y="0"/>
                </a:cubicBezTo>
                <a:cubicBezTo>
                  <a:pt x="312" y="0"/>
                  <a:pt x="320" y="3"/>
                  <a:pt x="325" y="9"/>
                </a:cubicBezTo>
                <a:cubicBezTo>
                  <a:pt x="325" y="9"/>
                  <a:pt x="325" y="9"/>
                  <a:pt x="325" y="9"/>
                </a:cubicBezTo>
                <a:cubicBezTo>
                  <a:pt x="331" y="15"/>
                  <a:pt x="334" y="23"/>
                  <a:pt x="334" y="32"/>
                </a:cubicBezTo>
                <a:cubicBezTo>
                  <a:pt x="334" y="32"/>
                  <a:pt x="334" y="32"/>
                  <a:pt x="334" y="32"/>
                </a:cubicBezTo>
                <a:cubicBezTo>
                  <a:pt x="334" y="38"/>
                  <a:pt x="334" y="55"/>
                  <a:pt x="334" y="68"/>
                </a:cubicBezTo>
                <a:cubicBezTo>
                  <a:pt x="334" y="68"/>
                  <a:pt x="334" y="68"/>
                  <a:pt x="334" y="68"/>
                </a:cubicBezTo>
                <a:cubicBezTo>
                  <a:pt x="342" y="68"/>
                  <a:pt x="342" y="68"/>
                  <a:pt x="342" y="68"/>
                </a:cubicBezTo>
                <a:cubicBezTo>
                  <a:pt x="342" y="55"/>
                  <a:pt x="342" y="38"/>
                  <a:pt x="342" y="32"/>
                </a:cubicBezTo>
                <a:cubicBezTo>
                  <a:pt x="342" y="32"/>
                  <a:pt x="342" y="32"/>
                  <a:pt x="342" y="32"/>
                </a:cubicBezTo>
                <a:cubicBezTo>
                  <a:pt x="342" y="23"/>
                  <a:pt x="345" y="15"/>
                  <a:pt x="351" y="9"/>
                </a:cubicBezTo>
                <a:cubicBezTo>
                  <a:pt x="351" y="9"/>
                  <a:pt x="351" y="9"/>
                  <a:pt x="351" y="9"/>
                </a:cubicBezTo>
                <a:cubicBezTo>
                  <a:pt x="356" y="3"/>
                  <a:pt x="365" y="0"/>
                  <a:pt x="373" y="0"/>
                </a:cubicBezTo>
                <a:cubicBezTo>
                  <a:pt x="373" y="0"/>
                  <a:pt x="373" y="0"/>
                  <a:pt x="373" y="0"/>
                </a:cubicBezTo>
                <a:cubicBezTo>
                  <a:pt x="381" y="0"/>
                  <a:pt x="389" y="4"/>
                  <a:pt x="395" y="10"/>
                </a:cubicBezTo>
                <a:cubicBezTo>
                  <a:pt x="395" y="10"/>
                  <a:pt x="395" y="10"/>
                  <a:pt x="395" y="10"/>
                </a:cubicBezTo>
                <a:cubicBezTo>
                  <a:pt x="400" y="16"/>
                  <a:pt x="403" y="24"/>
                  <a:pt x="403" y="32"/>
                </a:cubicBezTo>
                <a:cubicBezTo>
                  <a:pt x="403" y="32"/>
                  <a:pt x="403" y="32"/>
                  <a:pt x="403" y="32"/>
                </a:cubicBezTo>
                <a:cubicBezTo>
                  <a:pt x="403" y="37"/>
                  <a:pt x="403" y="57"/>
                  <a:pt x="403" y="70"/>
                </a:cubicBezTo>
                <a:cubicBezTo>
                  <a:pt x="403" y="70"/>
                  <a:pt x="403" y="70"/>
                  <a:pt x="403" y="70"/>
                </a:cubicBezTo>
                <a:cubicBezTo>
                  <a:pt x="408" y="71"/>
                  <a:pt x="414" y="74"/>
                  <a:pt x="418" y="80"/>
                </a:cubicBezTo>
                <a:cubicBezTo>
                  <a:pt x="418" y="80"/>
                  <a:pt x="418" y="80"/>
                  <a:pt x="418" y="80"/>
                </a:cubicBezTo>
                <a:cubicBezTo>
                  <a:pt x="421" y="84"/>
                  <a:pt x="422" y="89"/>
                  <a:pt x="422" y="95"/>
                </a:cubicBezTo>
                <a:cubicBezTo>
                  <a:pt x="422" y="95"/>
                  <a:pt x="422" y="95"/>
                  <a:pt x="422" y="95"/>
                </a:cubicBezTo>
                <a:cubicBezTo>
                  <a:pt x="422" y="98"/>
                  <a:pt x="422" y="104"/>
                  <a:pt x="422" y="111"/>
                </a:cubicBezTo>
                <a:cubicBezTo>
                  <a:pt x="422" y="111"/>
                  <a:pt x="422" y="111"/>
                  <a:pt x="422" y="111"/>
                </a:cubicBezTo>
                <a:cubicBezTo>
                  <a:pt x="422" y="118"/>
                  <a:pt x="422" y="127"/>
                  <a:pt x="421" y="135"/>
                </a:cubicBezTo>
                <a:cubicBezTo>
                  <a:pt x="421" y="135"/>
                  <a:pt x="421" y="135"/>
                  <a:pt x="421" y="135"/>
                </a:cubicBezTo>
                <a:cubicBezTo>
                  <a:pt x="420" y="144"/>
                  <a:pt x="419" y="152"/>
                  <a:pt x="415" y="160"/>
                </a:cubicBezTo>
                <a:cubicBezTo>
                  <a:pt x="415" y="160"/>
                  <a:pt x="415" y="160"/>
                  <a:pt x="415" y="160"/>
                </a:cubicBezTo>
                <a:cubicBezTo>
                  <a:pt x="411" y="167"/>
                  <a:pt x="406" y="171"/>
                  <a:pt x="401" y="175"/>
                </a:cubicBezTo>
                <a:cubicBezTo>
                  <a:pt x="401" y="175"/>
                  <a:pt x="401" y="175"/>
                  <a:pt x="401" y="175"/>
                </a:cubicBezTo>
                <a:cubicBezTo>
                  <a:pt x="395" y="179"/>
                  <a:pt x="390" y="182"/>
                  <a:pt x="384" y="185"/>
                </a:cubicBezTo>
                <a:cubicBezTo>
                  <a:pt x="384" y="185"/>
                  <a:pt x="384" y="185"/>
                  <a:pt x="384" y="185"/>
                </a:cubicBezTo>
                <a:cubicBezTo>
                  <a:pt x="384" y="185"/>
                  <a:pt x="384" y="185"/>
                  <a:pt x="384" y="185"/>
                </a:cubicBezTo>
                <a:cubicBezTo>
                  <a:pt x="384" y="185"/>
                  <a:pt x="384" y="185"/>
                  <a:pt x="384" y="185"/>
                </a:cubicBezTo>
                <a:cubicBezTo>
                  <a:pt x="403" y="203"/>
                  <a:pt x="420" y="224"/>
                  <a:pt x="433" y="245"/>
                </a:cubicBezTo>
                <a:cubicBezTo>
                  <a:pt x="433" y="245"/>
                  <a:pt x="433" y="245"/>
                  <a:pt x="433" y="245"/>
                </a:cubicBezTo>
                <a:cubicBezTo>
                  <a:pt x="449" y="273"/>
                  <a:pt x="460" y="302"/>
                  <a:pt x="460" y="330"/>
                </a:cubicBezTo>
                <a:cubicBezTo>
                  <a:pt x="460" y="330"/>
                  <a:pt x="460" y="330"/>
                  <a:pt x="460" y="330"/>
                </a:cubicBezTo>
                <a:cubicBezTo>
                  <a:pt x="460" y="351"/>
                  <a:pt x="455" y="373"/>
                  <a:pt x="444" y="395"/>
                </a:cubicBezTo>
                <a:cubicBezTo>
                  <a:pt x="444" y="395"/>
                  <a:pt x="444" y="395"/>
                  <a:pt x="444" y="395"/>
                </a:cubicBezTo>
                <a:cubicBezTo>
                  <a:pt x="433" y="416"/>
                  <a:pt x="416" y="435"/>
                  <a:pt x="390" y="447"/>
                </a:cubicBezTo>
                <a:cubicBezTo>
                  <a:pt x="390" y="447"/>
                  <a:pt x="390" y="447"/>
                  <a:pt x="390" y="447"/>
                </a:cubicBezTo>
                <a:cubicBezTo>
                  <a:pt x="374" y="455"/>
                  <a:pt x="354" y="459"/>
                  <a:pt x="331" y="459"/>
                </a:cubicBezTo>
                <a:cubicBezTo>
                  <a:pt x="331" y="459"/>
                  <a:pt x="331" y="459"/>
                  <a:pt x="331" y="459"/>
                </a:cubicBezTo>
                <a:cubicBezTo>
                  <a:pt x="331" y="459"/>
                  <a:pt x="331" y="459"/>
                  <a:pt x="331" y="459"/>
                </a:cubicBezTo>
                <a:cubicBezTo>
                  <a:pt x="331" y="459"/>
                  <a:pt x="331" y="459"/>
                  <a:pt x="331" y="459"/>
                </a:cubicBezTo>
                <a:cubicBezTo>
                  <a:pt x="307" y="459"/>
                  <a:pt x="287" y="453"/>
                  <a:pt x="271" y="444"/>
                </a:cubicBezTo>
                <a:close/>
                <a:moveTo>
                  <a:pt x="294" y="122"/>
                </a:moveTo>
                <a:cubicBezTo>
                  <a:pt x="294" y="122"/>
                  <a:pt x="294" y="122"/>
                  <a:pt x="294" y="122"/>
                </a:cubicBezTo>
                <a:cubicBezTo>
                  <a:pt x="294" y="122"/>
                  <a:pt x="294" y="122"/>
                  <a:pt x="294" y="122"/>
                </a:cubicBezTo>
                <a:cubicBezTo>
                  <a:pt x="294" y="122"/>
                  <a:pt x="294" y="122"/>
                  <a:pt x="294" y="122"/>
                </a:cubicBezTo>
                <a:cubicBezTo>
                  <a:pt x="294" y="122"/>
                  <a:pt x="294" y="122"/>
                  <a:pt x="294" y="12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67" name="Freeform 200"/>
          <p:cNvSpPr>
            <a:spLocks noChangeAspect="1"/>
          </p:cNvSpPr>
          <p:nvPr userDrawn="1"/>
        </p:nvSpPr>
        <p:spPr bwMode="auto">
          <a:xfrm>
            <a:off x="7136532" y="1646520"/>
            <a:ext cx="204821" cy="294894"/>
          </a:xfrm>
          <a:custGeom>
            <a:avLst/>
            <a:gdLst/>
            <a:ahLst/>
            <a:cxnLst>
              <a:cxn ang="0">
                <a:pos x="0" y="62"/>
              </a:cxn>
              <a:cxn ang="0">
                <a:pos x="0" y="101"/>
              </a:cxn>
              <a:cxn ang="0">
                <a:pos x="8" y="140"/>
              </a:cxn>
              <a:cxn ang="0">
                <a:pos x="9" y="143"/>
              </a:cxn>
              <a:cxn ang="0">
                <a:pos x="10" y="143"/>
              </a:cxn>
              <a:cxn ang="0">
                <a:pos x="31" y="193"/>
              </a:cxn>
              <a:cxn ang="0">
                <a:pos x="48" y="231"/>
              </a:cxn>
              <a:cxn ang="0">
                <a:pos x="90" y="263"/>
              </a:cxn>
              <a:cxn ang="0">
                <a:pos x="119" y="263"/>
              </a:cxn>
              <a:cxn ang="0">
                <a:pos x="68" y="367"/>
              </a:cxn>
              <a:cxn ang="0">
                <a:pos x="230" y="425"/>
              </a:cxn>
              <a:cxn ang="0">
                <a:pos x="168" y="373"/>
              </a:cxn>
              <a:cxn ang="0">
                <a:pos x="149" y="367"/>
              </a:cxn>
              <a:cxn ang="0">
                <a:pos x="200" y="315"/>
              </a:cxn>
              <a:cxn ang="0">
                <a:pos x="187" y="237"/>
              </a:cxn>
              <a:cxn ang="0">
                <a:pos x="174" y="315"/>
              </a:cxn>
              <a:cxn ang="0">
                <a:pos x="122" y="367"/>
              </a:cxn>
              <a:cxn ang="0">
                <a:pos x="188" y="390"/>
              </a:cxn>
              <a:cxn ang="0">
                <a:pos x="210" y="408"/>
              </a:cxn>
              <a:cxn ang="0">
                <a:pos x="114" y="413"/>
              </a:cxn>
              <a:cxn ang="0">
                <a:pos x="137" y="306"/>
              </a:cxn>
              <a:cxn ang="0">
                <a:pos x="146" y="250"/>
              </a:cxn>
              <a:cxn ang="0">
                <a:pos x="89" y="237"/>
              </a:cxn>
              <a:cxn ang="0">
                <a:pos x="72" y="220"/>
              </a:cxn>
              <a:cxn ang="0">
                <a:pos x="56" y="183"/>
              </a:cxn>
              <a:cxn ang="0">
                <a:pos x="36" y="137"/>
              </a:cxn>
              <a:cxn ang="0">
                <a:pos x="33" y="131"/>
              </a:cxn>
              <a:cxn ang="0">
                <a:pos x="26" y="63"/>
              </a:cxn>
              <a:cxn ang="0">
                <a:pos x="61" y="27"/>
              </a:cxn>
              <a:cxn ang="0">
                <a:pos x="259" y="27"/>
              </a:cxn>
              <a:cxn ang="0">
                <a:pos x="290" y="61"/>
              </a:cxn>
              <a:cxn ang="0">
                <a:pos x="283" y="132"/>
              </a:cxn>
              <a:cxn ang="0">
                <a:pos x="227" y="260"/>
              </a:cxn>
              <a:cxn ang="0">
                <a:pos x="307" y="143"/>
              </a:cxn>
              <a:cxn ang="0">
                <a:pos x="317" y="61"/>
              </a:cxn>
              <a:cxn ang="0">
                <a:pos x="258" y="0"/>
              </a:cxn>
              <a:cxn ang="0">
                <a:pos x="61" y="0"/>
              </a:cxn>
            </a:cxnLst>
            <a:rect l="0" t="0" r="r" b="b"/>
            <a:pathLst>
              <a:path w="317" h="458">
                <a:moveTo>
                  <a:pt x="61" y="0"/>
                </a:moveTo>
                <a:cubicBezTo>
                  <a:pt x="14" y="0"/>
                  <a:pt x="0" y="41"/>
                  <a:pt x="0" y="62"/>
                </a:cubicBezTo>
                <a:cubicBezTo>
                  <a:pt x="0" y="62"/>
                  <a:pt x="0" y="63"/>
                  <a:pt x="0" y="63"/>
                </a:cubicBezTo>
                <a:cubicBezTo>
                  <a:pt x="0" y="101"/>
                  <a:pt x="0" y="101"/>
                  <a:pt x="0" y="101"/>
                </a:cubicBezTo>
                <a:cubicBezTo>
                  <a:pt x="0" y="115"/>
                  <a:pt x="6" y="133"/>
                  <a:pt x="8" y="140"/>
                </a:cubicBezTo>
                <a:cubicBezTo>
                  <a:pt x="8" y="140"/>
                  <a:pt x="8" y="140"/>
                  <a:pt x="8" y="140"/>
                </a:cubicBezTo>
                <a:cubicBezTo>
                  <a:pt x="9" y="143"/>
                  <a:pt x="9" y="143"/>
                  <a:pt x="9" y="143"/>
                </a:cubicBezTo>
                <a:cubicBezTo>
                  <a:pt x="9" y="143"/>
                  <a:pt x="9" y="143"/>
                  <a:pt x="9" y="143"/>
                </a:cubicBezTo>
                <a:cubicBezTo>
                  <a:pt x="9" y="143"/>
                  <a:pt x="9" y="143"/>
                  <a:pt x="9" y="143"/>
                </a:cubicBezTo>
                <a:cubicBezTo>
                  <a:pt x="10" y="143"/>
                  <a:pt x="10" y="143"/>
                  <a:pt x="10" y="143"/>
                </a:cubicBezTo>
                <a:cubicBezTo>
                  <a:pt x="11" y="145"/>
                  <a:pt x="11" y="147"/>
                  <a:pt x="11" y="147"/>
                </a:cubicBezTo>
                <a:cubicBezTo>
                  <a:pt x="16" y="158"/>
                  <a:pt x="24" y="177"/>
                  <a:pt x="31" y="193"/>
                </a:cubicBezTo>
                <a:cubicBezTo>
                  <a:pt x="32" y="195"/>
                  <a:pt x="33" y="198"/>
                  <a:pt x="36" y="203"/>
                </a:cubicBezTo>
                <a:cubicBezTo>
                  <a:pt x="39" y="211"/>
                  <a:pt x="44" y="220"/>
                  <a:pt x="48" y="231"/>
                </a:cubicBezTo>
                <a:cubicBezTo>
                  <a:pt x="48" y="231"/>
                  <a:pt x="48" y="231"/>
                  <a:pt x="48" y="231"/>
                </a:cubicBezTo>
                <a:cubicBezTo>
                  <a:pt x="64" y="264"/>
                  <a:pt x="87" y="263"/>
                  <a:pt x="90" y="263"/>
                </a:cubicBezTo>
                <a:cubicBezTo>
                  <a:pt x="90" y="263"/>
                  <a:pt x="89" y="263"/>
                  <a:pt x="89" y="263"/>
                </a:cubicBezTo>
                <a:cubicBezTo>
                  <a:pt x="89" y="263"/>
                  <a:pt x="106" y="263"/>
                  <a:pt x="119" y="263"/>
                </a:cubicBezTo>
                <a:cubicBezTo>
                  <a:pt x="119" y="272"/>
                  <a:pt x="119" y="278"/>
                  <a:pt x="119" y="284"/>
                </a:cubicBezTo>
                <a:cubicBezTo>
                  <a:pt x="88" y="300"/>
                  <a:pt x="68" y="332"/>
                  <a:pt x="68" y="367"/>
                </a:cubicBezTo>
                <a:cubicBezTo>
                  <a:pt x="68" y="417"/>
                  <a:pt x="109" y="458"/>
                  <a:pt x="160" y="458"/>
                </a:cubicBezTo>
                <a:cubicBezTo>
                  <a:pt x="187" y="458"/>
                  <a:pt x="213" y="446"/>
                  <a:pt x="230" y="425"/>
                </a:cubicBezTo>
                <a:cubicBezTo>
                  <a:pt x="245" y="408"/>
                  <a:pt x="242" y="382"/>
                  <a:pt x="225" y="368"/>
                </a:cubicBezTo>
                <a:cubicBezTo>
                  <a:pt x="208" y="354"/>
                  <a:pt x="182" y="356"/>
                  <a:pt x="168" y="373"/>
                </a:cubicBezTo>
                <a:cubicBezTo>
                  <a:pt x="166" y="376"/>
                  <a:pt x="163" y="377"/>
                  <a:pt x="160" y="377"/>
                </a:cubicBezTo>
                <a:cubicBezTo>
                  <a:pt x="154" y="377"/>
                  <a:pt x="149" y="372"/>
                  <a:pt x="149" y="367"/>
                </a:cubicBezTo>
                <a:cubicBezTo>
                  <a:pt x="149" y="361"/>
                  <a:pt x="154" y="356"/>
                  <a:pt x="160" y="356"/>
                </a:cubicBezTo>
                <a:cubicBezTo>
                  <a:pt x="182" y="356"/>
                  <a:pt x="200" y="338"/>
                  <a:pt x="200" y="315"/>
                </a:cubicBezTo>
                <a:cubicBezTo>
                  <a:pt x="200" y="250"/>
                  <a:pt x="200" y="250"/>
                  <a:pt x="200" y="250"/>
                </a:cubicBezTo>
                <a:cubicBezTo>
                  <a:pt x="200" y="242"/>
                  <a:pt x="194" y="237"/>
                  <a:pt x="187" y="237"/>
                </a:cubicBezTo>
                <a:cubicBezTo>
                  <a:pt x="179" y="237"/>
                  <a:pt x="173" y="243"/>
                  <a:pt x="173" y="250"/>
                </a:cubicBezTo>
                <a:cubicBezTo>
                  <a:pt x="174" y="315"/>
                  <a:pt x="174" y="315"/>
                  <a:pt x="174" y="315"/>
                </a:cubicBezTo>
                <a:cubicBezTo>
                  <a:pt x="174" y="323"/>
                  <a:pt x="167" y="329"/>
                  <a:pt x="160" y="329"/>
                </a:cubicBezTo>
                <a:cubicBezTo>
                  <a:pt x="139" y="329"/>
                  <a:pt x="122" y="346"/>
                  <a:pt x="122" y="367"/>
                </a:cubicBezTo>
                <a:cubicBezTo>
                  <a:pt x="122" y="387"/>
                  <a:pt x="139" y="404"/>
                  <a:pt x="160" y="404"/>
                </a:cubicBezTo>
                <a:cubicBezTo>
                  <a:pt x="171" y="404"/>
                  <a:pt x="181" y="399"/>
                  <a:pt x="188" y="390"/>
                </a:cubicBezTo>
                <a:cubicBezTo>
                  <a:pt x="193" y="384"/>
                  <a:pt x="202" y="384"/>
                  <a:pt x="208" y="388"/>
                </a:cubicBezTo>
                <a:cubicBezTo>
                  <a:pt x="214" y="393"/>
                  <a:pt x="215" y="402"/>
                  <a:pt x="210" y="408"/>
                </a:cubicBezTo>
                <a:cubicBezTo>
                  <a:pt x="197" y="423"/>
                  <a:pt x="179" y="432"/>
                  <a:pt x="160" y="432"/>
                </a:cubicBezTo>
                <a:cubicBezTo>
                  <a:pt x="142" y="432"/>
                  <a:pt x="126" y="425"/>
                  <a:pt x="114" y="413"/>
                </a:cubicBezTo>
                <a:cubicBezTo>
                  <a:pt x="101" y="400"/>
                  <a:pt x="94" y="384"/>
                  <a:pt x="94" y="367"/>
                </a:cubicBezTo>
                <a:cubicBezTo>
                  <a:pt x="94" y="340"/>
                  <a:pt x="112" y="315"/>
                  <a:pt x="137" y="306"/>
                </a:cubicBezTo>
                <a:cubicBezTo>
                  <a:pt x="142" y="304"/>
                  <a:pt x="146" y="299"/>
                  <a:pt x="146" y="293"/>
                </a:cubicBezTo>
                <a:cubicBezTo>
                  <a:pt x="146" y="250"/>
                  <a:pt x="146" y="250"/>
                  <a:pt x="146" y="250"/>
                </a:cubicBezTo>
                <a:cubicBezTo>
                  <a:pt x="146" y="243"/>
                  <a:pt x="140" y="237"/>
                  <a:pt x="132" y="237"/>
                </a:cubicBezTo>
                <a:cubicBezTo>
                  <a:pt x="132" y="237"/>
                  <a:pt x="89" y="237"/>
                  <a:pt x="89" y="237"/>
                </a:cubicBezTo>
                <a:cubicBezTo>
                  <a:pt x="89" y="237"/>
                  <a:pt x="89" y="237"/>
                  <a:pt x="89" y="237"/>
                </a:cubicBezTo>
                <a:cubicBezTo>
                  <a:pt x="88" y="236"/>
                  <a:pt x="80" y="236"/>
                  <a:pt x="72" y="220"/>
                </a:cubicBezTo>
                <a:cubicBezTo>
                  <a:pt x="68" y="209"/>
                  <a:pt x="63" y="199"/>
                  <a:pt x="60" y="192"/>
                </a:cubicBezTo>
                <a:cubicBezTo>
                  <a:pt x="58" y="188"/>
                  <a:pt x="56" y="184"/>
                  <a:pt x="56" y="183"/>
                </a:cubicBezTo>
                <a:cubicBezTo>
                  <a:pt x="56" y="182"/>
                  <a:pt x="55" y="182"/>
                  <a:pt x="55" y="182"/>
                </a:cubicBezTo>
                <a:cubicBezTo>
                  <a:pt x="49" y="167"/>
                  <a:pt x="40" y="147"/>
                  <a:pt x="36" y="137"/>
                </a:cubicBezTo>
                <a:cubicBezTo>
                  <a:pt x="34" y="131"/>
                  <a:pt x="34" y="131"/>
                  <a:pt x="34" y="131"/>
                </a:cubicBezTo>
                <a:cubicBezTo>
                  <a:pt x="34" y="131"/>
                  <a:pt x="34" y="131"/>
                  <a:pt x="33" y="131"/>
                </a:cubicBezTo>
                <a:cubicBezTo>
                  <a:pt x="31" y="124"/>
                  <a:pt x="26" y="110"/>
                  <a:pt x="26" y="101"/>
                </a:cubicBezTo>
                <a:cubicBezTo>
                  <a:pt x="26" y="101"/>
                  <a:pt x="26" y="64"/>
                  <a:pt x="26" y="63"/>
                </a:cubicBezTo>
                <a:cubicBezTo>
                  <a:pt x="26" y="62"/>
                  <a:pt x="27" y="53"/>
                  <a:pt x="32" y="44"/>
                </a:cubicBezTo>
                <a:cubicBezTo>
                  <a:pt x="38" y="32"/>
                  <a:pt x="47" y="27"/>
                  <a:pt x="61" y="27"/>
                </a:cubicBezTo>
                <a:cubicBezTo>
                  <a:pt x="258" y="27"/>
                  <a:pt x="258" y="27"/>
                  <a:pt x="258" y="27"/>
                </a:cubicBezTo>
                <a:cubicBezTo>
                  <a:pt x="258" y="27"/>
                  <a:pt x="259" y="27"/>
                  <a:pt x="259" y="27"/>
                </a:cubicBezTo>
                <a:cubicBezTo>
                  <a:pt x="259" y="27"/>
                  <a:pt x="273" y="27"/>
                  <a:pt x="282" y="36"/>
                </a:cubicBezTo>
                <a:cubicBezTo>
                  <a:pt x="288" y="41"/>
                  <a:pt x="290" y="50"/>
                  <a:pt x="290" y="61"/>
                </a:cubicBezTo>
                <a:cubicBezTo>
                  <a:pt x="290" y="101"/>
                  <a:pt x="290" y="101"/>
                  <a:pt x="290" y="101"/>
                </a:cubicBezTo>
                <a:cubicBezTo>
                  <a:pt x="290" y="113"/>
                  <a:pt x="289" y="119"/>
                  <a:pt x="283" y="132"/>
                </a:cubicBezTo>
                <a:cubicBezTo>
                  <a:pt x="281" y="137"/>
                  <a:pt x="245" y="200"/>
                  <a:pt x="222" y="242"/>
                </a:cubicBezTo>
                <a:cubicBezTo>
                  <a:pt x="219" y="248"/>
                  <a:pt x="221" y="256"/>
                  <a:pt x="227" y="260"/>
                </a:cubicBezTo>
                <a:cubicBezTo>
                  <a:pt x="234" y="264"/>
                  <a:pt x="242" y="261"/>
                  <a:pt x="246" y="255"/>
                </a:cubicBezTo>
                <a:cubicBezTo>
                  <a:pt x="255" y="237"/>
                  <a:pt x="304" y="150"/>
                  <a:pt x="307" y="143"/>
                </a:cubicBezTo>
                <a:cubicBezTo>
                  <a:pt x="315" y="127"/>
                  <a:pt x="317" y="117"/>
                  <a:pt x="317" y="101"/>
                </a:cubicBezTo>
                <a:cubicBezTo>
                  <a:pt x="317" y="61"/>
                  <a:pt x="317" y="61"/>
                  <a:pt x="317" y="61"/>
                </a:cubicBezTo>
                <a:cubicBezTo>
                  <a:pt x="317" y="42"/>
                  <a:pt x="311" y="27"/>
                  <a:pt x="300" y="16"/>
                </a:cubicBezTo>
                <a:cubicBezTo>
                  <a:pt x="283" y="0"/>
                  <a:pt x="260" y="0"/>
                  <a:pt x="258" y="0"/>
                </a:cubicBezTo>
                <a:cubicBezTo>
                  <a:pt x="258" y="0"/>
                  <a:pt x="258" y="0"/>
                  <a:pt x="258" y="0"/>
                </a:cubicBezTo>
                <a:cubicBezTo>
                  <a:pt x="61" y="0"/>
                  <a:pt x="61" y="0"/>
                  <a:pt x="61" y="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68" name="Freeform 204"/>
          <p:cNvSpPr>
            <a:spLocks noChangeAspect="1"/>
          </p:cNvSpPr>
          <p:nvPr userDrawn="1"/>
        </p:nvSpPr>
        <p:spPr bwMode="auto">
          <a:xfrm>
            <a:off x="5705963" y="2250071"/>
            <a:ext cx="173789" cy="294894"/>
          </a:xfrm>
          <a:custGeom>
            <a:avLst/>
            <a:gdLst/>
            <a:ahLst/>
            <a:cxnLst>
              <a:cxn ang="0">
                <a:pos x="128" y="136"/>
              </a:cxn>
              <a:cxn ang="0">
                <a:pos x="128" y="188"/>
              </a:cxn>
              <a:cxn ang="0">
                <a:pos x="141" y="201"/>
              </a:cxn>
              <a:cxn ang="0">
                <a:pos x="237" y="201"/>
              </a:cxn>
              <a:cxn ang="0">
                <a:pos x="251" y="188"/>
              </a:cxn>
              <a:cxn ang="0">
                <a:pos x="251" y="13"/>
              </a:cxn>
              <a:cxn ang="0">
                <a:pos x="237" y="0"/>
              </a:cxn>
              <a:cxn ang="0">
                <a:pos x="13" y="0"/>
              </a:cxn>
              <a:cxn ang="0">
                <a:pos x="0" y="13"/>
              </a:cxn>
              <a:cxn ang="0">
                <a:pos x="0" y="413"/>
              </a:cxn>
              <a:cxn ang="0">
                <a:pos x="13" y="427"/>
              </a:cxn>
              <a:cxn ang="0">
                <a:pos x="237" y="427"/>
              </a:cxn>
              <a:cxn ang="0">
                <a:pos x="251" y="413"/>
              </a:cxn>
              <a:cxn ang="0">
                <a:pos x="251" y="239"/>
              </a:cxn>
              <a:cxn ang="0">
                <a:pos x="237" y="226"/>
              </a:cxn>
              <a:cxn ang="0">
                <a:pos x="141" y="226"/>
              </a:cxn>
              <a:cxn ang="0">
                <a:pos x="128" y="239"/>
              </a:cxn>
              <a:cxn ang="0">
                <a:pos x="128" y="291"/>
              </a:cxn>
              <a:cxn ang="0">
                <a:pos x="141" y="304"/>
              </a:cxn>
              <a:cxn ang="0">
                <a:pos x="168" y="304"/>
              </a:cxn>
              <a:cxn ang="0">
                <a:pos x="128" y="354"/>
              </a:cxn>
              <a:cxn ang="0">
                <a:pos x="88" y="304"/>
              </a:cxn>
              <a:cxn ang="0">
                <a:pos x="104" y="304"/>
              </a:cxn>
              <a:cxn ang="0">
                <a:pos x="117" y="291"/>
              </a:cxn>
              <a:cxn ang="0">
                <a:pos x="104" y="278"/>
              </a:cxn>
              <a:cxn ang="0">
                <a:pos x="60" y="278"/>
              </a:cxn>
              <a:cxn ang="0">
                <a:pos x="48" y="285"/>
              </a:cxn>
              <a:cxn ang="0">
                <a:pos x="49" y="299"/>
              </a:cxn>
              <a:cxn ang="0">
                <a:pos x="117" y="384"/>
              </a:cxn>
              <a:cxn ang="0">
                <a:pos x="128" y="389"/>
              </a:cxn>
              <a:cxn ang="0">
                <a:pos x="138" y="384"/>
              </a:cxn>
              <a:cxn ang="0">
                <a:pos x="206" y="299"/>
              </a:cxn>
              <a:cxn ang="0">
                <a:pos x="208" y="285"/>
              </a:cxn>
              <a:cxn ang="0">
                <a:pos x="196" y="278"/>
              </a:cxn>
              <a:cxn ang="0">
                <a:pos x="155" y="278"/>
              </a:cxn>
              <a:cxn ang="0">
                <a:pos x="155" y="252"/>
              </a:cxn>
              <a:cxn ang="0">
                <a:pos x="224" y="252"/>
              </a:cxn>
              <a:cxn ang="0">
                <a:pos x="224" y="400"/>
              </a:cxn>
              <a:cxn ang="0">
                <a:pos x="27" y="400"/>
              </a:cxn>
              <a:cxn ang="0">
                <a:pos x="27" y="27"/>
              </a:cxn>
              <a:cxn ang="0">
                <a:pos x="224" y="27"/>
              </a:cxn>
              <a:cxn ang="0">
                <a:pos x="224" y="174"/>
              </a:cxn>
              <a:cxn ang="0">
                <a:pos x="155" y="174"/>
              </a:cxn>
              <a:cxn ang="0">
                <a:pos x="155" y="149"/>
              </a:cxn>
              <a:cxn ang="0">
                <a:pos x="196" y="149"/>
              </a:cxn>
              <a:cxn ang="0">
                <a:pos x="208" y="142"/>
              </a:cxn>
              <a:cxn ang="0">
                <a:pos x="206" y="127"/>
              </a:cxn>
              <a:cxn ang="0">
                <a:pos x="138" y="43"/>
              </a:cxn>
              <a:cxn ang="0">
                <a:pos x="128" y="38"/>
              </a:cxn>
              <a:cxn ang="0">
                <a:pos x="117" y="43"/>
              </a:cxn>
              <a:cxn ang="0">
                <a:pos x="49" y="127"/>
              </a:cxn>
              <a:cxn ang="0">
                <a:pos x="48" y="142"/>
              </a:cxn>
              <a:cxn ang="0">
                <a:pos x="60" y="149"/>
              </a:cxn>
              <a:cxn ang="0">
                <a:pos x="104" y="149"/>
              </a:cxn>
              <a:cxn ang="0">
                <a:pos x="117" y="136"/>
              </a:cxn>
              <a:cxn ang="0">
                <a:pos x="104" y="122"/>
              </a:cxn>
              <a:cxn ang="0">
                <a:pos x="88" y="122"/>
              </a:cxn>
              <a:cxn ang="0">
                <a:pos x="128" y="72"/>
              </a:cxn>
              <a:cxn ang="0">
                <a:pos x="168" y="122"/>
              </a:cxn>
              <a:cxn ang="0">
                <a:pos x="141" y="122"/>
              </a:cxn>
              <a:cxn ang="0">
                <a:pos x="128" y="136"/>
              </a:cxn>
            </a:cxnLst>
            <a:rect l="0" t="0" r="r" b="b"/>
            <a:pathLst>
              <a:path w="251" h="427">
                <a:moveTo>
                  <a:pt x="128" y="136"/>
                </a:moveTo>
                <a:cubicBezTo>
                  <a:pt x="128" y="188"/>
                  <a:pt x="128" y="188"/>
                  <a:pt x="128" y="188"/>
                </a:cubicBezTo>
                <a:cubicBezTo>
                  <a:pt x="128" y="195"/>
                  <a:pt x="134" y="201"/>
                  <a:pt x="141" y="201"/>
                </a:cubicBezTo>
                <a:cubicBezTo>
                  <a:pt x="237" y="201"/>
                  <a:pt x="237" y="201"/>
                  <a:pt x="237" y="201"/>
                </a:cubicBezTo>
                <a:cubicBezTo>
                  <a:pt x="245" y="201"/>
                  <a:pt x="251" y="195"/>
                  <a:pt x="251" y="188"/>
                </a:cubicBezTo>
                <a:cubicBezTo>
                  <a:pt x="251" y="13"/>
                  <a:pt x="251" y="13"/>
                  <a:pt x="251" y="13"/>
                </a:cubicBezTo>
                <a:cubicBezTo>
                  <a:pt x="251" y="6"/>
                  <a:pt x="245" y="0"/>
                  <a:pt x="237" y="0"/>
                </a:cubicBezTo>
                <a:cubicBezTo>
                  <a:pt x="13" y="0"/>
                  <a:pt x="13" y="0"/>
                  <a:pt x="13" y="0"/>
                </a:cubicBezTo>
                <a:cubicBezTo>
                  <a:pt x="6" y="0"/>
                  <a:pt x="0" y="6"/>
                  <a:pt x="0" y="13"/>
                </a:cubicBezTo>
                <a:cubicBezTo>
                  <a:pt x="0" y="413"/>
                  <a:pt x="0" y="413"/>
                  <a:pt x="0" y="413"/>
                </a:cubicBezTo>
                <a:cubicBezTo>
                  <a:pt x="0" y="421"/>
                  <a:pt x="6" y="427"/>
                  <a:pt x="13" y="427"/>
                </a:cubicBezTo>
                <a:cubicBezTo>
                  <a:pt x="237" y="427"/>
                  <a:pt x="237" y="427"/>
                  <a:pt x="237" y="427"/>
                </a:cubicBezTo>
                <a:cubicBezTo>
                  <a:pt x="245" y="427"/>
                  <a:pt x="251" y="421"/>
                  <a:pt x="251" y="413"/>
                </a:cubicBezTo>
                <a:cubicBezTo>
                  <a:pt x="251" y="239"/>
                  <a:pt x="251" y="239"/>
                  <a:pt x="251" y="239"/>
                </a:cubicBezTo>
                <a:cubicBezTo>
                  <a:pt x="251" y="232"/>
                  <a:pt x="245" y="226"/>
                  <a:pt x="237" y="226"/>
                </a:cubicBezTo>
                <a:cubicBezTo>
                  <a:pt x="141" y="226"/>
                  <a:pt x="141" y="226"/>
                  <a:pt x="141" y="226"/>
                </a:cubicBezTo>
                <a:cubicBezTo>
                  <a:pt x="134" y="226"/>
                  <a:pt x="128" y="232"/>
                  <a:pt x="128" y="239"/>
                </a:cubicBezTo>
                <a:cubicBezTo>
                  <a:pt x="128" y="291"/>
                  <a:pt x="128" y="291"/>
                  <a:pt x="128" y="291"/>
                </a:cubicBezTo>
                <a:cubicBezTo>
                  <a:pt x="128" y="298"/>
                  <a:pt x="134" y="304"/>
                  <a:pt x="141" y="304"/>
                </a:cubicBezTo>
                <a:cubicBezTo>
                  <a:pt x="168" y="304"/>
                  <a:pt x="168" y="304"/>
                  <a:pt x="168" y="304"/>
                </a:cubicBezTo>
                <a:cubicBezTo>
                  <a:pt x="128" y="354"/>
                  <a:pt x="128" y="354"/>
                  <a:pt x="128" y="354"/>
                </a:cubicBezTo>
                <a:cubicBezTo>
                  <a:pt x="88" y="304"/>
                  <a:pt x="88" y="304"/>
                  <a:pt x="88" y="304"/>
                </a:cubicBezTo>
                <a:cubicBezTo>
                  <a:pt x="104" y="304"/>
                  <a:pt x="104" y="304"/>
                  <a:pt x="104" y="304"/>
                </a:cubicBezTo>
                <a:cubicBezTo>
                  <a:pt x="111" y="304"/>
                  <a:pt x="117" y="298"/>
                  <a:pt x="117" y="291"/>
                </a:cubicBezTo>
                <a:cubicBezTo>
                  <a:pt x="117" y="283"/>
                  <a:pt x="111" y="278"/>
                  <a:pt x="104" y="278"/>
                </a:cubicBezTo>
                <a:cubicBezTo>
                  <a:pt x="60" y="278"/>
                  <a:pt x="60" y="278"/>
                  <a:pt x="60" y="278"/>
                </a:cubicBezTo>
                <a:cubicBezTo>
                  <a:pt x="55" y="278"/>
                  <a:pt x="50" y="280"/>
                  <a:pt x="48" y="285"/>
                </a:cubicBezTo>
                <a:cubicBezTo>
                  <a:pt x="46" y="290"/>
                  <a:pt x="46" y="295"/>
                  <a:pt x="49" y="299"/>
                </a:cubicBezTo>
                <a:cubicBezTo>
                  <a:pt x="117" y="384"/>
                  <a:pt x="117" y="384"/>
                  <a:pt x="117" y="384"/>
                </a:cubicBezTo>
                <a:cubicBezTo>
                  <a:pt x="120" y="387"/>
                  <a:pt x="124" y="389"/>
                  <a:pt x="128" y="389"/>
                </a:cubicBezTo>
                <a:cubicBezTo>
                  <a:pt x="132" y="389"/>
                  <a:pt x="136" y="387"/>
                  <a:pt x="138" y="384"/>
                </a:cubicBezTo>
                <a:cubicBezTo>
                  <a:pt x="206" y="299"/>
                  <a:pt x="206" y="299"/>
                  <a:pt x="206" y="299"/>
                </a:cubicBezTo>
                <a:cubicBezTo>
                  <a:pt x="209" y="295"/>
                  <a:pt x="210" y="290"/>
                  <a:pt x="208" y="285"/>
                </a:cubicBezTo>
                <a:cubicBezTo>
                  <a:pt x="206" y="280"/>
                  <a:pt x="201" y="278"/>
                  <a:pt x="196" y="278"/>
                </a:cubicBezTo>
                <a:cubicBezTo>
                  <a:pt x="155" y="278"/>
                  <a:pt x="155" y="278"/>
                  <a:pt x="155" y="278"/>
                </a:cubicBezTo>
                <a:cubicBezTo>
                  <a:pt x="155" y="252"/>
                  <a:pt x="155" y="252"/>
                  <a:pt x="155" y="252"/>
                </a:cubicBezTo>
                <a:cubicBezTo>
                  <a:pt x="224" y="252"/>
                  <a:pt x="224" y="252"/>
                  <a:pt x="224" y="252"/>
                </a:cubicBezTo>
                <a:cubicBezTo>
                  <a:pt x="224" y="400"/>
                  <a:pt x="224" y="400"/>
                  <a:pt x="224" y="400"/>
                </a:cubicBezTo>
                <a:cubicBezTo>
                  <a:pt x="27" y="400"/>
                  <a:pt x="27" y="400"/>
                  <a:pt x="27" y="400"/>
                </a:cubicBezTo>
                <a:cubicBezTo>
                  <a:pt x="27" y="27"/>
                  <a:pt x="27" y="27"/>
                  <a:pt x="27" y="27"/>
                </a:cubicBezTo>
                <a:cubicBezTo>
                  <a:pt x="224" y="27"/>
                  <a:pt x="224" y="27"/>
                  <a:pt x="224" y="27"/>
                </a:cubicBezTo>
                <a:cubicBezTo>
                  <a:pt x="224" y="174"/>
                  <a:pt x="224" y="174"/>
                  <a:pt x="224" y="174"/>
                </a:cubicBezTo>
                <a:cubicBezTo>
                  <a:pt x="155" y="174"/>
                  <a:pt x="155" y="174"/>
                  <a:pt x="155" y="174"/>
                </a:cubicBezTo>
                <a:cubicBezTo>
                  <a:pt x="155" y="149"/>
                  <a:pt x="155" y="149"/>
                  <a:pt x="155" y="149"/>
                </a:cubicBezTo>
                <a:cubicBezTo>
                  <a:pt x="196" y="149"/>
                  <a:pt x="196" y="149"/>
                  <a:pt x="196" y="149"/>
                </a:cubicBezTo>
                <a:cubicBezTo>
                  <a:pt x="201" y="149"/>
                  <a:pt x="206" y="146"/>
                  <a:pt x="208" y="142"/>
                </a:cubicBezTo>
                <a:cubicBezTo>
                  <a:pt x="210" y="137"/>
                  <a:pt x="209" y="131"/>
                  <a:pt x="206" y="127"/>
                </a:cubicBezTo>
                <a:cubicBezTo>
                  <a:pt x="138" y="43"/>
                  <a:pt x="138" y="43"/>
                  <a:pt x="138" y="43"/>
                </a:cubicBezTo>
                <a:cubicBezTo>
                  <a:pt x="136" y="39"/>
                  <a:pt x="132" y="38"/>
                  <a:pt x="128" y="38"/>
                </a:cubicBezTo>
                <a:cubicBezTo>
                  <a:pt x="124" y="38"/>
                  <a:pt x="120" y="39"/>
                  <a:pt x="117" y="43"/>
                </a:cubicBezTo>
                <a:cubicBezTo>
                  <a:pt x="49" y="127"/>
                  <a:pt x="49" y="127"/>
                  <a:pt x="49" y="127"/>
                </a:cubicBezTo>
                <a:cubicBezTo>
                  <a:pt x="46" y="131"/>
                  <a:pt x="46" y="137"/>
                  <a:pt x="48" y="142"/>
                </a:cubicBezTo>
                <a:cubicBezTo>
                  <a:pt x="50" y="146"/>
                  <a:pt x="55" y="149"/>
                  <a:pt x="60" y="149"/>
                </a:cubicBezTo>
                <a:cubicBezTo>
                  <a:pt x="104" y="149"/>
                  <a:pt x="104" y="149"/>
                  <a:pt x="104" y="149"/>
                </a:cubicBezTo>
                <a:cubicBezTo>
                  <a:pt x="111" y="149"/>
                  <a:pt x="117" y="143"/>
                  <a:pt x="117" y="136"/>
                </a:cubicBezTo>
                <a:cubicBezTo>
                  <a:pt x="117" y="128"/>
                  <a:pt x="111" y="122"/>
                  <a:pt x="104" y="122"/>
                </a:cubicBezTo>
                <a:cubicBezTo>
                  <a:pt x="88" y="122"/>
                  <a:pt x="88" y="122"/>
                  <a:pt x="88" y="122"/>
                </a:cubicBezTo>
                <a:cubicBezTo>
                  <a:pt x="128" y="72"/>
                  <a:pt x="128" y="72"/>
                  <a:pt x="128" y="72"/>
                </a:cubicBezTo>
                <a:cubicBezTo>
                  <a:pt x="168" y="122"/>
                  <a:pt x="168" y="122"/>
                  <a:pt x="168" y="122"/>
                </a:cubicBezTo>
                <a:cubicBezTo>
                  <a:pt x="141" y="122"/>
                  <a:pt x="141" y="122"/>
                  <a:pt x="141" y="122"/>
                </a:cubicBezTo>
                <a:cubicBezTo>
                  <a:pt x="134" y="122"/>
                  <a:pt x="128" y="128"/>
                  <a:pt x="128" y="13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69" name="Freeform 212"/>
          <p:cNvSpPr>
            <a:spLocks noChangeAspect="1"/>
          </p:cNvSpPr>
          <p:nvPr userDrawn="1"/>
        </p:nvSpPr>
        <p:spPr bwMode="auto">
          <a:xfrm>
            <a:off x="6433820" y="2878689"/>
            <a:ext cx="151150" cy="303271"/>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70" name="Freeform 228"/>
          <p:cNvSpPr>
            <a:spLocks noChangeAspect="1"/>
          </p:cNvSpPr>
          <p:nvPr userDrawn="1"/>
        </p:nvSpPr>
        <p:spPr bwMode="auto">
          <a:xfrm>
            <a:off x="7097841" y="2250071"/>
            <a:ext cx="278812" cy="294894"/>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71" name="Freeform 208"/>
          <p:cNvSpPr>
            <a:spLocks noChangeAspect="1"/>
          </p:cNvSpPr>
          <p:nvPr userDrawn="1"/>
        </p:nvSpPr>
        <p:spPr bwMode="auto">
          <a:xfrm>
            <a:off x="6432457" y="2206117"/>
            <a:ext cx="190781" cy="338848"/>
          </a:xfrm>
          <a:custGeom>
            <a:avLst/>
            <a:gdLst/>
            <a:ahLst/>
            <a:cxnLst>
              <a:cxn ang="0">
                <a:pos x="0" y="128"/>
              </a:cxn>
              <a:cxn ang="0">
                <a:pos x="23" y="202"/>
              </a:cxn>
              <a:cxn ang="0">
                <a:pos x="24" y="202"/>
              </a:cxn>
              <a:cxn ang="0">
                <a:pos x="32" y="212"/>
              </a:cxn>
              <a:cxn ang="0">
                <a:pos x="32" y="213"/>
              </a:cxn>
              <a:cxn ang="0">
                <a:pos x="62" y="284"/>
              </a:cxn>
              <a:cxn ang="0">
                <a:pos x="77" y="296"/>
              </a:cxn>
              <a:cxn ang="0">
                <a:pos x="89" y="283"/>
              </a:cxn>
              <a:cxn ang="0">
                <a:pos x="89" y="281"/>
              </a:cxn>
              <a:cxn ang="0">
                <a:pos x="51" y="194"/>
              </a:cxn>
              <a:cxn ang="0">
                <a:pos x="45" y="186"/>
              </a:cxn>
              <a:cxn ang="0">
                <a:pos x="27" y="128"/>
              </a:cxn>
              <a:cxn ang="0">
                <a:pos x="128" y="27"/>
              </a:cxn>
              <a:cxn ang="0">
                <a:pos x="230" y="128"/>
              </a:cxn>
              <a:cxn ang="0">
                <a:pos x="207" y="192"/>
              </a:cxn>
              <a:cxn ang="0">
                <a:pos x="201" y="199"/>
              </a:cxn>
              <a:cxn ang="0">
                <a:pos x="169" y="275"/>
              </a:cxn>
              <a:cxn ang="0">
                <a:pos x="170" y="285"/>
              </a:cxn>
              <a:cxn ang="0">
                <a:pos x="170" y="297"/>
              </a:cxn>
              <a:cxn ang="0">
                <a:pos x="170" y="301"/>
              </a:cxn>
              <a:cxn ang="0">
                <a:pos x="166" y="301"/>
              </a:cxn>
              <a:cxn ang="0">
                <a:pos x="165" y="301"/>
              </a:cxn>
              <a:cxn ang="0">
                <a:pos x="155" y="301"/>
              </a:cxn>
              <a:cxn ang="0">
                <a:pos x="98" y="301"/>
              </a:cxn>
              <a:cxn ang="0">
                <a:pos x="69" y="310"/>
              </a:cxn>
              <a:cxn ang="0">
                <a:pos x="59" y="333"/>
              </a:cxn>
              <a:cxn ang="0">
                <a:pos x="94" y="367"/>
              </a:cxn>
              <a:cxn ang="0">
                <a:pos x="159" y="367"/>
              </a:cxn>
              <a:cxn ang="0">
                <a:pos x="170" y="370"/>
              </a:cxn>
              <a:cxn ang="0">
                <a:pos x="171" y="373"/>
              </a:cxn>
              <a:cxn ang="0">
                <a:pos x="162" y="380"/>
              </a:cxn>
              <a:cxn ang="0">
                <a:pos x="121" y="379"/>
              </a:cxn>
              <a:cxn ang="0">
                <a:pos x="66" y="400"/>
              </a:cxn>
              <a:cxn ang="0">
                <a:pos x="80" y="438"/>
              </a:cxn>
              <a:cxn ang="0">
                <a:pos x="133" y="449"/>
              </a:cxn>
              <a:cxn ang="0">
                <a:pos x="144" y="434"/>
              </a:cxn>
              <a:cxn ang="0">
                <a:pos x="128" y="423"/>
              </a:cxn>
              <a:cxn ang="0">
                <a:pos x="99" y="418"/>
              </a:cxn>
              <a:cxn ang="0">
                <a:pos x="93" y="408"/>
              </a:cxn>
              <a:cxn ang="0">
                <a:pos x="161" y="406"/>
              </a:cxn>
              <a:cxn ang="0">
                <a:pos x="162" y="406"/>
              </a:cxn>
              <a:cxn ang="0">
                <a:pos x="162" y="406"/>
              </a:cxn>
              <a:cxn ang="0">
                <a:pos x="198" y="373"/>
              </a:cxn>
              <a:cxn ang="0">
                <a:pos x="187" y="349"/>
              </a:cxn>
              <a:cxn ang="0">
                <a:pos x="159" y="340"/>
              </a:cxn>
              <a:cxn ang="0">
                <a:pos x="94" y="340"/>
              </a:cxn>
              <a:cxn ang="0">
                <a:pos x="85" y="333"/>
              </a:cxn>
              <a:cxn ang="0">
                <a:pos x="87" y="330"/>
              </a:cxn>
              <a:cxn ang="0">
                <a:pos x="98" y="328"/>
              </a:cxn>
              <a:cxn ang="0">
                <a:pos x="155" y="327"/>
              </a:cxn>
              <a:cxn ang="0">
                <a:pos x="162" y="327"/>
              </a:cxn>
              <a:cxn ang="0">
                <a:pos x="164" y="328"/>
              </a:cxn>
              <a:cxn ang="0">
                <a:pos x="189" y="322"/>
              </a:cxn>
              <a:cxn ang="0">
                <a:pos x="196" y="283"/>
              </a:cxn>
              <a:cxn ang="0">
                <a:pos x="222" y="216"/>
              </a:cxn>
              <a:cxn ang="0">
                <a:pos x="228" y="209"/>
              </a:cxn>
              <a:cxn ang="0">
                <a:pos x="256" y="128"/>
              </a:cxn>
              <a:cxn ang="0">
                <a:pos x="128" y="0"/>
              </a:cxn>
              <a:cxn ang="0">
                <a:pos x="0" y="128"/>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72" name="Freeform 152"/>
          <p:cNvSpPr>
            <a:spLocks noChangeAspect="1"/>
          </p:cNvSpPr>
          <p:nvPr userDrawn="1"/>
        </p:nvSpPr>
        <p:spPr bwMode="auto">
          <a:xfrm>
            <a:off x="5605359" y="3542302"/>
            <a:ext cx="440127" cy="263478"/>
          </a:xfrm>
          <a:custGeom>
            <a:avLst/>
            <a:gdLst/>
            <a:ahLst/>
            <a:cxnLst>
              <a:cxn ang="0">
                <a:pos x="230" y="1"/>
              </a:cxn>
              <a:cxn ang="0">
                <a:pos x="218" y="11"/>
              </a:cxn>
              <a:cxn ang="0">
                <a:pos x="169" y="208"/>
              </a:cxn>
              <a:cxn ang="0">
                <a:pos x="118" y="25"/>
              </a:cxn>
              <a:cxn ang="0">
                <a:pos x="105" y="15"/>
              </a:cxn>
              <a:cxn ang="0">
                <a:pos x="92" y="26"/>
              </a:cxn>
              <a:cxn ang="0">
                <a:pos x="65" y="188"/>
              </a:cxn>
              <a:cxn ang="0">
                <a:pos x="60" y="178"/>
              </a:cxn>
              <a:cxn ang="0">
                <a:pos x="11" y="116"/>
              </a:cxn>
              <a:cxn ang="0">
                <a:pos x="0" y="129"/>
              </a:cxn>
              <a:cxn ang="0">
                <a:pos x="1" y="132"/>
              </a:cxn>
              <a:cxn ang="0">
                <a:pos x="11" y="142"/>
              </a:cxn>
              <a:cxn ang="0">
                <a:pos x="57" y="244"/>
              </a:cxn>
              <a:cxn ang="0">
                <a:pos x="70" y="253"/>
              </a:cxn>
              <a:cxn ang="0">
                <a:pos x="83" y="242"/>
              </a:cxn>
              <a:cxn ang="0">
                <a:pos x="108" y="90"/>
              </a:cxn>
              <a:cxn ang="0">
                <a:pos x="124" y="147"/>
              </a:cxn>
              <a:cxn ang="0">
                <a:pos x="146" y="226"/>
              </a:cxn>
              <a:cxn ang="0">
                <a:pos x="154" y="252"/>
              </a:cxn>
              <a:cxn ang="0">
                <a:pos x="156" y="260"/>
              </a:cxn>
              <a:cxn ang="0">
                <a:pos x="170" y="272"/>
              </a:cxn>
              <a:cxn ang="0">
                <a:pos x="183" y="262"/>
              </a:cxn>
              <a:cxn ang="0">
                <a:pos x="234" y="58"/>
              </a:cxn>
              <a:cxn ang="0">
                <a:pos x="265" y="139"/>
              </a:cxn>
              <a:cxn ang="0">
                <a:pos x="277" y="147"/>
              </a:cxn>
              <a:cxn ang="0">
                <a:pos x="441" y="147"/>
              </a:cxn>
              <a:cxn ang="0">
                <a:pos x="454" y="134"/>
              </a:cxn>
              <a:cxn ang="0">
                <a:pos x="441" y="121"/>
              </a:cxn>
              <a:cxn ang="0">
                <a:pos x="286" y="121"/>
              </a:cxn>
              <a:cxn ang="0">
                <a:pos x="244" y="9"/>
              </a:cxn>
              <a:cxn ang="0">
                <a:pos x="230" y="1"/>
              </a:cxn>
            </a:cxnLst>
            <a:rect l="0" t="0" r="r" b="b"/>
            <a:pathLst>
              <a:path w="454" h="272">
                <a:moveTo>
                  <a:pt x="230" y="1"/>
                </a:moveTo>
                <a:cubicBezTo>
                  <a:pt x="224" y="1"/>
                  <a:pt x="220" y="5"/>
                  <a:pt x="218" y="11"/>
                </a:cubicBezTo>
                <a:cubicBezTo>
                  <a:pt x="218" y="11"/>
                  <a:pt x="184" y="146"/>
                  <a:pt x="169" y="208"/>
                </a:cubicBezTo>
                <a:cubicBezTo>
                  <a:pt x="155" y="159"/>
                  <a:pt x="134" y="82"/>
                  <a:pt x="118" y="25"/>
                </a:cubicBezTo>
                <a:cubicBezTo>
                  <a:pt x="116" y="18"/>
                  <a:pt x="111" y="14"/>
                  <a:pt x="105" y="15"/>
                </a:cubicBezTo>
                <a:cubicBezTo>
                  <a:pt x="98" y="15"/>
                  <a:pt x="93" y="20"/>
                  <a:pt x="92" y="26"/>
                </a:cubicBezTo>
                <a:cubicBezTo>
                  <a:pt x="92" y="26"/>
                  <a:pt x="74" y="131"/>
                  <a:pt x="65" y="188"/>
                </a:cubicBezTo>
                <a:cubicBezTo>
                  <a:pt x="63" y="185"/>
                  <a:pt x="62" y="181"/>
                  <a:pt x="60" y="178"/>
                </a:cubicBezTo>
                <a:cubicBezTo>
                  <a:pt x="40" y="129"/>
                  <a:pt x="27" y="113"/>
                  <a:pt x="11" y="116"/>
                </a:cubicBezTo>
                <a:cubicBezTo>
                  <a:pt x="5" y="117"/>
                  <a:pt x="0" y="123"/>
                  <a:pt x="0" y="129"/>
                </a:cubicBezTo>
                <a:cubicBezTo>
                  <a:pt x="0" y="130"/>
                  <a:pt x="0" y="131"/>
                  <a:pt x="1" y="132"/>
                </a:cubicBezTo>
                <a:cubicBezTo>
                  <a:pt x="2" y="137"/>
                  <a:pt x="6" y="141"/>
                  <a:pt x="11" y="142"/>
                </a:cubicBezTo>
                <a:cubicBezTo>
                  <a:pt x="20" y="151"/>
                  <a:pt x="40" y="196"/>
                  <a:pt x="57" y="244"/>
                </a:cubicBezTo>
                <a:cubicBezTo>
                  <a:pt x="59" y="250"/>
                  <a:pt x="64" y="253"/>
                  <a:pt x="70" y="253"/>
                </a:cubicBezTo>
                <a:cubicBezTo>
                  <a:pt x="77" y="252"/>
                  <a:pt x="82" y="248"/>
                  <a:pt x="83" y="242"/>
                </a:cubicBezTo>
                <a:cubicBezTo>
                  <a:pt x="83" y="242"/>
                  <a:pt x="98" y="151"/>
                  <a:pt x="108" y="90"/>
                </a:cubicBezTo>
                <a:cubicBezTo>
                  <a:pt x="116" y="118"/>
                  <a:pt x="124" y="147"/>
                  <a:pt x="124" y="147"/>
                </a:cubicBezTo>
                <a:cubicBezTo>
                  <a:pt x="146" y="226"/>
                  <a:pt x="146" y="226"/>
                  <a:pt x="146" y="226"/>
                </a:cubicBezTo>
                <a:cubicBezTo>
                  <a:pt x="154" y="252"/>
                  <a:pt x="154" y="252"/>
                  <a:pt x="154" y="252"/>
                </a:cubicBezTo>
                <a:cubicBezTo>
                  <a:pt x="156" y="260"/>
                  <a:pt x="156" y="260"/>
                  <a:pt x="156" y="260"/>
                </a:cubicBezTo>
                <a:cubicBezTo>
                  <a:pt x="157" y="263"/>
                  <a:pt x="160" y="272"/>
                  <a:pt x="170" y="272"/>
                </a:cubicBezTo>
                <a:cubicBezTo>
                  <a:pt x="176" y="272"/>
                  <a:pt x="181" y="268"/>
                  <a:pt x="183" y="262"/>
                </a:cubicBezTo>
                <a:cubicBezTo>
                  <a:pt x="183" y="262"/>
                  <a:pt x="219" y="115"/>
                  <a:pt x="234" y="58"/>
                </a:cubicBezTo>
                <a:cubicBezTo>
                  <a:pt x="247" y="94"/>
                  <a:pt x="265" y="139"/>
                  <a:pt x="265" y="139"/>
                </a:cubicBezTo>
                <a:cubicBezTo>
                  <a:pt x="267" y="144"/>
                  <a:pt x="272" y="147"/>
                  <a:pt x="277" y="147"/>
                </a:cubicBezTo>
                <a:cubicBezTo>
                  <a:pt x="441" y="147"/>
                  <a:pt x="441" y="147"/>
                  <a:pt x="441" y="147"/>
                </a:cubicBezTo>
                <a:cubicBezTo>
                  <a:pt x="448" y="147"/>
                  <a:pt x="454" y="141"/>
                  <a:pt x="454" y="134"/>
                </a:cubicBezTo>
                <a:cubicBezTo>
                  <a:pt x="454" y="127"/>
                  <a:pt x="448" y="121"/>
                  <a:pt x="441" y="121"/>
                </a:cubicBezTo>
                <a:cubicBezTo>
                  <a:pt x="441" y="121"/>
                  <a:pt x="303" y="121"/>
                  <a:pt x="286" y="121"/>
                </a:cubicBezTo>
                <a:cubicBezTo>
                  <a:pt x="281" y="106"/>
                  <a:pt x="244" y="9"/>
                  <a:pt x="244" y="9"/>
                </a:cubicBezTo>
                <a:cubicBezTo>
                  <a:pt x="241" y="4"/>
                  <a:pt x="236" y="0"/>
                  <a:pt x="230" y="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73" name="Freeform 176"/>
          <p:cNvSpPr>
            <a:spLocks noChangeAspect="1"/>
          </p:cNvSpPr>
          <p:nvPr userDrawn="1"/>
        </p:nvSpPr>
        <p:spPr bwMode="auto">
          <a:xfrm>
            <a:off x="8512025" y="1646520"/>
            <a:ext cx="288034" cy="294894"/>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74" name="Freeform 140"/>
          <p:cNvSpPr>
            <a:spLocks noChangeAspect="1"/>
          </p:cNvSpPr>
          <p:nvPr userDrawn="1"/>
        </p:nvSpPr>
        <p:spPr bwMode="auto">
          <a:xfrm>
            <a:off x="7764798" y="2887066"/>
            <a:ext cx="294972" cy="294894"/>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75" name="Freeform 172"/>
          <p:cNvSpPr>
            <a:spLocks noChangeAspect="1"/>
          </p:cNvSpPr>
          <p:nvPr userDrawn="1"/>
        </p:nvSpPr>
        <p:spPr bwMode="auto">
          <a:xfrm>
            <a:off x="8507466" y="2877541"/>
            <a:ext cx="296751" cy="294894"/>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76" name="Freeform 48"/>
          <p:cNvSpPr>
            <a:spLocks noChangeAspect="1"/>
          </p:cNvSpPr>
          <p:nvPr userDrawn="1"/>
        </p:nvSpPr>
        <p:spPr bwMode="auto">
          <a:xfrm>
            <a:off x="2568930" y="889164"/>
            <a:ext cx="207777" cy="294894"/>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77" name="TextBox 276"/>
          <p:cNvSpPr txBox="1"/>
          <p:nvPr userDrawn="1"/>
        </p:nvSpPr>
        <p:spPr>
          <a:xfrm>
            <a:off x="2358092" y="1251884"/>
            <a:ext cx="607700"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Energy &amp;</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infrastructure</a:t>
            </a:r>
          </a:p>
        </p:txBody>
      </p:sp>
      <p:sp>
        <p:nvSpPr>
          <p:cNvPr id="278" name="Freeform 52"/>
          <p:cNvSpPr>
            <a:spLocks noChangeAspect="1"/>
          </p:cNvSpPr>
          <p:nvPr userDrawn="1"/>
        </p:nvSpPr>
        <p:spPr bwMode="auto">
          <a:xfrm>
            <a:off x="3228732" y="889164"/>
            <a:ext cx="285516" cy="294894"/>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279" name="TextBox 278"/>
          <p:cNvSpPr txBox="1"/>
          <p:nvPr userDrawn="1"/>
        </p:nvSpPr>
        <p:spPr>
          <a:xfrm>
            <a:off x="3148518" y="1251884"/>
            <a:ext cx="442785" cy="92333"/>
          </a:xfrm>
          <a:prstGeom prst="rect">
            <a:avLst/>
          </a:prstGeom>
          <a:noFill/>
        </p:spPr>
        <p:txBody>
          <a:bodyPr wrap="square" lIns="0" tIns="0" rIns="0" bIns="0" rtlCol="0" anchor="t" anchorCtr="0">
            <a:spAutoFit/>
          </a:bodyPr>
          <a:lstStyle/>
          <a:p>
            <a:pPr algn="ctr"/>
            <a:r>
              <a:rPr lang="en-US" sz="600" b="1" dirty="0">
                <a:solidFill>
                  <a:srgbClr val="626469"/>
                </a:solidFill>
                <a:latin typeface="Arial" pitchFamily="34" charset="0"/>
                <a:cs typeface="Arial" pitchFamily="34" charset="0"/>
              </a:rPr>
              <a:t>Industry</a:t>
            </a:r>
          </a:p>
        </p:txBody>
      </p:sp>
      <p:sp>
        <p:nvSpPr>
          <p:cNvPr id="280" name="Freeform 68"/>
          <p:cNvSpPr>
            <a:spLocks noChangeAspect="1"/>
          </p:cNvSpPr>
          <p:nvPr userDrawn="1"/>
        </p:nvSpPr>
        <p:spPr bwMode="auto">
          <a:xfrm>
            <a:off x="1079030" y="889164"/>
            <a:ext cx="336552" cy="294894"/>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281" name="TextBox 280"/>
          <p:cNvSpPr txBox="1"/>
          <p:nvPr userDrawn="1"/>
        </p:nvSpPr>
        <p:spPr>
          <a:xfrm>
            <a:off x="1006989" y="1251884"/>
            <a:ext cx="489685" cy="92333"/>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Buildings</a:t>
            </a:r>
          </a:p>
        </p:txBody>
      </p:sp>
      <p:sp>
        <p:nvSpPr>
          <p:cNvPr id="282" name="Freeform 60"/>
          <p:cNvSpPr>
            <a:spLocks noChangeAspect="1"/>
          </p:cNvSpPr>
          <p:nvPr userDrawn="1"/>
        </p:nvSpPr>
        <p:spPr bwMode="auto">
          <a:xfrm>
            <a:off x="1738465" y="916548"/>
            <a:ext cx="370578" cy="265115"/>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283" name="TextBox 282"/>
          <p:cNvSpPr txBox="1"/>
          <p:nvPr userDrawn="1"/>
        </p:nvSpPr>
        <p:spPr>
          <a:xfrm>
            <a:off x="1715223" y="1251884"/>
            <a:ext cx="485836"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Data centres </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amp; networks</a:t>
            </a:r>
          </a:p>
        </p:txBody>
      </p:sp>
      <p:sp>
        <p:nvSpPr>
          <p:cNvPr id="284" name="Freeform 64"/>
          <p:cNvSpPr>
            <a:spLocks noChangeAspect="1"/>
          </p:cNvSpPr>
          <p:nvPr userDrawn="1"/>
        </p:nvSpPr>
        <p:spPr bwMode="auto">
          <a:xfrm>
            <a:off x="3944734" y="889164"/>
            <a:ext cx="269267" cy="294894"/>
          </a:xfrm>
          <a:custGeom>
            <a:avLst/>
            <a:gdLst/>
            <a:ahLst/>
            <a:cxnLst>
              <a:cxn ang="0">
                <a:pos x="146" y="5"/>
              </a:cxn>
              <a:cxn ang="0">
                <a:pos x="6" y="132"/>
              </a:cxn>
              <a:cxn ang="0">
                <a:pos x="5" y="151"/>
              </a:cxn>
              <a:cxn ang="0">
                <a:pos x="23" y="152"/>
              </a:cxn>
              <a:cxn ang="0">
                <a:pos x="155" y="33"/>
              </a:cxn>
              <a:cxn ang="0">
                <a:pos x="283" y="149"/>
              </a:cxn>
              <a:cxn ang="0">
                <a:pos x="283" y="313"/>
              </a:cxn>
              <a:cxn ang="0">
                <a:pos x="45" y="313"/>
              </a:cxn>
              <a:cxn ang="0">
                <a:pos x="45" y="228"/>
              </a:cxn>
              <a:cxn ang="0">
                <a:pos x="56" y="202"/>
              </a:cxn>
              <a:cxn ang="0">
                <a:pos x="100" y="187"/>
              </a:cxn>
              <a:cxn ang="0">
                <a:pos x="152" y="229"/>
              </a:cxn>
              <a:cxn ang="0">
                <a:pos x="152" y="272"/>
              </a:cxn>
              <a:cxn ang="0">
                <a:pos x="165" y="285"/>
              </a:cxn>
              <a:cxn ang="0">
                <a:pos x="178" y="272"/>
              </a:cxn>
              <a:cxn ang="0">
                <a:pos x="178" y="229"/>
              </a:cxn>
              <a:cxn ang="0">
                <a:pos x="159" y="182"/>
              </a:cxn>
              <a:cxn ang="0">
                <a:pos x="100" y="161"/>
              </a:cxn>
              <a:cxn ang="0">
                <a:pos x="36" y="184"/>
              </a:cxn>
              <a:cxn ang="0">
                <a:pos x="18" y="229"/>
              </a:cxn>
              <a:cxn ang="0">
                <a:pos x="18" y="229"/>
              </a:cxn>
              <a:cxn ang="0">
                <a:pos x="18" y="326"/>
              </a:cxn>
              <a:cxn ang="0">
                <a:pos x="22" y="335"/>
              </a:cxn>
              <a:cxn ang="0">
                <a:pos x="32" y="339"/>
              </a:cxn>
              <a:cxn ang="0">
                <a:pos x="296" y="339"/>
              </a:cxn>
              <a:cxn ang="0">
                <a:pos x="309" y="326"/>
              </a:cxn>
              <a:cxn ang="0">
                <a:pos x="309" y="143"/>
              </a:cxn>
              <a:cxn ang="0">
                <a:pos x="305" y="133"/>
              </a:cxn>
              <a:cxn ang="0">
                <a:pos x="164" y="5"/>
              </a:cxn>
              <a:cxn ang="0">
                <a:pos x="146" y="5"/>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285" name="TextBox 284"/>
          <p:cNvSpPr txBox="1"/>
          <p:nvPr userDrawn="1"/>
        </p:nvSpPr>
        <p:spPr>
          <a:xfrm>
            <a:off x="3869605" y="1251884"/>
            <a:ext cx="412481" cy="92333"/>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Residential</a:t>
            </a:r>
          </a:p>
        </p:txBody>
      </p:sp>
      <p:sp>
        <p:nvSpPr>
          <p:cNvPr id="286" name="Freeform 148"/>
          <p:cNvSpPr>
            <a:spLocks noChangeAspect="1"/>
          </p:cNvSpPr>
          <p:nvPr userDrawn="1"/>
        </p:nvSpPr>
        <p:spPr bwMode="auto">
          <a:xfrm>
            <a:off x="7076024" y="945634"/>
            <a:ext cx="335219" cy="255080"/>
          </a:xfrm>
          <a:custGeom>
            <a:avLst/>
            <a:gdLst/>
            <a:ahLst/>
            <a:cxnLst>
              <a:cxn ang="0">
                <a:pos x="84" y="0"/>
              </a:cxn>
              <a:cxn ang="0">
                <a:pos x="0" y="91"/>
              </a:cxn>
              <a:cxn ang="0">
                <a:pos x="12" y="103"/>
              </a:cxn>
              <a:cxn ang="0">
                <a:pos x="36" y="127"/>
              </a:cxn>
              <a:cxn ang="0">
                <a:pos x="12" y="151"/>
              </a:cxn>
              <a:cxn ang="0">
                <a:pos x="0" y="163"/>
              </a:cxn>
              <a:cxn ang="0">
                <a:pos x="84" y="255"/>
              </a:cxn>
              <a:cxn ang="0">
                <a:pos x="180" y="255"/>
              </a:cxn>
              <a:cxn ang="0">
                <a:pos x="192" y="243"/>
              </a:cxn>
              <a:cxn ang="0">
                <a:pos x="192" y="209"/>
              </a:cxn>
              <a:cxn ang="0">
                <a:pos x="300" y="209"/>
              </a:cxn>
              <a:cxn ang="0">
                <a:pos x="301" y="209"/>
              </a:cxn>
              <a:cxn ang="0">
                <a:pos x="335" y="175"/>
              </a:cxn>
              <a:cxn ang="0">
                <a:pos x="302" y="142"/>
              </a:cxn>
              <a:cxn ang="0">
                <a:pos x="300" y="142"/>
              </a:cxn>
              <a:cxn ang="0">
                <a:pos x="184" y="142"/>
              </a:cxn>
              <a:cxn ang="0">
                <a:pos x="172" y="154"/>
              </a:cxn>
              <a:cxn ang="0">
                <a:pos x="184" y="166"/>
              </a:cxn>
              <a:cxn ang="0">
                <a:pos x="300" y="166"/>
              </a:cxn>
              <a:cxn ang="0">
                <a:pos x="301" y="166"/>
              </a:cxn>
              <a:cxn ang="0">
                <a:pos x="311" y="175"/>
              </a:cxn>
              <a:cxn ang="0">
                <a:pos x="302" y="184"/>
              </a:cxn>
              <a:cxn ang="0">
                <a:pos x="300" y="184"/>
              </a:cxn>
              <a:cxn ang="0">
                <a:pos x="180" y="184"/>
              </a:cxn>
              <a:cxn ang="0">
                <a:pos x="167" y="196"/>
              </a:cxn>
              <a:cxn ang="0">
                <a:pos x="167" y="230"/>
              </a:cxn>
              <a:cxn ang="0">
                <a:pos x="84" y="230"/>
              </a:cxn>
              <a:cxn ang="0">
                <a:pos x="25" y="174"/>
              </a:cxn>
              <a:cxn ang="0">
                <a:pos x="60" y="127"/>
              </a:cxn>
              <a:cxn ang="0">
                <a:pos x="25" y="81"/>
              </a:cxn>
              <a:cxn ang="0">
                <a:pos x="84" y="24"/>
              </a:cxn>
              <a:cxn ang="0">
                <a:pos x="167" y="24"/>
              </a:cxn>
              <a:cxn ang="0">
                <a:pos x="167" y="58"/>
              </a:cxn>
              <a:cxn ang="0">
                <a:pos x="180" y="71"/>
              </a:cxn>
              <a:cxn ang="0">
                <a:pos x="300" y="71"/>
              </a:cxn>
              <a:cxn ang="0">
                <a:pos x="302" y="71"/>
              </a:cxn>
              <a:cxn ang="0">
                <a:pos x="311" y="79"/>
              </a:cxn>
              <a:cxn ang="0">
                <a:pos x="302" y="88"/>
              </a:cxn>
              <a:cxn ang="0">
                <a:pos x="300" y="88"/>
              </a:cxn>
              <a:cxn ang="0">
                <a:pos x="184" y="88"/>
              </a:cxn>
              <a:cxn ang="0">
                <a:pos x="172" y="101"/>
              </a:cxn>
              <a:cxn ang="0">
                <a:pos x="184" y="113"/>
              </a:cxn>
              <a:cxn ang="0">
                <a:pos x="300" y="113"/>
              </a:cxn>
              <a:cxn ang="0">
                <a:pos x="302" y="113"/>
              </a:cxn>
              <a:cxn ang="0">
                <a:pos x="335" y="79"/>
              </a:cxn>
              <a:cxn ang="0">
                <a:pos x="302" y="46"/>
              </a:cxn>
              <a:cxn ang="0">
                <a:pos x="300" y="46"/>
              </a:cxn>
              <a:cxn ang="0">
                <a:pos x="192" y="46"/>
              </a:cxn>
              <a:cxn ang="0">
                <a:pos x="192" y="12"/>
              </a:cxn>
              <a:cxn ang="0">
                <a:pos x="180" y="0"/>
              </a:cxn>
              <a:cxn ang="0">
                <a:pos x="84" y="0"/>
              </a:cxn>
            </a:cxnLst>
            <a:rect l="0" t="0" r="r" b="b"/>
            <a:pathLst>
              <a:path w="335" h="255">
                <a:moveTo>
                  <a:pt x="84" y="0"/>
                </a:moveTo>
                <a:cubicBezTo>
                  <a:pt x="31" y="0"/>
                  <a:pt x="0" y="34"/>
                  <a:pt x="0" y="91"/>
                </a:cubicBezTo>
                <a:cubicBezTo>
                  <a:pt x="0" y="98"/>
                  <a:pt x="5" y="103"/>
                  <a:pt x="12" y="103"/>
                </a:cubicBezTo>
                <a:cubicBezTo>
                  <a:pt x="25" y="103"/>
                  <a:pt x="36" y="114"/>
                  <a:pt x="36" y="127"/>
                </a:cubicBezTo>
                <a:cubicBezTo>
                  <a:pt x="36" y="140"/>
                  <a:pt x="25" y="151"/>
                  <a:pt x="12" y="151"/>
                </a:cubicBezTo>
                <a:cubicBezTo>
                  <a:pt x="5" y="151"/>
                  <a:pt x="0" y="157"/>
                  <a:pt x="0" y="163"/>
                </a:cubicBezTo>
                <a:cubicBezTo>
                  <a:pt x="0" y="221"/>
                  <a:pt x="31" y="255"/>
                  <a:pt x="84" y="255"/>
                </a:cubicBezTo>
                <a:cubicBezTo>
                  <a:pt x="180" y="255"/>
                  <a:pt x="180" y="255"/>
                  <a:pt x="180" y="255"/>
                </a:cubicBezTo>
                <a:cubicBezTo>
                  <a:pt x="186" y="255"/>
                  <a:pt x="192" y="249"/>
                  <a:pt x="192" y="243"/>
                </a:cubicBezTo>
                <a:cubicBezTo>
                  <a:pt x="192" y="243"/>
                  <a:pt x="192" y="222"/>
                  <a:pt x="192" y="209"/>
                </a:cubicBezTo>
                <a:cubicBezTo>
                  <a:pt x="212" y="209"/>
                  <a:pt x="300" y="209"/>
                  <a:pt x="300" y="209"/>
                </a:cubicBezTo>
                <a:cubicBezTo>
                  <a:pt x="300" y="209"/>
                  <a:pt x="301" y="209"/>
                  <a:pt x="301" y="209"/>
                </a:cubicBezTo>
                <a:cubicBezTo>
                  <a:pt x="320" y="209"/>
                  <a:pt x="335" y="194"/>
                  <a:pt x="335" y="175"/>
                </a:cubicBezTo>
                <a:cubicBezTo>
                  <a:pt x="335" y="157"/>
                  <a:pt x="320" y="142"/>
                  <a:pt x="302" y="142"/>
                </a:cubicBezTo>
                <a:cubicBezTo>
                  <a:pt x="302" y="142"/>
                  <a:pt x="300" y="142"/>
                  <a:pt x="300" y="142"/>
                </a:cubicBezTo>
                <a:cubicBezTo>
                  <a:pt x="184" y="142"/>
                  <a:pt x="184" y="142"/>
                  <a:pt x="184" y="142"/>
                </a:cubicBezTo>
                <a:cubicBezTo>
                  <a:pt x="177" y="142"/>
                  <a:pt x="172" y="147"/>
                  <a:pt x="172" y="154"/>
                </a:cubicBezTo>
                <a:cubicBezTo>
                  <a:pt x="172" y="161"/>
                  <a:pt x="177" y="166"/>
                  <a:pt x="184" y="166"/>
                </a:cubicBezTo>
                <a:cubicBezTo>
                  <a:pt x="184" y="166"/>
                  <a:pt x="300" y="166"/>
                  <a:pt x="300" y="166"/>
                </a:cubicBezTo>
                <a:cubicBezTo>
                  <a:pt x="301" y="166"/>
                  <a:pt x="301" y="166"/>
                  <a:pt x="301" y="166"/>
                </a:cubicBezTo>
                <a:cubicBezTo>
                  <a:pt x="307" y="166"/>
                  <a:pt x="311" y="170"/>
                  <a:pt x="311" y="175"/>
                </a:cubicBezTo>
                <a:cubicBezTo>
                  <a:pt x="311" y="180"/>
                  <a:pt x="307" y="184"/>
                  <a:pt x="302" y="184"/>
                </a:cubicBezTo>
                <a:cubicBezTo>
                  <a:pt x="302" y="184"/>
                  <a:pt x="300" y="184"/>
                  <a:pt x="300" y="184"/>
                </a:cubicBezTo>
                <a:cubicBezTo>
                  <a:pt x="180" y="184"/>
                  <a:pt x="180" y="184"/>
                  <a:pt x="180" y="184"/>
                </a:cubicBezTo>
                <a:cubicBezTo>
                  <a:pt x="173" y="184"/>
                  <a:pt x="167" y="190"/>
                  <a:pt x="167" y="196"/>
                </a:cubicBezTo>
                <a:cubicBezTo>
                  <a:pt x="167" y="196"/>
                  <a:pt x="167" y="217"/>
                  <a:pt x="167" y="230"/>
                </a:cubicBezTo>
                <a:cubicBezTo>
                  <a:pt x="149" y="230"/>
                  <a:pt x="84" y="230"/>
                  <a:pt x="84" y="230"/>
                </a:cubicBezTo>
                <a:cubicBezTo>
                  <a:pt x="40" y="230"/>
                  <a:pt x="27" y="202"/>
                  <a:pt x="25" y="174"/>
                </a:cubicBezTo>
                <a:cubicBezTo>
                  <a:pt x="45" y="168"/>
                  <a:pt x="60" y="150"/>
                  <a:pt x="60" y="127"/>
                </a:cubicBezTo>
                <a:cubicBezTo>
                  <a:pt x="60" y="105"/>
                  <a:pt x="45" y="86"/>
                  <a:pt x="25" y="81"/>
                </a:cubicBezTo>
                <a:cubicBezTo>
                  <a:pt x="27" y="53"/>
                  <a:pt x="40" y="24"/>
                  <a:pt x="84" y="24"/>
                </a:cubicBezTo>
                <a:cubicBezTo>
                  <a:pt x="84" y="24"/>
                  <a:pt x="149" y="24"/>
                  <a:pt x="167" y="24"/>
                </a:cubicBezTo>
                <a:cubicBezTo>
                  <a:pt x="167" y="38"/>
                  <a:pt x="167" y="58"/>
                  <a:pt x="167" y="58"/>
                </a:cubicBezTo>
                <a:cubicBezTo>
                  <a:pt x="167" y="65"/>
                  <a:pt x="173" y="71"/>
                  <a:pt x="180" y="71"/>
                </a:cubicBezTo>
                <a:cubicBezTo>
                  <a:pt x="300" y="71"/>
                  <a:pt x="300" y="71"/>
                  <a:pt x="300" y="71"/>
                </a:cubicBezTo>
                <a:cubicBezTo>
                  <a:pt x="300" y="71"/>
                  <a:pt x="302" y="71"/>
                  <a:pt x="302" y="71"/>
                </a:cubicBezTo>
                <a:cubicBezTo>
                  <a:pt x="307" y="71"/>
                  <a:pt x="311" y="75"/>
                  <a:pt x="311" y="79"/>
                </a:cubicBezTo>
                <a:cubicBezTo>
                  <a:pt x="311" y="84"/>
                  <a:pt x="307" y="88"/>
                  <a:pt x="302" y="88"/>
                </a:cubicBezTo>
                <a:cubicBezTo>
                  <a:pt x="301" y="88"/>
                  <a:pt x="300" y="88"/>
                  <a:pt x="300" y="88"/>
                </a:cubicBezTo>
                <a:cubicBezTo>
                  <a:pt x="184" y="88"/>
                  <a:pt x="184" y="88"/>
                  <a:pt x="184" y="88"/>
                </a:cubicBezTo>
                <a:cubicBezTo>
                  <a:pt x="177" y="88"/>
                  <a:pt x="172" y="94"/>
                  <a:pt x="172" y="101"/>
                </a:cubicBezTo>
                <a:cubicBezTo>
                  <a:pt x="172" y="107"/>
                  <a:pt x="177" y="113"/>
                  <a:pt x="184" y="113"/>
                </a:cubicBezTo>
                <a:cubicBezTo>
                  <a:pt x="300" y="113"/>
                  <a:pt x="300" y="113"/>
                  <a:pt x="300" y="113"/>
                </a:cubicBezTo>
                <a:cubicBezTo>
                  <a:pt x="300" y="113"/>
                  <a:pt x="302" y="113"/>
                  <a:pt x="302" y="113"/>
                </a:cubicBezTo>
                <a:cubicBezTo>
                  <a:pt x="320" y="113"/>
                  <a:pt x="335" y="98"/>
                  <a:pt x="335" y="79"/>
                </a:cubicBezTo>
                <a:cubicBezTo>
                  <a:pt x="335" y="61"/>
                  <a:pt x="320" y="46"/>
                  <a:pt x="302" y="46"/>
                </a:cubicBezTo>
                <a:cubicBezTo>
                  <a:pt x="301" y="46"/>
                  <a:pt x="300" y="46"/>
                  <a:pt x="300" y="46"/>
                </a:cubicBezTo>
                <a:cubicBezTo>
                  <a:pt x="300" y="46"/>
                  <a:pt x="212" y="46"/>
                  <a:pt x="192" y="46"/>
                </a:cubicBezTo>
                <a:cubicBezTo>
                  <a:pt x="192" y="33"/>
                  <a:pt x="192" y="12"/>
                  <a:pt x="192" y="12"/>
                </a:cubicBezTo>
                <a:cubicBezTo>
                  <a:pt x="192" y="5"/>
                  <a:pt x="186" y="0"/>
                  <a:pt x="180" y="0"/>
                </a:cubicBezTo>
                <a:lnTo>
                  <a:pt x="84"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287" name="TextBox 286"/>
          <p:cNvSpPr txBox="1"/>
          <p:nvPr userDrawn="1"/>
        </p:nvSpPr>
        <p:spPr>
          <a:xfrm>
            <a:off x="6924262" y="1251884"/>
            <a:ext cx="638744"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Power management</a:t>
            </a:r>
          </a:p>
        </p:txBody>
      </p:sp>
      <p:sp>
        <p:nvSpPr>
          <p:cNvPr id="288" name="Freeform 184"/>
          <p:cNvSpPr>
            <a:spLocks noChangeAspect="1"/>
          </p:cNvSpPr>
          <p:nvPr userDrawn="1"/>
        </p:nvSpPr>
        <p:spPr bwMode="auto">
          <a:xfrm>
            <a:off x="6308507" y="905819"/>
            <a:ext cx="367542" cy="294894"/>
          </a:xfrm>
          <a:custGeom>
            <a:avLst/>
            <a:gdLst/>
            <a:ahLst/>
            <a:cxnLst>
              <a:cxn ang="0">
                <a:pos x="69" y="73"/>
              </a:cxn>
              <a:cxn ang="0">
                <a:pos x="95" y="73"/>
              </a:cxn>
              <a:cxn ang="0">
                <a:pos x="95" y="343"/>
              </a:cxn>
              <a:cxn ang="0">
                <a:pos x="0" y="343"/>
              </a:cxn>
              <a:cxn ang="0">
                <a:pos x="0" y="72"/>
              </a:cxn>
              <a:cxn ang="0">
                <a:pos x="31" y="72"/>
              </a:cxn>
              <a:cxn ang="0">
                <a:pos x="31" y="34"/>
              </a:cxn>
              <a:cxn ang="0">
                <a:pos x="82" y="0"/>
              </a:cxn>
              <a:cxn ang="0">
                <a:pos x="127" y="11"/>
              </a:cxn>
              <a:cxn ang="0">
                <a:pos x="139" y="48"/>
              </a:cxn>
              <a:cxn ang="0">
                <a:pos x="139" y="284"/>
              </a:cxn>
              <a:cxn ang="0">
                <a:pos x="207" y="284"/>
              </a:cxn>
              <a:cxn ang="0">
                <a:pos x="207" y="228"/>
              </a:cxn>
              <a:cxn ang="0">
                <a:pos x="181" y="207"/>
              </a:cxn>
              <a:cxn ang="0">
                <a:pos x="181" y="66"/>
              </a:cxn>
              <a:cxn ang="0">
                <a:pos x="278" y="67"/>
              </a:cxn>
              <a:cxn ang="0">
                <a:pos x="278" y="207"/>
              </a:cxn>
              <a:cxn ang="0">
                <a:pos x="254" y="229"/>
              </a:cxn>
              <a:cxn ang="0">
                <a:pos x="254" y="275"/>
              </a:cxn>
              <a:cxn ang="0">
                <a:pos x="254" y="283"/>
              </a:cxn>
              <a:cxn ang="0">
                <a:pos x="352" y="283"/>
              </a:cxn>
              <a:cxn ang="0">
                <a:pos x="316" y="340"/>
              </a:cxn>
              <a:cxn ang="0">
                <a:pos x="428" y="340"/>
              </a:cxn>
              <a:cxn ang="0">
                <a:pos x="385" y="281"/>
              </a:cxn>
              <a:cxn ang="0">
                <a:pos x="428" y="222"/>
              </a:cxn>
              <a:cxn ang="0">
                <a:pos x="316" y="222"/>
              </a:cxn>
              <a:cxn ang="0">
                <a:pos x="336" y="250"/>
              </a:cxn>
            </a:cxnLst>
            <a:rect l="0" t="0" r="r" b="b"/>
            <a:pathLst>
              <a:path w="428" h="343">
                <a:moveTo>
                  <a:pt x="69" y="73"/>
                </a:moveTo>
                <a:cubicBezTo>
                  <a:pt x="95" y="73"/>
                  <a:pt x="95" y="73"/>
                  <a:pt x="95" y="73"/>
                </a:cubicBezTo>
                <a:cubicBezTo>
                  <a:pt x="95" y="343"/>
                  <a:pt x="95" y="343"/>
                  <a:pt x="95" y="343"/>
                </a:cubicBezTo>
                <a:cubicBezTo>
                  <a:pt x="0" y="343"/>
                  <a:pt x="0" y="343"/>
                  <a:pt x="0" y="343"/>
                </a:cubicBezTo>
                <a:cubicBezTo>
                  <a:pt x="0" y="72"/>
                  <a:pt x="0" y="72"/>
                  <a:pt x="0" y="72"/>
                </a:cubicBezTo>
                <a:cubicBezTo>
                  <a:pt x="31" y="72"/>
                  <a:pt x="31" y="72"/>
                  <a:pt x="31" y="72"/>
                </a:cubicBezTo>
                <a:cubicBezTo>
                  <a:pt x="31" y="34"/>
                  <a:pt x="31" y="34"/>
                  <a:pt x="31" y="34"/>
                </a:cubicBezTo>
                <a:cubicBezTo>
                  <a:pt x="31" y="34"/>
                  <a:pt x="33" y="0"/>
                  <a:pt x="82" y="0"/>
                </a:cubicBezTo>
                <a:cubicBezTo>
                  <a:pt x="106" y="0"/>
                  <a:pt x="118" y="4"/>
                  <a:pt x="127" y="11"/>
                </a:cubicBezTo>
                <a:cubicBezTo>
                  <a:pt x="135" y="18"/>
                  <a:pt x="139" y="28"/>
                  <a:pt x="139" y="48"/>
                </a:cubicBezTo>
                <a:cubicBezTo>
                  <a:pt x="139" y="284"/>
                  <a:pt x="139" y="284"/>
                  <a:pt x="139" y="284"/>
                </a:cubicBezTo>
                <a:cubicBezTo>
                  <a:pt x="207" y="284"/>
                  <a:pt x="207" y="284"/>
                  <a:pt x="207" y="284"/>
                </a:cubicBezTo>
                <a:cubicBezTo>
                  <a:pt x="207" y="228"/>
                  <a:pt x="207" y="228"/>
                  <a:pt x="207" y="228"/>
                </a:cubicBezTo>
                <a:cubicBezTo>
                  <a:pt x="181" y="207"/>
                  <a:pt x="181" y="207"/>
                  <a:pt x="181" y="207"/>
                </a:cubicBezTo>
                <a:cubicBezTo>
                  <a:pt x="181" y="66"/>
                  <a:pt x="181" y="66"/>
                  <a:pt x="181" y="66"/>
                </a:cubicBezTo>
                <a:cubicBezTo>
                  <a:pt x="181" y="66"/>
                  <a:pt x="226" y="28"/>
                  <a:pt x="278" y="67"/>
                </a:cubicBezTo>
                <a:cubicBezTo>
                  <a:pt x="278" y="207"/>
                  <a:pt x="278" y="207"/>
                  <a:pt x="278" y="207"/>
                </a:cubicBezTo>
                <a:cubicBezTo>
                  <a:pt x="254" y="229"/>
                  <a:pt x="254" y="229"/>
                  <a:pt x="254" y="229"/>
                </a:cubicBezTo>
                <a:cubicBezTo>
                  <a:pt x="254" y="275"/>
                  <a:pt x="254" y="275"/>
                  <a:pt x="254" y="275"/>
                </a:cubicBezTo>
                <a:cubicBezTo>
                  <a:pt x="254" y="283"/>
                  <a:pt x="254" y="283"/>
                  <a:pt x="254" y="283"/>
                </a:cubicBezTo>
                <a:cubicBezTo>
                  <a:pt x="352" y="283"/>
                  <a:pt x="352" y="283"/>
                  <a:pt x="352" y="283"/>
                </a:cubicBezTo>
                <a:cubicBezTo>
                  <a:pt x="316" y="340"/>
                  <a:pt x="316" y="340"/>
                  <a:pt x="316" y="340"/>
                </a:cubicBezTo>
                <a:cubicBezTo>
                  <a:pt x="428" y="340"/>
                  <a:pt x="428" y="340"/>
                  <a:pt x="428" y="340"/>
                </a:cubicBezTo>
                <a:cubicBezTo>
                  <a:pt x="385" y="281"/>
                  <a:pt x="385" y="281"/>
                  <a:pt x="385" y="281"/>
                </a:cubicBezTo>
                <a:cubicBezTo>
                  <a:pt x="428" y="222"/>
                  <a:pt x="428" y="222"/>
                  <a:pt x="428" y="222"/>
                </a:cubicBezTo>
                <a:cubicBezTo>
                  <a:pt x="316" y="222"/>
                  <a:pt x="316" y="222"/>
                  <a:pt x="316" y="222"/>
                </a:cubicBezTo>
                <a:cubicBezTo>
                  <a:pt x="336" y="250"/>
                  <a:pt x="336" y="250"/>
                  <a:pt x="336" y="250"/>
                </a:cubicBezTo>
              </a:path>
            </a:pathLst>
          </a:custGeom>
          <a:noFill/>
          <a:ln w="30163"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89" name="TextBox 288"/>
          <p:cNvSpPr txBox="1"/>
          <p:nvPr userDrawn="1"/>
        </p:nvSpPr>
        <p:spPr>
          <a:xfrm>
            <a:off x="5993206" y="1251884"/>
            <a:ext cx="1034934"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Process/machine management</a:t>
            </a:r>
          </a:p>
        </p:txBody>
      </p:sp>
      <p:sp>
        <p:nvSpPr>
          <p:cNvPr id="290" name="Freeform 132"/>
          <p:cNvSpPr>
            <a:spLocks noChangeAspect="1"/>
          </p:cNvSpPr>
          <p:nvPr userDrawn="1"/>
        </p:nvSpPr>
        <p:spPr bwMode="auto">
          <a:xfrm>
            <a:off x="5646697" y="905819"/>
            <a:ext cx="290258" cy="294894"/>
          </a:xfrm>
          <a:custGeom>
            <a:avLst/>
            <a:gdLst/>
            <a:ahLst/>
            <a:cxnLst>
              <a:cxn ang="0">
                <a:pos x="283" y="18"/>
              </a:cxn>
              <a:cxn ang="0">
                <a:pos x="255" y="0"/>
              </a:cxn>
              <a:cxn ang="0">
                <a:pos x="0" y="0"/>
              </a:cxn>
              <a:cxn ang="0">
                <a:pos x="0" y="277"/>
              </a:cxn>
              <a:cxn ang="0">
                <a:pos x="56" y="313"/>
              </a:cxn>
              <a:cxn ang="0">
                <a:pos x="56" y="45"/>
              </a:cxn>
              <a:cxn ang="0">
                <a:pos x="308" y="45"/>
              </a:cxn>
              <a:cxn ang="0">
                <a:pos x="308" y="313"/>
              </a:cxn>
              <a:cxn ang="0">
                <a:pos x="229" y="313"/>
              </a:cxn>
              <a:cxn ang="0">
                <a:pos x="229" y="267"/>
              </a:cxn>
              <a:cxn ang="0">
                <a:pos x="278" y="267"/>
              </a:cxn>
              <a:cxn ang="0">
                <a:pos x="278" y="172"/>
              </a:cxn>
              <a:cxn ang="0">
                <a:pos x="142" y="172"/>
              </a:cxn>
              <a:cxn ang="0">
                <a:pos x="142" y="267"/>
              </a:cxn>
              <a:cxn ang="0">
                <a:pos x="197" y="267"/>
              </a:cxn>
              <a:cxn ang="0">
                <a:pos x="172" y="313"/>
              </a:cxn>
              <a:cxn ang="0">
                <a:pos x="97" y="313"/>
              </a:cxn>
            </a:cxnLst>
            <a:rect l="0" t="0" r="r" b="b"/>
            <a:pathLst>
              <a:path w="308" h="313">
                <a:moveTo>
                  <a:pt x="283" y="18"/>
                </a:moveTo>
                <a:lnTo>
                  <a:pt x="255" y="0"/>
                </a:lnTo>
                <a:lnTo>
                  <a:pt x="0" y="0"/>
                </a:lnTo>
                <a:lnTo>
                  <a:pt x="0" y="277"/>
                </a:lnTo>
                <a:lnTo>
                  <a:pt x="56" y="313"/>
                </a:lnTo>
                <a:lnTo>
                  <a:pt x="56" y="45"/>
                </a:lnTo>
                <a:lnTo>
                  <a:pt x="308" y="45"/>
                </a:lnTo>
                <a:lnTo>
                  <a:pt x="308" y="313"/>
                </a:lnTo>
                <a:lnTo>
                  <a:pt x="229" y="313"/>
                </a:lnTo>
                <a:lnTo>
                  <a:pt x="229" y="267"/>
                </a:lnTo>
                <a:lnTo>
                  <a:pt x="278" y="267"/>
                </a:lnTo>
                <a:lnTo>
                  <a:pt x="278" y="172"/>
                </a:lnTo>
                <a:lnTo>
                  <a:pt x="142" y="172"/>
                </a:lnTo>
                <a:lnTo>
                  <a:pt x="142" y="267"/>
                </a:lnTo>
                <a:lnTo>
                  <a:pt x="197" y="267"/>
                </a:lnTo>
                <a:lnTo>
                  <a:pt x="172" y="313"/>
                </a:lnTo>
                <a:lnTo>
                  <a:pt x="97" y="313"/>
                </a:lnTo>
              </a:path>
            </a:pathLst>
          </a:custGeom>
          <a:noFill/>
          <a:ln w="31750"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91" name="TextBox 290"/>
          <p:cNvSpPr txBox="1"/>
          <p:nvPr userDrawn="1"/>
        </p:nvSpPr>
        <p:spPr>
          <a:xfrm>
            <a:off x="5395359" y="1251884"/>
            <a:ext cx="802960"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IT room</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management</a:t>
            </a:r>
          </a:p>
        </p:txBody>
      </p:sp>
      <p:sp>
        <p:nvSpPr>
          <p:cNvPr id="292" name="Freeform 180"/>
          <p:cNvSpPr>
            <a:spLocks noChangeAspect="1"/>
          </p:cNvSpPr>
          <p:nvPr userDrawn="1"/>
        </p:nvSpPr>
        <p:spPr bwMode="auto">
          <a:xfrm>
            <a:off x="7756213" y="905819"/>
            <a:ext cx="262792" cy="294894"/>
          </a:xfrm>
          <a:custGeom>
            <a:avLst/>
            <a:gdLst/>
            <a:ahLst/>
            <a:cxnLst>
              <a:cxn ang="0">
                <a:pos x="192" y="296"/>
              </a:cxn>
              <a:cxn ang="0">
                <a:pos x="152" y="369"/>
              </a:cxn>
              <a:cxn ang="0">
                <a:pos x="0" y="336"/>
              </a:cxn>
              <a:cxn ang="0">
                <a:pos x="112" y="300"/>
              </a:cxn>
              <a:cxn ang="0">
                <a:pos x="132" y="219"/>
              </a:cxn>
              <a:cxn ang="0">
                <a:pos x="138" y="150"/>
              </a:cxn>
              <a:cxn ang="0">
                <a:pos x="113" y="189"/>
              </a:cxn>
              <a:cxn ang="0">
                <a:pos x="66" y="198"/>
              </a:cxn>
              <a:cxn ang="0">
                <a:pos x="57" y="152"/>
              </a:cxn>
              <a:cxn ang="0">
                <a:pos x="103" y="84"/>
              </a:cxn>
              <a:cxn ang="0">
                <a:pos x="114" y="82"/>
              </a:cxn>
              <a:cxn ang="0">
                <a:pos x="227" y="99"/>
              </a:cxn>
              <a:cxn ang="0">
                <a:pos x="116" y="108"/>
              </a:cxn>
              <a:cxn ang="0">
                <a:pos x="79" y="166"/>
              </a:cxn>
              <a:cxn ang="0">
                <a:pos x="81" y="176"/>
              </a:cxn>
              <a:cxn ang="0">
                <a:pos x="91" y="174"/>
              </a:cxn>
              <a:cxn ang="0">
                <a:pos x="116" y="134"/>
              </a:cxn>
              <a:cxn ang="0">
                <a:pos x="130" y="124"/>
              </a:cxn>
              <a:cxn ang="0">
                <a:pos x="138" y="123"/>
              </a:cxn>
              <a:cxn ang="0">
                <a:pos x="185" y="126"/>
              </a:cxn>
              <a:cxn ang="0">
                <a:pos x="196" y="145"/>
              </a:cxn>
              <a:cxn ang="0">
                <a:pos x="135" y="316"/>
              </a:cxn>
              <a:cxn ang="0">
                <a:pos x="34" y="329"/>
              </a:cxn>
              <a:cxn ang="0">
                <a:pos x="27" y="336"/>
              </a:cxn>
              <a:cxn ang="0">
                <a:pos x="143" y="343"/>
              </a:cxn>
              <a:cxn ang="0">
                <a:pos x="190" y="251"/>
              </a:cxn>
              <a:cxn ang="0">
                <a:pos x="280" y="414"/>
              </a:cxn>
              <a:cxn ang="0">
                <a:pos x="287" y="420"/>
              </a:cxn>
              <a:cxn ang="0">
                <a:pos x="294" y="413"/>
              </a:cxn>
              <a:cxn ang="0">
                <a:pos x="215" y="234"/>
              </a:cxn>
              <a:cxn ang="0">
                <a:pos x="244" y="165"/>
              </a:cxn>
              <a:cxn ang="0">
                <a:pos x="266" y="163"/>
              </a:cxn>
              <a:cxn ang="0">
                <a:pos x="299" y="199"/>
              </a:cxn>
              <a:cxn ang="0">
                <a:pos x="310" y="205"/>
              </a:cxn>
              <a:cxn ang="0">
                <a:pos x="369" y="202"/>
              </a:cxn>
              <a:cxn ang="0">
                <a:pos x="365" y="191"/>
              </a:cxn>
              <a:cxn ang="0">
                <a:pos x="323" y="191"/>
              </a:cxn>
              <a:cxn ang="0">
                <a:pos x="262" y="127"/>
              </a:cxn>
              <a:cxn ang="0">
                <a:pos x="250" y="100"/>
              </a:cxn>
              <a:cxn ang="0">
                <a:pos x="271" y="77"/>
              </a:cxn>
              <a:cxn ang="0">
                <a:pos x="297" y="51"/>
              </a:cxn>
              <a:cxn ang="0">
                <a:pos x="249" y="51"/>
              </a:cxn>
              <a:cxn ang="0">
                <a:pos x="253" y="65"/>
              </a:cxn>
              <a:cxn ang="0">
                <a:pos x="231" y="79"/>
              </a:cxn>
              <a:cxn ang="0">
                <a:pos x="273" y="0"/>
              </a:cxn>
              <a:cxn ang="0">
                <a:pos x="309" y="87"/>
              </a:cxn>
              <a:cxn ang="0">
                <a:pos x="278" y="105"/>
              </a:cxn>
              <a:cxn ang="0">
                <a:pos x="282" y="110"/>
              </a:cxn>
              <a:cxn ang="0">
                <a:pos x="365" y="164"/>
              </a:cxn>
              <a:cxn ang="0">
                <a:pos x="365" y="231"/>
              </a:cxn>
              <a:cxn ang="0">
                <a:pos x="292" y="227"/>
              </a:cxn>
              <a:cxn ang="0">
                <a:pos x="273" y="210"/>
              </a:cxn>
              <a:cxn ang="0">
                <a:pos x="259" y="195"/>
              </a:cxn>
              <a:cxn ang="0">
                <a:pos x="318" y="400"/>
              </a:cxn>
              <a:cxn ang="0">
                <a:pos x="321" y="413"/>
              </a:cxn>
              <a:cxn ang="0">
                <a:pos x="287" y="447"/>
              </a:cxn>
              <a:cxn ang="0">
                <a:pos x="256" y="426"/>
              </a:cxn>
            </a:cxnLst>
            <a:rect l="0" t="0" r="r" b="b"/>
            <a:pathLst>
              <a:path w="398" h="447">
                <a:moveTo>
                  <a:pt x="256" y="426"/>
                </a:moveTo>
                <a:cubicBezTo>
                  <a:pt x="192" y="296"/>
                  <a:pt x="192" y="296"/>
                  <a:pt x="192" y="296"/>
                </a:cubicBezTo>
                <a:cubicBezTo>
                  <a:pt x="164" y="361"/>
                  <a:pt x="164" y="361"/>
                  <a:pt x="164" y="361"/>
                </a:cubicBezTo>
                <a:cubicBezTo>
                  <a:pt x="162" y="366"/>
                  <a:pt x="157" y="369"/>
                  <a:pt x="152" y="369"/>
                </a:cubicBezTo>
                <a:cubicBezTo>
                  <a:pt x="34" y="370"/>
                  <a:pt x="34" y="370"/>
                  <a:pt x="34" y="370"/>
                </a:cubicBezTo>
                <a:cubicBezTo>
                  <a:pt x="15" y="370"/>
                  <a:pt x="0" y="355"/>
                  <a:pt x="0" y="336"/>
                </a:cubicBezTo>
                <a:cubicBezTo>
                  <a:pt x="0" y="318"/>
                  <a:pt x="15" y="303"/>
                  <a:pt x="34" y="303"/>
                </a:cubicBezTo>
                <a:cubicBezTo>
                  <a:pt x="112" y="300"/>
                  <a:pt x="112" y="300"/>
                  <a:pt x="112" y="300"/>
                </a:cubicBezTo>
                <a:cubicBezTo>
                  <a:pt x="131" y="221"/>
                  <a:pt x="131" y="221"/>
                  <a:pt x="131" y="221"/>
                </a:cubicBezTo>
                <a:cubicBezTo>
                  <a:pt x="131" y="220"/>
                  <a:pt x="132" y="220"/>
                  <a:pt x="132" y="219"/>
                </a:cubicBezTo>
                <a:cubicBezTo>
                  <a:pt x="164" y="151"/>
                  <a:pt x="164" y="151"/>
                  <a:pt x="164" y="151"/>
                </a:cubicBezTo>
                <a:cubicBezTo>
                  <a:pt x="138" y="150"/>
                  <a:pt x="138" y="150"/>
                  <a:pt x="138" y="150"/>
                </a:cubicBezTo>
                <a:cubicBezTo>
                  <a:pt x="113" y="189"/>
                  <a:pt x="113" y="189"/>
                  <a:pt x="113" y="189"/>
                </a:cubicBezTo>
                <a:cubicBezTo>
                  <a:pt x="113" y="189"/>
                  <a:pt x="113" y="189"/>
                  <a:pt x="113" y="189"/>
                </a:cubicBezTo>
                <a:cubicBezTo>
                  <a:pt x="106" y="199"/>
                  <a:pt x="96" y="204"/>
                  <a:pt x="85" y="204"/>
                </a:cubicBezTo>
                <a:cubicBezTo>
                  <a:pt x="79" y="204"/>
                  <a:pt x="72" y="202"/>
                  <a:pt x="66" y="198"/>
                </a:cubicBezTo>
                <a:cubicBezTo>
                  <a:pt x="57" y="192"/>
                  <a:pt x="51" y="181"/>
                  <a:pt x="51" y="170"/>
                </a:cubicBezTo>
                <a:cubicBezTo>
                  <a:pt x="51" y="164"/>
                  <a:pt x="53" y="157"/>
                  <a:pt x="57" y="152"/>
                </a:cubicBezTo>
                <a:cubicBezTo>
                  <a:pt x="95" y="92"/>
                  <a:pt x="95" y="92"/>
                  <a:pt x="95" y="92"/>
                </a:cubicBezTo>
                <a:cubicBezTo>
                  <a:pt x="97" y="89"/>
                  <a:pt x="100" y="86"/>
                  <a:pt x="103" y="84"/>
                </a:cubicBezTo>
                <a:cubicBezTo>
                  <a:pt x="106" y="83"/>
                  <a:pt x="110" y="82"/>
                  <a:pt x="113" y="82"/>
                </a:cubicBezTo>
                <a:cubicBezTo>
                  <a:pt x="114" y="82"/>
                  <a:pt x="114" y="82"/>
                  <a:pt x="114" y="82"/>
                </a:cubicBezTo>
                <a:cubicBezTo>
                  <a:pt x="215" y="85"/>
                  <a:pt x="215" y="85"/>
                  <a:pt x="215" y="85"/>
                </a:cubicBezTo>
                <a:cubicBezTo>
                  <a:pt x="222" y="85"/>
                  <a:pt x="228" y="91"/>
                  <a:pt x="227" y="99"/>
                </a:cubicBezTo>
                <a:cubicBezTo>
                  <a:pt x="227" y="106"/>
                  <a:pt x="221" y="112"/>
                  <a:pt x="214" y="112"/>
                </a:cubicBezTo>
                <a:cubicBezTo>
                  <a:pt x="116" y="108"/>
                  <a:pt x="116" y="108"/>
                  <a:pt x="116" y="108"/>
                </a:cubicBezTo>
                <a:cubicBezTo>
                  <a:pt x="79" y="166"/>
                  <a:pt x="79" y="166"/>
                  <a:pt x="79" y="166"/>
                </a:cubicBezTo>
                <a:cubicBezTo>
                  <a:pt x="79" y="166"/>
                  <a:pt x="79" y="166"/>
                  <a:pt x="79" y="166"/>
                </a:cubicBezTo>
                <a:cubicBezTo>
                  <a:pt x="78" y="168"/>
                  <a:pt x="78" y="169"/>
                  <a:pt x="78" y="170"/>
                </a:cubicBezTo>
                <a:cubicBezTo>
                  <a:pt x="78" y="173"/>
                  <a:pt x="79" y="175"/>
                  <a:pt x="81" y="176"/>
                </a:cubicBezTo>
                <a:cubicBezTo>
                  <a:pt x="82" y="177"/>
                  <a:pt x="84" y="177"/>
                  <a:pt x="85" y="177"/>
                </a:cubicBezTo>
                <a:cubicBezTo>
                  <a:pt x="87" y="177"/>
                  <a:pt x="89" y="176"/>
                  <a:pt x="91" y="174"/>
                </a:cubicBezTo>
                <a:cubicBezTo>
                  <a:pt x="116" y="134"/>
                  <a:pt x="116" y="134"/>
                  <a:pt x="116" y="134"/>
                </a:cubicBezTo>
                <a:cubicBezTo>
                  <a:pt x="116" y="134"/>
                  <a:pt x="116" y="134"/>
                  <a:pt x="116" y="134"/>
                </a:cubicBezTo>
                <a:cubicBezTo>
                  <a:pt x="117" y="132"/>
                  <a:pt x="118" y="131"/>
                  <a:pt x="120" y="128"/>
                </a:cubicBezTo>
                <a:cubicBezTo>
                  <a:pt x="123" y="126"/>
                  <a:pt x="126" y="124"/>
                  <a:pt x="130" y="124"/>
                </a:cubicBezTo>
                <a:cubicBezTo>
                  <a:pt x="132" y="123"/>
                  <a:pt x="134" y="123"/>
                  <a:pt x="136" y="123"/>
                </a:cubicBezTo>
                <a:cubicBezTo>
                  <a:pt x="137" y="123"/>
                  <a:pt x="137" y="123"/>
                  <a:pt x="138" y="123"/>
                </a:cubicBezTo>
                <a:cubicBezTo>
                  <a:pt x="138" y="123"/>
                  <a:pt x="138" y="123"/>
                  <a:pt x="138" y="123"/>
                </a:cubicBezTo>
                <a:cubicBezTo>
                  <a:pt x="185" y="126"/>
                  <a:pt x="185" y="126"/>
                  <a:pt x="185" y="126"/>
                </a:cubicBezTo>
                <a:cubicBezTo>
                  <a:pt x="190" y="126"/>
                  <a:pt x="194" y="129"/>
                  <a:pt x="196" y="133"/>
                </a:cubicBezTo>
                <a:cubicBezTo>
                  <a:pt x="198" y="137"/>
                  <a:pt x="198" y="141"/>
                  <a:pt x="196" y="145"/>
                </a:cubicBezTo>
                <a:cubicBezTo>
                  <a:pt x="157" y="229"/>
                  <a:pt x="157" y="229"/>
                  <a:pt x="157" y="229"/>
                </a:cubicBezTo>
                <a:cubicBezTo>
                  <a:pt x="135" y="316"/>
                  <a:pt x="135" y="316"/>
                  <a:pt x="135" y="316"/>
                </a:cubicBezTo>
                <a:cubicBezTo>
                  <a:pt x="134" y="322"/>
                  <a:pt x="129" y="326"/>
                  <a:pt x="123" y="326"/>
                </a:cubicBezTo>
                <a:cubicBezTo>
                  <a:pt x="34" y="329"/>
                  <a:pt x="34" y="329"/>
                  <a:pt x="34" y="329"/>
                </a:cubicBezTo>
                <a:cubicBezTo>
                  <a:pt x="34" y="329"/>
                  <a:pt x="34" y="329"/>
                  <a:pt x="34" y="329"/>
                </a:cubicBezTo>
                <a:cubicBezTo>
                  <a:pt x="30" y="329"/>
                  <a:pt x="27" y="332"/>
                  <a:pt x="27" y="336"/>
                </a:cubicBezTo>
                <a:cubicBezTo>
                  <a:pt x="27" y="340"/>
                  <a:pt x="30" y="343"/>
                  <a:pt x="34" y="343"/>
                </a:cubicBezTo>
                <a:cubicBezTo>
                  <a:pt x="143" y="343"/>
                  <a:pt x="143" y="343"/>
                  <a:pt x="143" y="343"/>
                </a:cubicBezTo>
                <a:cubicBezTo>
                  <a:pt x="178" y="259"/>
                  <a:pt x="178" y="259"/>
                  <a:pt x="178" y="259"/>
                </a:cubicBezTo>
                <a:cubicBezTo>
                  <a:pt x="180" y="255"/>
                  <a:pt x="185" y="251"/>
                  <a:pt x="190" y="251"/>
                </a:cubicBezTo>
                <a:cubicBezTo>
                  <a:pt x="195" y="251"/>
                  <a:pt x="200" y="254"/>
                  <a:pt x="203" y="259"/>
                </a:cubicBezTo>
                <a:cubicBezTo>
                  <a:pt x="280" y="414"/>
                  <a:pt x="280" y="414"/>
                  <a:pt x="280" y="414"/>
                </a:cubicBezTo>
                <a:cubicBezTo>
                  <a:pt x="281" y="416"/>
                  <a:pt x="281" y="416"/>
                  <a:pt x="281" y="416"/>
                </a:cubicBezTo>
                <a:cubicBezTo>
                  <a:pt x="282" y="418"/>
                  <a:pt x="284" y="420"/>
                  <a:pt x="287" y="420"/>
                </a:cubicBezTo>
                <a:cubicBezTo>
                  <a:pt x="288" y="420"/>
                  <a:pt x="289" y="420"/>
                  <a:pt x="290" y="419"/>
                </a:cubicBezTo>
                <a:cubicBezTo>
                  <a:pt x="292" y="418"/>
                  <a:pt x="294" y="416"/>
                  <a:pt x="294" y="413"/>
                </a:cubicBezTo>
                <a:cubicBezTo>
                  <a:pt x="294" y="412"/>
                  <a:pt x="294" y="411"/>
                  <a:pt x="293" y="411"/>
                </a:cubicBezTo>
                <a:cubicBezTo>
                  <a:pt x="215" y="234"/>
                  <a:pt x="215" y="234"/>
                  <a:pt x="215" y="234"/>
                </a:cubicBezTo>
                <a:cubicBezTo>
                  <a:pt x="213" y="230"/>
                  <a:pt x="213" y="226"/>
                  <a:pt x="215" y="222"/>
                </a:cubicBezTo>
                <a:cubicBezTo>
                  <a:pt x="244" y="165"/>
                  <a:pt x="244" y="165"/>
                  <a:pt x="244" y="165"/>
                </a:cubicBezTo>
                <a:cubicBezTo>
                  <a:pt x="246" y="162"/>
                  <a:pt x="250" y="159"/>
                  <a:pt x="254" y="158"/>
                </a:cubicBezTo>
                <a:cubicBezTo>
                  <a:pt x="259" y="158"/>
                  <a:pt x="263" y="159"/>
                  <a:pt x="266" y="163"/>
                </a:cubicBezTo>
                <a:cubicBezTo>
                  <a:pt x="266" y="163"/>
                  <a:pt x="283" y="181"/>
                  <a:pt x="292" y="192"/>
                </a:cubicBezTo>
                <a:cubicBezTo>
                  <a:pt x="296" y="195"/>
                  <a:pt x="298" y="198"/>
                  <a:pt x="299" y="199"/>
                </a:cubicBezTo>
                <a:cubicBezTo>
                  <a:pt x="300" y="200"/>
                  <a:pt x="302" y="202"/>
                  <a:pt x="304" y="203"/>
                </a:cubicBezTo>
                <a:cubicBezTo>
                  <a:pt x="306" y="204"/>
                  <a:pt x="308" y="205"/>
                  <a:pt x="310" y="205"/>
                </a:cubicBezTo>
                <a:cubicBezTo>
                  <a:pt x="365" y="205"/>
                  <a:pt x="365" y="205"/>
                  <a:pt x="365" y="205"/>
                </a:cubicBezTo>
                <a:cubicBezTo>
                  <a:pt x="366" y="205"/>
                  <a:pt x="368" y="204"/>
                  <a:pt x="369" y="202"/>
                </a:cubicBezTo>
                <a:cubicBezTo>
                  <a:pt x="371" y="201"/>
                  <a:pt x="372" y="199"/>
                  <a:pt x="372" y="198"/>
                </a:cubicBezTo>
                <a:cubicBezTo>
                  <a:pt x="372" y="194"/>
                  <a:pt x="368" y="191"/>
                  <a:pt x="365" y="191"/>
                </a:cubicBezTo>
                <a:cubicBezTo>
                  <a:pt x="358" y="191"/>
                  <a:pt x="348" y="191"/>
                  <a:pt x="339" y="191"/>
                </a:cubicBezTo>
                <a:cubicBezTo>
                  <a:pt x="331" y="191"/>
                  <a:pt x="324" y="191"/>
                  <a:pt x="323" y="191"/>
                </a:cubicBezTo>
                <a:cubicBezTo>
                  <a:pt x="320" y="191"/>
                  <a:pt x="316" y="189"/>
                  <a:pt x="313" y="186"/>
                </a:cubicBezTo>
                <a:cubicBezTo>
                  <a:pt x="262" y="127"/>
                  <a:pt x="262" y="127"/>
                  <a:pt x="262" y="127"/>
                </a:cubicBezTo>
                <a:cubicBezTo>
                  <a:pt x="252" y="116"/>
                  <a:pt x="252" y="116"/>
                  <a:pt x="252" y="116"/>
                </a:cubicBezTo>
                <a:cubicBezTo>
                  <a:pt x="248" y="111"/>
                  <a:pt x="247" y="105"/>
                  <a:pt x="250" y="100"/>
                </a:cubicBezTo>
                <a:cubicBezTo>
                  <a:pt x="261" y="83"/>
                  <a:pt x="261" y="83"/>
                  <a:pt x="261" y="83"/>
                </a:cubicBezTo>
                <a:cubicBezTo>
                  <a:pt x="263" y="79"/>
                  <a:pt x="267" y="77"/>
                  <a:pt x="271" y="77"/>
                </a:cubicBezTo>
                <a:cubicBezTo>
                  <a:pt x="278" y="76"/>
                  <a:pt x="285" y="73"/>
                  <a:pt x="290" y="68"/>
                </a:cubicBezTo>
                <a:cubicBezTo>
                  <a:pt x="295" y="63"/>
                  <a:pt x="297" y="58"/>
                  <a:pt x="297" y="51"/>
                </a:cubicBezTo>
                <a:cubicBezTo>
                  <a:pt x="297" y="38"/>
                  <a:pt x="286" y="27"/>
                  <a:pt x="273" y="27"/>
                </a:cubicBezTo>
                <a:cubicBezTo>
                  <a:pt x="260" y="27"/>
                  <a:pt x="249" y="38"/>
                  <a:pt x="249" y="51"/>
                </a:cubicBezTo>
                <a:cubicBezTo>
                  <a:pt x="249" y="56"/>
                  <a:pt x="250" y="61"/>
                  <a:pt x="253" y="65"/>
                </a:cubicBezTo>
                <a:cubicBezTo>
                  <a:pt x="253" y="65"/>
                  <a:pt x="253" y="65"/>
                  <a:pt x="253" y="65"/>
                </a:cubicBezTo>
                <a:cubicBezTo>
                  <a:pt x="257" y="71"/>
                  <a:pt x="255" y="79"/>
                  <a:pt x="249" y="83"/>
                </a:cubicBezTo>
                <a:cubicBezTo>
                  <a:pt x="243" y="87"/>
                  <a:pt x="235" y="86"/>
                  <a:pt x="231" y="79"/>
                </a:cubicBezTo>
                <a:cubicBezTo>
                  <a:pt x="225" y="71"/>
                  <a:pt x="222" y="61"/>
                  <a:pt x="222" y="51"/>
                </a:cubicBezTo>
                <a:cubicBezTo>
                  <a:pt x="222" y="23"/>
                  <a:pt x="245" y="0"/>
                  <a:pt x="273" y="0"/>
                </a:cubicBezTo>
                <a:cubicBezTo>
                  <a:pt x="301" y="0"/>
                  <a:pt x="324" y="23"/>
                  <a:pt x="324" y="51"/>
                </a:cubicBezTo>
                <a:cubicBezTo>
                  <a:pt x="324" y="65"/>
                  <a:pt x="318" y="78"/>
                  <a:pt x="309" y="87"/>
                </a:cubicBezTo>
                <a:cubicBezTo>
                  <a:pt x="301" y="94"/>
                  <a:pt x="291" y="100"/>
                  <a:pt x="280" y="102"/>
                </a:cubicBezTo>
                <a:cubicBezTo>
                  <a:pt x="278" y="105"/>
                  <a:pt x="278" y="105"/>
                  <a:pt x="278" y="105"/>
                </a:cubicBezTo>
                <a:cubicBezTo>
                  <a:pt x="282" y="109"/>
                  <a:pt x="282" y="109"/>
                  <a:pt x="282" y="109"/>
                </a:cubicBezTo>
                <a:cubicBezTo>
                  <a:pt x="282" y="110"/>
                  <a:pt x="282" y="110"/>
                  <a:pt x="282" y="110"/>
                </a:cubicBezTo>
                <a:cubicBezTo>
                  <a:pt x="330" y="164"/>
                  <a:pt x="330" y="164"/>
                  <a:pt x="330" y="164"/>
                </a:cubicBezTo>
                <a:cubicBezTo>
                  <a:pt x="339" y="164"/>
                  <a:pt x="356" y="164"/>
                  <a:pt x="365" y="164"/>
                </a:cubicBezTo>
                <a:cubicBezTo>
                  <a:pt x="383" y="164"/>
                  <a:pt x="398" y="179"/>
                  <a:pt x="398" y="198"/>
                </a:cubicBezTo>
                <a:cubicBezTo>
                  <a:pt x="398" y="216"/>
                  <a:pt x="383" y="231"/>
                  <a:pt x="365" y="231"/>
                </a:cubicBezTo>
                <a:cubicBezTo>
                  <a:pt x="310" y="231"/>
                  <a:pt x="310" y="231"/>
                  <a:pt x="310" y="231"/>
                </a:cubicBezTo>
                <a:cubicBezTo>
                  <a:pt x="303" y="231"/>
                  <a:pt x="297" y="229"/>
                  <a:pt x="292" y="227"/>
                </a:cubicBezTo>
                <a:cubicBezTo>
                  <a:pt x="287" y="224"/>
                  <a:pt x="283" y="221"/>
                  <a:pt x="279" y="217"/>
                </a:cubicBezTo>
                <a:cubicBezTo>
                  <a:pt x="278" y="216"/>
                  <a:pt x="276" y="213"/>
                  <a:pt x="273" y="210"/>
                </a:cubicBezTo>
                <a:cubicBezTo>
                  <a:pt x="269" y="206"/>
                  <a:pt x="265" y="202"/>
                  <a:pt x="261" y="197"/>
                </a:cubicBezTo>
                <a:cubicBezTo>
                  <a:pt x="261" y="197"/>
                  <a:pt x="260" y="196"/>
                  <a:pt x="259" y="195"/>
                </a:cubicBezTo>
                <a:cubicBezTo>
                  <a:pt x="242" y="229"/>
                  <a:pt x="242" y="229"/>
                  <a:pt x="242" y="229"/>
                </a:cubicBezTo>
                <a:cubicBezTo>
                  <a:pt x="318" y="400"/>
                  <a:pt x="318" y="400"/>
                  <a:pt x="318" y="400"/>
                </a:cubicBezTo>
                <a:cubicBezTo>
                  <a:pt x="318" y="401"/>
                  <a:pt x="318" y="401"/>
                  <a:pt x="318" y="401"/>
                </a:cubicBezTo>
                <a:cubicBezTo>
                  <a:pt x="320" y="405"/>
                  <a:pt x="321" y="409"/>
                  <a:pt x="321" y="413"/>
                </a:cubicBezTo>
                <a:cubicBezTo>
                  <a:pt x="321" y="426"/>
                  <a:pt x="313" y="439"/>
                  <a:pt x="299" y="444"/>
                </a:cubicBezTo>
                <a:cubicBezTo>
                  <a:pt x="295" y="446"/>
                  <a:pt x="291" y="447"/>
                  <a:pt x="287" y="447"/>
                </a:cubicBezTo>
                <a:cubicBezTo>
                  <a:pt x="287" y="447"/>
                  <a:pt x="287" y="447"/>
                  <a:pt x="287" y="447"/>
                </a:cubicBezTo>
                <a:cubicBezTo>
                  <a:pt x="274" y="447"/>
                  <a:pt x="261" y="439"/>
                  <a:pt x="256" y="426"/>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93" name="TextBox 292"/>
          <p:cNvSpPr txBox="1"/>
          <p:nvPr userDrawn="1"/>
        </p:nvSpPr>
        <p:spPr>
          <a:xfrm>
            <a:off x="7572473" y="1251884"/>
            <a:ext cx="693136"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Security</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management</a:t>
            </a:r>
          </a:p>
        </p:txBody>
      </p:sp>
      <p:sp>
        <p:nvSpPr>
          <p:cNvPr id="294" name="Freeform 124"/>
          <p:cNvSpPr>
            <a:spLocks noChangeAspect="1"/>
          </p:cNvSpPr>
          <p:nvPr userDrawn="1"/>
        </p:nvSpPr>
        <p:spPr bwMode="auto">
          <a:xfrm>
            <a:off x="1814149" y="1646520"/>
            <a:ext cx="275369" cy="294894"/>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295" name="TextBox 294"/>
          <p:cNvSpPr txBox="1"/>
          <p:nvPr userDrawn="1"/>
        </p:nvSpPr>
        <p:spPr>
          <a:xfrm>
            <a:off x="1719125" y="1979324"/>
            <a:ext cx="478030"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Electric</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utilities</a:t>
            </a:r>
          </a:p>
        </p:txBody>
      </p:sp>
      <p:sp>
        <p:nvSpPr>
          <p:cNvPr id="296" name="Freeform 116"/>
          <p:cNvSpPr>
            <a:spLocks noChangeAspect="1"/>
          </p:cNvSpPr>
          <p:nvPr userDrawn="1"/>
        </p:nvSpPr>
        <p:spPr bwMode="auto">
          <a:xfrm>
            <a:off x="1121452" y="2873330"/>
            <a:ext cx="289510" cy="294894"/>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297" name="TextBox 296"/>
          <p:cNvSpPr txBox="1"/>
          <p:nvPr userDrawn="1"/>
        </p:nvSpPr>
        <p:spPr>
          <a:xfrm>
            <a:off x="1034325" y="3213500"/>
            <a:ext cx="477026" cy="92333"/>
          </a:xfrm>
          <a:prstGeom prst="rect">
            <a:avLst/>
          </a:prstGeom>
          <a:noFill/>
        </p:spPr>
        <p:txBody>
          <a:bodyPr wrap="square" lIns="0" tIns="0" rIns="0" bIns="0" rtlCol="0" anchor="t" anchorCtr="0">
            <a:spAutoFit/>
          </a:bodyPr>
          <a:lstStyle/>
          <a:p>
            <a:pPr algn="ctr"/>
            <a:r>
              <a:rPr lang="en-US" sz="600" b="1" dirty="0">
                <a:solidFill>
                  <a:srgbClr val="626469"/>
                </a:solidFill>
                <a:latin typeface="Arial" pitchFamily="34" charset="0"/>
                <a:cs typeface="Arial" pitchFamily="34" charset="0"/>
              </a:rPr>
              <a:t>Oil &amp; gas</a:t>
            </a:r>
          </a:p>
        </p:txBody>
      </p:sp>
      <p:sp>
        <p:nvSpPr>
          <p:cNvPr id="298" name="Freeform 88"/>
          <p:cNvSpPr>
            <a:spLocks noChangeAspect="1"/>
          </p:cNvSpPr>
          <p:nvPr userDrawn="1"/>
        </p:nvSpPr>
        <p:spPr bwMode="auto">
          <a:xfrm>
            <a:off x="3173713" y="2295423"/>
            <a:ext cx="387665" cy="253175"/>
          </a:xfrm>
          <a:custGeom>
            <a:avLst/>
            <a:gdLst/>
            <a:ahLst/>
            <a:cxnLst>
              <a:cxn ang="0">
                <a:pos x="224" y="5"/>
              </a:cxn>
              <a:cxn ang="0">
                <a:pos x="221" y="13"/>
              </a:cxn>
              <a:cxn ang="0">
                <a:pos x="221" y="16"/>
              </a:cxn>
              <a:cxn ang="0">
                <a:pos x="227" y="43"/>
              </a:cxn>
              <a:cxn ang="0">
                <a:pos x="225" y="43"/>
              </a:cxn>
              <a:cxn ang="0">
                <a:pos x="216" y="47"/>
              </a:cxn>
              <a:cxn ang="0">
                <a:pos x="212" y="56"/>
              </a:cxn>
              <a:cxn ang="0">
                <a:pos x="212" y="151"/>
              </a:cxn>
              <a:cxn ang="0">
                <a:pos x="173" y="151"/>
              </a:cxn>
              <a:cxn ang="0">
                <a:pos x="107" y="186"/>
              </a:cxn>
              <a:cxn ang="0">
                <a:pos x="106" y="193"/>
              </a:cxn>
              <a:cxn ang="0">
                <a:pos x="112" y="205"/>
              </a:cxn>
              <a:cxn ang="0">
                <a:pos x="130" y="200"/>
              </a:cxn>
              <a:cxn ang="0">
                <a:pos x="173" y="177"/>
              </a:cxn>
              <a:cxn ang="0">
                <a:pos x="226" y="177"/>
              </a:cxn>
              <a:cxn ang="0">
                <a:pos x="235" y="173"/>
              </a:cxn>
              <a:cxn ang="0">
                <a:pos x="239" y="164"/>
              </a:cxn>
              <a:cxn ang="0">
                <a:pos x="239" y="69"/>
              </a:cxn>
              <a:cxn ang="0">
                <a:pos x="244" y="69"/>
              </a:cxn>
              <a:cxn ang="0">
                <a:pos x="254" y="64"/>
              </a:cxn>
              <a:cxn ang="0">
                <a:pos x="257" y="56"/>
              </a:cxn>
              <a:cxn ang="0">
                <a:pos x="257" y="53"/>
              </a:cxn>
              <a:cxn ang="0">
                <a:pos x="251" y="27"/>
              </a:cxn>
              <a:cxn ang="0">
                <a:pos x="264" y="27"/>
              </a:cxn>
              <a:cxn ang="0">
                <a:pos x="275" y="57"/>
              </a:cxn>
              <a:cxn ang="0">
                <a:pos x="287" y="65"/>
              </a:cxn>
              <a:cxn ang="0">
                <a:pos x="298" y="66"/>
              </a:cxn>
              <a:cxn ang="0">
                <a:pos x="353" y="197"/>
              </a:cxn>
              <a:cxn ang="0">
                <a:pos x="365" y="205"/>
              </a:cxn>
              <a:cxn ang="0">
                <a:pos x="421" y="205"/>
              </a:cxn>
              <a:cxn ang="0">
                <a:pos x="390" y="270"/>
              </a:cxn>
              <a:cxn ang="0">
                <a:pos x="49" y="270"/>
              </a:cxn>
              <a:cxn ang="0">
                <a:pos x="29" y="252"/>
              </a:cxn>
              <a:cxn ang="0">
                <a:pos x="28" y="246"/>
              </a:cxn>
              <a:cxn ang="0">
                <a:pos x="28" y="245"/>
              </a:cxn>
              <a:cxn ang="0">
                <a:pos x="252" y="245"/>
              </a:cxn>
              <a:cxn ang="0">
                <a:pos x="323" y="190"/>
              </a:cxn>
              <a:cxn ang="0">
                <a:pos x="310" y="177"/>
              </a:cxn>
              <a:cxn ang="0">
                <a:pos x="297" y="190"/>
              </a:cxn>
              <a:cxn ang="0">
                <a:pos x="252" y="219"/>
              </a:cxn>
              <a:cxn ang="0">
                <a:pos x="18" y="219"/>
              </a:cxn>
              <a:cxn ang="0">
                <a:pos x="5" y="227"/>
              </a:cxn>
              <a:cxn ang="0">
                <a:pos x="4" y="262"/>
              </a:cxn>
              <a:cxn ang="0">
                <a:pos x="41" y="296"/>
              </a:cxn>
              <a:cxn ang="0">
                <a:pos x="46" y="297"/>
              </a:cxn>
              <a:cxn ang="0">
                <a:pos x="398" y="297"/>
              </a:cxn>
              <a:cxn ang="0">
                <a:pos x="410" y="289"/>
              </a:cxn>
              <a:cxn ang="0">
                <a:pos x="454" y="197"/>
              </a:cxn>
              <a:cxn ang="0">
                <a:pos x="453" y="185"/>
              </a:cxn>
              <a:cxn ang="0">
                <a:pos x="442" y="178"/>
              </a:cxn>
              <a:cxn ang="0">
                <a:pos x="374" y="178"/>
              </a:cxn>
              <a:cxn ang="0">
                <a:pos x="319" y="48"/>
              </a:cxn>
              <a:cxn ang="0">
                <a:pos x="308" y="40"/>
              </a:cxn>
              <a:cxn ang="0">
                <a:pos x="297" y="39"/>
              </a:cxn>
              <a:cxn ang="0">
                <a:pos x="286" y="9"/>
              </a:cxn>
              <a:cxn ang="0">
                <a:pos x="274" y="1"/>
              </a:cxn>
              <a:cxn ang="0">
                <a:pos x="234" y="0"/>
              </a:cxn>
              <a:cxn ang="0">
                <a:pos x="224" y="5"/>
              </a:cxn>
            </a:cxnLst>
            <a:rect l="0" t="0" r="r" b="b"/>
            <a:pathLst>
              <a:path w="456" h="297">
                <a:moveTo>
                  <a:pt x="224" y="5"/>
                </a:moveTo>
                <a:cubicBezTo>
                  <a:pt x="222" y="7"/>
                  <a:pt x="221" y="10"/>
                  <a:pt x="221" y="13"/>
                </a:cubicBezTo>
                <a:cubicBezTo>
                  <a:pt x="221" y="14"/>
                  <a:pt x="221" y="15"/>
                  <a:pt x="221" y="16"/>
                </a:cubicBezTo>
                <a:cubicBezTo>
                  <a:pt x="221" y="16"/>
                  <a:pt x="224" y="30"/>
                  <a:pt x="227" y="43"/>
                </a:cubicBezTo>
                <a:cubicBezTo>
                  <a:pt x="227" y="43"/>
                  <a:pt x="225" y="43"/>
                  <a:pt x="225" y="43"/>
                </a:cubicBezTo>
                <a:cubicBezTo>
                  <a:pt x="222" y="43"/>
                  <a:pt x="218" y="44"/>
                  <a:pt x="216" y="47"/>
                </a:cubicBezTo>
                <a:cubicBezTo>
                  <a:pt x="213" y="49"/>
                  <a:pt x="212" y="53"/>
                  <a:pt x="212" y="56"/>
                </a:cubicBezTo>
                <a:cubicBezTo>
                  <a:pt x="212" y="56"/>
                  <a:pt x="212" y="130"/>
                  <a:pt x="212" y="151"/>
                </a:cubicBezTo>
                <a:cubicBezTo>
                  <a:pt x="198" y="151"/>
                  <a:pt x="173" y="151"/>
                  <a:pt x="173" y="151"/>
                </a:cubicBezTo>
                <a:cubicBezTo>
                  <a:pt x="155" y="151"/>
                  <a:pt x="122" y="162"/>
                  <a:pt x="107" y="186"/>
                </a:cubicBezTo>
                <a:cubicBezTo>
                  <a:pt x="106" y="189"/>
                  <a:pt x="106" y="191"/>
                  <a:pt x="106" y="193"/>
                </a:cubicBezTo>
                <a:cubicBezTo>
                  <a:pt x="106" y="198"/>
                  <a:pt x="108" y="202"/>
                  <a:pt x="112" y="205"/>
                </a:cubicBezTo>
                <a:cubicBezTo>
                  <a:pt x="119" y="208"/>
                  <a:pt x="127" y="206"/>
                  <a:pt x="130" y="200"/>
                </a:cubicBezTo>
                <a:cubicBezTo>
                  <a:pt x="138" y="186"/>
                  <a:pt x="161" y="177"/>
                  <a:pt x="173" y="177"/>
                </a:cubicBezTo>
                <a:cubicBezTo>
                  <a:pt x="226" y="177"/>
                  <a:pt x="226" y="177"/>
                  <a:pt x="226" y="177"/>
                </a:cubicBezTo>
                <a:cubicBezTo>
                  <a:pt x="229" y="177"/>
                  <a:pt x="233" y="176"/>
                  <a:pt x="235" y="173"/>
                </a:cubicBezTo>
                <a:cubicBezTo>
                  <a:pt x="238" y="171"/>
                  <a:pt x="239" y="168"/>
                  <a:pt x="239" y="164"/>
                </a:cubicBezTo>
                <a:cubicBezTo>
                  <a:pt x="239" y="164"/>
                  <a:pt x="239" y="90"/>
                  <a:pt x="239" y="69"/>
                </a:cubicBezTo>
                <a:cubicBezTo>
                  <a:pt x="241" y="69"/>
                  <a:pt x="244" y="69"/>
                  <a:pt x="244" y="69"/>
                </a:cubicBezTo>
                <a:cubicBezTo>
                  <a:pt x="248" y="69"/>
                  <a:pt x="252" y="67"/>
                  <a:pt x="254" y="64"/>
                </a:cubicBezTo>
                <a:cubicBezTo>
                  <a:pt x="256" y="62"/>
                  <a:pt x="257" y="59"/>
                  <a:pt x="257" y="56"/>
                </a:cubicBezTo>
                <a:cubicBezTo>
                  <a:pt x="257" y="55"/>
                  <a:pt x="257" y="54"/>
                  <a:pt x="257" y="53"/>
                </a:cubicBezTo>
                <a:cubicBezTo>
                  <a:pt x="257" y="53"/>
                  <a:pt x="253" y="39"/>
                  <a:pt x="251" y="27"/>
                </a:cubicBezTo>
                <a:cubicBezTo>
                  <a:pt x="257" y="27"/>
                  <a:pt x="260" y="27"/>
                  <a:pt x="264" y="27"/>
                </a:cubicBezTo>
                <a:cubicBezTo>
                  <a:pt x="268" y="37"/>
                  <a:pt x="275" y="57"/>
                  <a:pt x="275" y="57"/>
                </a:cubicBezTo>
                <a:cubicBezTo>
                  <a:pt x="277" y="62"/>
                  <a:pt x="281" y="65"/>
                  <a:pt x="287" y="65"/>
                </a:cubicBezTo>
                <a:cubicBezTo>
                  <a:pt x="287" y="65"/>
                  <a:pt x="293" y="66"/>
                  <a:pt x="298" y="66"/>
                </a:cubicBezTo>
                <a:cubicBezTo>
                  <a:pt x="304" y="80"/>
                  <a:pt x="353" y="197"/>
                  <a:pt x="353" y="197"/>
                </a:cubicBezTo>
                <a:cubicBezTo>
                  <a:pt x="355" y="202"/>
                  <a:pt x="360" y="205"/>
                  <a:pt x="365" y="205"/>
                </a:cubicBezTo>
                <a:cubicBezTo>
                  <a:pt x="365" y="205"/>
                  <a:pt x="399" y="205"/>
                  <a:pt x="421" y="205"/>
                </a:cubicBezTo>
                <a:cubicBezTo>
                  <a:pt x="411" y="226"/>
                  <a:pt x="395" y="260"/>
                  <a:pt x="390" y="270"/>
                </a:cubicBezTo>
                <a:cubicBezTo>
                  <a:pt x="374" y="270"/>
                  <a:pt x="55" y="270"/>
                  <a:pt x="49" y="270"/>
                </a:cubicBezTo>
                <a:cubicBezTo>
                  <a:pt x="43" y="267"/>
                  <a:pt x="33" y="261"/>
                  <a:pt x="29" y="252"/>
                </a:cubicBezTo>
                <a:cubicBezTo>
                  <a:pt x="28" y="250"/>
                  <a:pt x="28" y="248"/>
                  <a:pt x="28" y="246"/>
                </a:cubicBezTo>
                <a:cubicBezTo>
                  <a:pt x="28" y="245"/>
                  <a:pt x="28" y="245"/>
                  <a:pt x="28" y="245"/>
                </a:cubicBezTo>
                <a:cubicBezTo>
                  <a:pt x="47" y="245"/>
                  <a:pt x="252" y="245"/>
                  <a:pt x="252" y="245"/>
                </a:cubicBezTo>
                <a:cubicBezTo>
                  <a:pt x="286" y="245"/>
                  <a:pt x="323" y="226"/>
                  <a:pt x="323" y="190"/>
                </a:cubicBezTo>
                <a:cubicBezTo>
                  <a:pt x="323" y="183"/>
                  <a:pt x="317" y="177"/>
                  <a:pt x="310" y="177"/>
                </a:cubicBezTo>
                <a:cubicBezTo>
                  <a:pt x="303" y="177"/>
                  <a:pt x="297" y="183"/>
                  <a:pt x="297" y="190"/>
                </a:cubicBezTo>
                <a:cubicBezTo>
                  <a:pt x="297" y="210"/>
                  <a:pt x="270" y="219"/>
                  <a:pt x="252" y="219"/>
                </a:cubicBezTo>
                <a:cubicBezTo>
                  <a:pt x="18" y="219"/>
                  <a:pt x="18" y="219"/>
                  <a:pt x="18" y="219"/>
                </a:cubicBezTo>
                <a:cubicBezTo>
                  <a:pt x="12" y="219"/>
                  <a:pt x="8" y="222"/>
                  <a:pt x="5" y="227"/>
                </a:cubicBezTo>
                <a:cubicBezTo>
                  <a:pt x="0" y="238"/>
                  <a:pt x="0" y="251"/>
                  <a:pt x="4" y="262"/>
                </a:cubicBezTo>
                <a:cubicBezTo>
                  <a:pt x="13" y="284"/>
                  <a:pt x="38" y="294"/>
                  <a:pt x="41" y="296"/>
                </a:cubicBezTo>
                <a:cubicBezTo>
                  <a:pt x="43" y="296"/>
                  <a:pt x="44" y="297"/>
                  <a:pt x="46" y="297"/>
                </a:cubicBezTo>
                <a:cubicBezTo>
                  <a:pt x="398" y="297"/>
                  <a:pt x="398" y="297"/>
                  <a:pt x="398" y="297"/>
                </a:cubicBezTo>
                <a:cubicBezTo>
                  <a:pt x="403" y="297"/>
                  <a:pt x="408" y="294"/>
                  <a:pt x="410" y="289"/>
                </a:cubicBezTo>
                <a:cubicBezTo>
                  <a:pt x="454" y="197"/>
                  <a:pt x="454" y="197"/>
                  <a:pt x="454" y="197"/>
                </a:cubicBezTo>
                <a:cubicBezTo>
                  <a:pt x="456" y="193"/>
                  <a:pt x="456" y="188"/>
                  <a:pt x="453" y="185"/>
                </a:cubicBezTo>
                <a:cubicBezTo>
                  <a:pt x="451" y="181"/>
                  <a:pt x="447" y="178"/>
                  <a:pt x="442" y="178"/>
                </a:cubicBezTo>
                <a:cubicBezTo>
                  <a:pt x="442" y="178"/>
                  <a:pt x="388" y="178"/>
                  <a:pt x="374" y="178"/>
                </a:cubicBezTo>
                <a:cubicBezTo>
                  <a:pt x="368" y="164"/>
                  <a:pt x="319" y="48"/>
                  <a:pt x="319" y="48"/>
                </a:cubicBezTo>
                <a:cubicBezTo>
                  <a:pt x="317" y="44"/>
                  <a:pt x="313" y="41"/>
                  <a:pt x="308" y="40"/>
                </a:cubicBezTo>
                <a:cubicBezTo>
                  <a:pt x="308" y="40"/>
                  <a:pt x="303" y="40"/>
                  <a:pt x="297" y="39"/>
                </a:cubicBezTo>
                <a:cubicBezTo>
                  <a:pt x="293" y="29"/>
                  <a:pt x="286" y="9"/>
                  <a:pt x="286" y="9"/>
                </a:cubicBezTo>
                <a:cubicBezTo>
                  <a:pt x="284" y="4"/>
                  <a:pt x="279" y="1"/>
                  <a:pt x="274" y="1"/>
                </a:cubicBezTo>
                <a:cubicBezTo>
                  <a:pt x="234" y="0"/>
                  <a:pt x="234" y="0"/>
                  <a:pt x="234" y="0"/>
                </a:cubicBezTo>
                <a:cubicBezTo>
                  <a:pt x="230" y="0"/>
                  <a:pt x="226" y="2"/>
                  <a:pt x="224" y="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299" name="TextBox 298"/>
          <p:cNvSpPr txBox="1"/>
          <p:nvPr userDrawn="1"/>
        </p:nvSpPr>
        <p:spPr>
          <a:xfrm>
            <a:off x="3131398" y="2597682"/>
            <a:ext cx="477026" cy="92333"/>
          </a:xfrm>
          <a:prstGeom prst="rect">
            <a:avLst/>
          </a:prstGeom>
          <a:noFill/>
        </p:spPr>
        <p:txBody>
          <a:bodyPr wrap="square" lIns="0" tIns="0" rIns="0" bIns="0" rtlCol="0" anchor="t" anchorCtr="0">
            <a:spAutoFit/>
          </a:bodyPr>
          <a:lstStyle/>
          <a:p>
            <a:pPr algn="ctr"/>
            <a:r>
              <a:rPr lang="en-US" sz="600" b="1" dirty="0">
                <a:solidFill>
                  <a:srgbClr val="626469"/>
                </a:solidFill>
                <a:latin typeface="Arial" pitchFamily="34" charset="0"/>
                <a:cs typeface="Arial" pitchFamily="34" charset="0"/>
              </a:rPr>
              <a:t>Marine</a:t>
            </a:r>
          </a:p>
        </p:txBody>
      </p:sp>
      <p:sp>
        <p:nvSpPr>
          <p:cNvPr id="300" name="Freeform 220"/>
          <p:cNvSpPr>
            <a:spLocks noChangeAspect="1"/>
          </p:cNvSpPr>
          <p:nvPr userDrawn="1"/>
        </p:nvSpPr>
        <p:spPr bwMode="auto">
          <a:xfrm>
            <a:off x="2453738" y="2925165"/>
            <a:ext cx="439940" cy="243058"/>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01" name="TextBox 300"/>
          <p:cNvSpPr txBox="1"/>
          <p:nvPr userDrawn="1"/>
        </p:nvSpPr>
        <p:spPr>
          <a:xfrm>
            <a:off x="2239463" y="3213500"/>
            <a:ext cx="844959" cy="92333"/>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Transportation</a:t>
            </a:r>
          </a:p>
        </p:txBody>
      </p:sp>
      <p:sp>
        <p:nvSpPr>
          <p:cNvPr id="302" name="Freeform 76"/>
          <p:cNvSpPr>
            <a:spLocks noChangeAspect="1"/>
          </p:cNvSpPr>
          <p:nvPr userDrawn="1"/>
        </p:nvSpPr>
        <p:spPr bwMode="auto">
          <a:xfrm>
            <a:off x="3202127" y="2873330"/>
            <a:ext cx="320870" cy="294894"/>
          </a:xfrm>
          <a:custGeom>
            <a:avLst/>
            <a:gdLst/>
            <a:ahLst/>
            <a:cxnLst>
              <a:cxn ang="0">
                <a:pos x="34" y="40"/>
              </a:cxn>
              <a:cxn ang="0">
                <a:pos x="74" y="80"/>
              </a:cxn>
              <a:cxn ang="0">
                <a:pos x="101" y="80"/>
              </a:cxn>
              <a:cxn ang="0">
                <a:pos x="101" y="129"/>
              </a:cxn>
              <a:cxn ang="0">
                <a:pos x="12" y="129"/>
              </a:cxn>
              <a:cxn ang="0">
                <a:pos x="0" y="141"/>
              </a:cxn>
              <a:cxn ang="0">
                <a:pos x="12" y="154"/>
              </a:cxn>
              <a:cxn ang="0">
                <a:pos x="113" y="154"/>
              </a:cxn>
              <a:cxn ang="0">
                <a:pos x="125" y="141"/>
              </a:cxn>
              <a:cxn ang="0">
                <a:pos x="125" y="68"/>
              </a:cxn>
              <a:cxn ang="0">
                <a:pos x="121" y="59"/>
              </a:cxn>
              <a:cxn ang="0">
                <a:pos x="113" y="55"/>
              </a:cxn>
              <a:cxn ang="0">
                <a:pos x="74" y="56"/>
              </a:cxn>
              <a:cxn ang="0">
                <a:pos x="59" y="40"/>
              </a:cxn>
              <a:cxn ang="0">
                <a:pos x="74" y="25"/>
              </a:cxn>
              <a:cxn ang="0">
                <a:pos x="192" y="25"/>
              </a:cxn>
              <a:cxn ang="0">
                <a:pos x="207" y="40"/>
              </a:cxn>
              <a:cxn ang="0">
                <a:pos x="192" y="56"/>
              </a:cxn>
              <a:cxn ang="0">
                <a:pos x="153" y="56"/>
              </a:cxn>
              <a:cxn ang="0">
                <a:pos x="144" y="59"/>
              </a:cxn>
              <a:cxn ang="0">
                <a:pos x="141" y="68"/>
              </a:cxn>
              <a:cxn ang="0">
                <a:pos x="141" y="140"/>
              </a:cxn>
              <a:cxn ang="0">
                <a:pos x="153" y="153"/>
              </a:cxn>
              <a:cxn ang="0">
                <a:pos x="198" y="153"/>
              </a:cxn>
              <a:cxn ang="0">
                <a:pos x="288" y="243"/>
              </a:cxn>
              <a:cxn ang="0">
                <a:pos x="288" y="264"/>
              </a:cxn>
              <a:cxn ang="0">
                <a:pos x="234" y="264"/>
              </a:cxn>
              <a:cxn ang="0">
                <a:pos x="234" y="243"/>
              </a:cxn>
              <a:cxn ang="0">
                <a:pos x="198" y="207"/>
              </a:cxn>
              <a:cxn ang="0">
                <a:pos x="12" y="207"/>
              </a:cxn>
              <a:cxn ang="0">
                <a:pos x="0" y="220"/>
              </a:cxn>
              <a:cxn ang="0">
                <a:pos x="12" y="232"/>
              </a:cxn>
              <a:cxn ang="0">
                <a:pos x="198" y="232"/>
              </a:cxn>
              <a:cxn ang="0">
                <a:pos x="209" y="243"/>
              </a:cxn>
              <a:cxn ang="0">
                <a:pos x="209" y="276"/>
              </a:cxn>
              <a:cxn ang="0">
                <a:pos x="221" y="288"/>
              </a:cxn>
              <a:cxn ang="0">
                <a:pos x="301" y="288"/>
              </a:cxn>
              <a:cxn ang="0">
                <a:pos x="313" y="276"/>
              </a:cxn>
              <a:cxn ang="0">
                <a:pos x="313" y="243"/>
              </a:cxn>
              <a:cxn ang="0">
                <a:pos x="198" y="128"/>
              </a:cxn>
              <a:cxn ang="0">
                <a:pos x="165" y="128"/>
              </a:cxn>
              <a:cxn ang="0">
                <a:pos x="165" y="80"/>
              </a:cxn>
              <a:cxn ang="0">
                <a:pos x="192" y="80"/>
              </a:cxn>
              <a:cxn ang="0">
                <a:pos x="232" y="40"/>
              </a:cxn>
              <a:cxn ang="0">
                <a:pos x="192" y="0"/>
              </a:cxn>
              <a:cxn ang="0">
                <a:pos x="74" y="0"/>
              </a:cxn>
              <a:cxn ang="0">
                <a:pos x="34" y="40"/>
              </a:cxn>
            </a:cxnLst>
            <a:rect l="0" t="0" r="r" b="b"/>
            <a:pathLst>
              <a:path w="313" h="288">
                <a:moveTo>
                  <a:pt x="34" y="40"/>
                </a:moveTo>
                <a:cubicBezTo>
                  <a:pt x="34" y="62"/>
                  <a:pt x="52" y="80"/>
                  <a:pt x="74" y="80"/>
                </a:cubicBezTo>
                <a:cubicBezTo>
                  <a:pt x="74" y="80"/>
                  <a:pt x="89" y="80"/>
                  <a:pt x="101" y="80"/>
                </a:cubicBezTo>
                <a:cubicBezTo>
                  <a:pt x="101" y="94"/>
                  <a:pt x="101" y="115"/>
                  <a:pt x="101" y="129"/>
                </a:cubicBezTo>
                <a:cubicBezTo>
                  <a:pt x="82" y="129"/>
                  <a:pt x="12" y="129"/>
                  <a:pt x="12" y="129"/>
                </a:cubicBezTo>
                <a:cubicBezTo>
                  <a:pt x="5" y="129"/>
                  <a:pt x="0" y="135"/>
                  <a:pt x="0" y="141"/>
                </a:cubicBezTo>
                <a:cubicBezTo>
                  <a:pt x="0" y="148"/>
                  <a:pt x="5" y="154"/>
                  <a:pt x="12" y="154"/>
                </a:cubicBezTo>
                <a:cubicBezTo>
                  <a:pt x="113" y="154"/>
                  <a:pt x="113" y="154"/>
                  <a:pt x="113" y="154"/>
                </a:cubicBezTo>
                <a:cubicBezTo>
                  <a:pt x="120" y="154"/>
                  <a:pt x="125" y="148"/>
                  <a:pt x="125" y="141"/>
                </a:cubicBezTo>
                <a:cubicBezTo>
                  <a:pt x="125" y="68"/>
                  <a:pt x="125" y="68"/>
                  <a:pt x="125" y="68"/>
                </a:cubicBezTo>
                <a:cubicBezTo>
                  <a:pt x="125" y="64"/>
                  <a:pt x="124" y="61"/>
                  <a:pt x="121" y="59"/>
                </a:cubicBezTo>
                <a:cubicBezTo>
                  <a:pt x="119" y="57"/>
                  <a:pt x="116" y="55"/>
                  <a:pt x="113" y="55"/>
                </a:cubicBezTo>
                <a:cubicBezTo>
                  <a:pt x="74" y="56"/>
                  <a:pt x="74" y="56"/>
                  <a:pt x="74" y="56"/>
                </a:cubicBezTo>
                <a:cubicBezTo>
                  <a:pt x="66" y="56"/>
                  <a:pt x="59" y="49"/>
                  <a:pt x="59" y="40"/>
                </a:cubicBezTo>
                <a:cubicBezTo>
                  <a:pt x="59" y="32"/>
                  <a:pt x="66" y="25"/>
                  <a:pt x="74" y="25"/>
                </a:cubicBezTo>
                <a:cubicBezTo>
                  <a:pt x="192" y="25"/>
                  <a:pt x="192" y="25"/>
                  <a:pt x="192" y="25"/>
                </a:cubicBezTo>
                <a:cubicBezTo>
                  <a:pt x="200" y="25"/>
                  <a:pt x="207" y="32"/>
                  <a:pt x="207" y="40"/>
                </a:cubicBezTo>
                <a:cubicBezTo>
                  <a:pt x="207" y="49"/>
                  <a:pt x="200" y="56"/>
                  <a:pt x="192" y="56"/>
                </a:cubicBezTo>
                <a:cubicBezTo>
                  <a:pt x="192" y="56"/>
                  <a:pt x="153" y="56"/>
                  <a:pt x="153" y="56"/>
                </a:cubicBezTo>
                <a:cubicBezTo>
                  <a:pt x="150" y="56"/>
                  <a:pt x="147" y="57"/>
                  <a:pt x="144" y="59"/>
                </a:cubicBezTo>
                <a:cubicBezTo>
                  <a:pt x="142" y="62"/>
                  <a:pt x="141" y="65"/>
                  <a:pt x="141" y="68"/>
                </a:cubicBezTo>
                <a:cubicBezTo>
                  <a:pt x="141" y="140"/>
                  <a:pt x="141" y="140"/>
                  <a:pt x="141" y="140"/>
                </a:cubicBezTo>
                <a:cubicBezTo>
                  <a:pt x="141" y="147"/>
                  <a:pt x="146" y="153"/>
                  <a:pt x="153" y="153"/>
                </a:cubicBezTo>
                <a:cubicBezTo>
                  <a:pt x="198" y="153"/>
                  <a:pt x="198" y="153"/>
                  <a:pt x="198" y="153"/>
                </a:cubicBezTo>
                <a:cubicBezTo>
                  <a:pt x="248" y="153"/>
                  <a:pt x="288" y="193"/>
                  <a:pt x="288" y="243"/>
                </a:cubicBezTo>
                <a:cubicBezTo>
                  <a:pt x="288" y="243"/>
                  <a:pt x="288" y="254"/>
                  <a:pt x="288" y="264"/>
                </a:cubicBezTo>
                <a:cubicBezTo>
                  <a:pt x="274" y="264"/>
                  <a:pt x="248" y="264"/>
                  <a:pt x="234" y="264"/>
                </a:cubicBezTo>
                <a:cubicBezTo>
                  <a:pt x="234" y="254"/>
                  <a:pt x="234" y="243"/>
                  <a:pt x="234" y="243"/>
                </a:cubicBezTo>
                <a:cubicBezTo>
                  <a:pt x="234" y="223"/>
                  <a:pt x="218" y="207"/>
                  <a:pt x="198" y="207"/>
                </a:cubicBezTo>
                <a:cubicBezTo>
                  <a:pt x="12" y="207"/>
                  <a:pt x="12" y="207"/>
                  <a:pt x="12" y="207"/>
                </a:cubicBezTo>
                <a:cubicBezTo>
                  <a:pt x="5" y="207"/>
                  <a:pt x="0" y="213"/>
                  <a:pt x="0" y="220"/>
                </a:cubicBezTo>
                <a:cubicBezTo>
                  <a:pt x="0" y="227"/>
                  <a:pt x="5" y="232"/>
                  <a:pt x="12" y="232"/>
                </a:cubicBezTo>
                <a:cubicBezTo>
                  <a:pt x="198" y="232"/>
                  <a:pt x="198" y="232"/>
                  <a:pt x="198" y="232"/>
                </a:cubicBezTo>
                <a:cubicBezTo>
                  <a:pt x="204" y="232"/>
                  <a:pt x="209" y="237"/>
                  <a:pt x="209" y="243"/>
                </a:cubicBezTo>
                <a:cubicBezTo>
                  <a:pt x="209" y="243"/>
                  <a:pt x="209" y="276"/>
                  <a:pt x="209" y="276"/>
                </a:cubicBezTo>
                <a:cubicBezTo>
                  <a:pt x="209" y="283"/>
                  <a:pt x="215" y="288"/>
                  <a:pt x="221" y="288"/>
                </a:cubicBezTo>
                <a:cubicBezTo>
                  <a:pt x="301" y="288"/>
                  <a:pt x="301" y="288"/>
                  <a:pt x="301" y="288"/>
                </a:cubicBezTo>
                <a:cubicBezTo>
                  <a:pt x="307" y="288"/>
                  <a:pt x="313" y="283"/>
                  <a:pt x="313" y="276"/>
                </a:cubicBezTo>
                <a:cubicBezTo>
                  <a:pt x="313" y="243"/>
                  <a:pt x="313" y="243"/>
                  <a:pt x="313" y="243"/>
                </a:cubicBezTo>
                <a:cubicBezTo>
                  <a:pt x="313" y="180"/>
                  <a:pt x="261" y="128"/>
                  <a:pt x="198" y="128"/>
                </a:cubicBezTo>
                <a:cubicBezTo>
                  <a:pt x="198" y="128"/>
                  <a:pt x="179" y="128"/>
                  <a:pt x="165" y="128"/>
                </a:cubicBezTo>
                <a:cubicBezTo>
                  <a:pt x="165" y="115"/>
                  <a:pt x="165" y="94"/>
                  <a:pt x="165" y="80"/>
                </a:cubicBezTo>
                <a:cubicBezTo>
                  <a:pt x="177" y="80"/>
                  <a:pt x="192" y="80"/>
                  <a:pt x="192" y="80"/>
                </a:cubicBezTo>
                <a:cubicBezTo>
                  <a:pt x="214" y="80"/>
                  <a:pt x="232" y="63"/>
                  <a:pt x="232" y="40"/>
                </a:cubicBezTo>
                <a:cubicBezTo>
                  <a:pt x="232" y="18"/>
                  <a:pt x="214" y="0"/>
                  <a:pt x="192" y="0"/>
                </a:cubicBezTo>
                <a:cubicBezTo>
                  <a:pt x="192" y="0"/>
                  <a:pt x="74" y="0"/>
                  <a:pt x="74" y="0"/>
                </a:cubicBezTo>
                <a:cubicBezTo>
                  <a:pt x="52" y="0"/>
                  <a:pt x="34" y="18"/>
                  <a:pt x="34" y="4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03" name="TextBox 302"/>
          <p:cNvSpPr txBox="1"/>
          <p:nvPr userDrawn="1"/>
        </p:nvSpPr>
        <p:spPr>
          <a:xfrm>
            <a:off x="2961609" y="3213500"/>
            <a:ext cx="816603"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Water &amp; </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waste water</a:t>
            </a:r>
          </a:p>
        </p:txBody>
      </p:sp>
      <p:sp>
        <p:nvSpPr>
          <p:cNvPr id="304" name="Freeform 120"/>
          <p:cNvSpPr>
            <a:spLocks noChangeAspect="1"/>
          </p:cNvSpPr>
          <p:nvPr userDrawn="1"/>
        </p:nvSpPr>
        <p:spPr bwMode="auto">
          <a:xfrm>
            <a:off x="3897120" y="2253704"/>
            <a:ext cx="355355" cy="272211"/>
          </a:xfrm>
          <a:custGeom>
            <a:avLst/>
            <a:gdLst/>
            <a:ahLst/>
            <a:cxnLst>
              <a:cxn ang="0">
                <a:pos x="344" y="10"/>
              </a:cxn>
              <a:cxn ang="0">
                <a:pos x="334" y="27"/>
              </a:cxn>
              <a:cxn ang="0">
                <a:pos x="160" y="118"/>
              </a:cxn>
              <a:cxn ang="0">
                <a:pos x="55" y="128"/>
              </a:cxn>
              <a:cxn ang="0">
                <a:pos x="35" y="237"/>
              </a:cxn>
              <a:cxn ang="0">
                <a:pos x="97" y="259"/>
              </a:cxn>
              <a:cxn ang="0">
                <a:pos x="34" y="263"/>
              </a:cxn>
              <a:cxn ang="0">
                <a:pos x="34" y="333"/>
              </a:cxn>
              <a:cxn ang="0">
                <a:pos x="292" y="298"/>
              </a:cxn>
              <a:cxn ang="0">
                <a:pos x="201" y="263"/>
              </a:cxn>
              <a:cxn ang="0">
                <a:pos x="204" y="259"/>
              </a:cxn>
              <a:cxn ang="0">
                <a:pos x="217" y="167"/>
              </a:cxn>
              <a:cxn ang="0">
                <a:pos x="269" y="106"/>
              </a:cxn>
              <a:cxn ang="0">
                <a:pos x="350" y="73"/>
              </a:cxn>
              <a:cxn ang="0">
                <a:pos x="333" y="60"/>
              </a:cxn>
              <a:cxn ang="0">
                <a:pos x="259" y="81"/>
              </a:cxn>
              <a:cxn ang="0">
                <a:pos x="198" y="142"/>
              </a:cxn>
              <a:cxn ang="0">
                <a:pos x="189" y="166"/>
              </a:cxn>
              <a:cxn ang="0">
                <a:pos x="198" y="232"/>
              </a:cxn>
              <a:cxn ang="0">
                <a:pos x="175" y="246"/>
              </a:cxn>
              <a:cxn ang="0">
                <a:pos x="188" y="290"/>
              </a:cxn>
              <a:cxn ang="0">
                <a:pos x="265" y="298"/>
              </a:cxn>
              <a:cxn ang="0">
                <a:pos x="34" y="306"/>
              </a:cxn>
              <a:cxn ang="0">
                <a:pos x="34" y="290"/>
              </a:cxn>
              <a:cxn ang="0">
                <a:pos x="123" y="277"/>
              </a:cxn>
              <a:cxn ang="0">
                <a:pos x="110" y="232"/>
              </a:cxn>
              <a:cxn ang="0">
                <a:pos x="61" y="155"/>
              </a:cxn>
              <a:cxn ang="0">
                <a:pos x="181" y="145"/>
              </a:cxn>
              <a:cxn ang="0">
                <a:pos x="233" y="77"/>
              </a:cxn>
              <a:cxn ang="0">
                <a:pos x="348" y="50"/>
              </a:cxn>
              <a:cxn ang="0">
                <a:pos x="354" y="45"/>
              </a:cxn>
              <a:cxn ang="0">
                <a:pos x="371" y="41"/>
              </a:cxn>
              <a:cxn ang="0">
                <a:pos x="388" y="175"/>
              </a:cxn>
              <a:cxn ang="0">
                <a:pos x="405" y="190"/>
              </a:cxn>
              <a:cxn ang="0">
                <a:pos x="404" y="201"/>
              </a:cxn>
              <a:cxn ang="0">
                <a:pos x="394" y="209"/>
              </a:cxn>
              <a:cxn ang="0">
                <a:pos x="330" y="245"/>
              </a:cxn>
              <a:cxn ang="0">
                <a:pos x="348" y="257"/>
              </a:cxn>
              <a:cxn ang="0">
                <a:pos x="403" y="234"/>
              </a:cxn>
              <a:cxn ang="0">
                <a:pos x="433" y="194"/>
              </a:cxn>
              <a:cxn ang="0">
                <a:pos x="411" y="156"/>
              </a:cxn>
              <a:cxn ang="0">
                <a:pos x="406" y="154"/>
              </a:cxn>
              <a:cxn ang="0">
                <a:pos x="393" y="25"/>
              </a:cxn>
              <a:cxn ang="0">
                <a:pos x="374" y="6"/>
              </a:cxn>
            </a:cxnLst>
            <a:rect l="0" t="0" r="r" b="b"/>
            <a:pathLst>
              <a:path w="433" h="333">
                <a:moveTo>
                  <a:pt x="358" y="0"/>
                </a:moveTo>
                <a:cubicBezTo>
                  <a:pt x="351" y="1"/>
                  <a:pt x="346" y="6"/>
                  <a:pt x="344" y="10"/>
                </a:cubicBezTo>
                <a:cubicBezTo>
                  <a:pt x="344" y="10"/>
                  <a:pt x="345" y="9"/>
                  <a:pt x="345" y="9"/>
                </a:cubicBezTo>
                <a:cubicBezTo>
                  <a:pt x="345" y="9"/>
                  <a:pt x="337" y="21"/>
                  <a:pt x="334" y="27"/>
                </a:cubicBezTo>
                <a:cubicBezTo>
                  <a:pt x="325" y="29"/>
                  <a:pt x="227" y="51"/>
                  <a:pt x="227" y="51"/>
                </a:cubicBezTo>
                <a:cubicBezTo>
                  <a:pt x="192" y="60"/>
                  <a:pt x="169" y="82"/>
                  <a:pt x="160" y="118"/>
                </a:cubicBezTo>
                <a:cubicBezTo>
                  <a:pt x="160" y="118"/>
                  <a:pt x="159" y="123"/>
                  <a:pt x="157" y="128"/>
                </a:cubicBezTo>
                <a:cubicBezTo>
                  <a:pt x="140" y="128"/>
                  <a:pt x="55" y="128"/>
                  <a:pt x="55" y="128"/>
                </a:cubicBezTo>
                <a:cubicBezTo>
                  <a:pt x="44" y="128"/>
                  <a:pt x="35" y="137"/>
                  <a:pt x="35" y="148"/>
                </a:cubicBezTo>
                <a:cubicBezTo>
                  <a:pt x="35" y="148"/>
                  <a:pt x="35" y="237"/>
                  <a:pt x="35" y="237"/>
                </a:cubicBezTo>
                <a:cubicBezTo>
                  <a:pt x="35" y="249"/>
                  <a:pt x="44" y="259"/>
                  <a:pt x="56" y="259"/>
                </a:cubicBezTo>
                <a:cubicBezTo>
                  <a:pt x="56" y="259"/>
                  <a:pt x="82" y="259"/>
                  <a:pt x="97" y="259"/>
                </a:cubicBezTo>
                <a:cubicBezTo>
                  <a:pt x="97" y="261"/>
                  <a:pt x="97" y="261"/>
                  <a:pt x="97" y="263"/>
                </a:cubicBezTo>
                <a:cubicBezTo>
                  <a:pt x="78" y="263"/>
                  <a:pt x="34" y="263"/>
                  <a:pt x="34" y="263"/>
                </a:cubicBezTo>
                <a:cubicBezTo>
                  <a:pt x="15" y="263"/>
                  <a:pt x="0" y="279"/>
                  <a:pt x="0" y="298"/>
                </a:cubicBezTo>
                <a:cubicBezTo>
                  <a:pt x="0" y="317"/>
                  <a:pt x="15" y="333"/>
                  <a:pt x="34" y="333"/>
                </a:cubicBezTo>
                <a:cubicBezTo>
                  <a:pt x="257" y="333"/>
                  <a:pt x="257" y="333"/>
                  <a:pt x="257" y="333"/>
                </a:cubicBezTo>
                <a:cubicBezTo>
                  <a:pt x="277" y="333"/>
                  <a:pt x="292" y="317"/>
                  <a:pt x="292" y="298"/>
                </a:cubicBezTo>
                <a:cubicBezTo>
                  <a:pt x="292" y="279"/>
                  <a:pt x="277" y="263"/>
                  <a:pt x="257" y="263"/>
                </a:cubicBezTo>
                <a:cubicBezTo>
                  <a:pt x="257" y="263"/>
                  <a:pt x="219" y="263"/>
                  <a:pt x="201" y="263"/>
                </a:cubicBezTo>
                <a:cubicBezTo>
                  <a:pt x="201" y="261"/>
                  <a:pt x="201" y="261"/>
                  <a:pt x="201" y="259"/>
                </a:cubicBezTo>
                <a:cubicBezTo>
                  <a:pt x="202" y="259"/>
                  <a:pt x="204" y="259"/>
                  <a:pt x="204" y="259"/>
                </a:cubicBezTo>
                <a:cubicBezTo>
                  <a:pt x="216" y="259"/>
                  <a:pt x="225" y="250"/>
                  <a:pt x="225" y="239"/>
                </a:cubicBezTo>
                <a:cubicBezTo>
                  <a:pt x="225" y="209"/>
                  <a:pt x="222" y="185"/>
                  <a:pt x="217" y="167"/>
                </a:cubicBezTo>
                <a:cubicBezTo>
                  <a:pt x="219" y="162"/>
                  <a:pt x="223" y="151"/>
                  <a:pt x="223" y="151"/>
                </a:cubicBezTo>
                <a:cubicBezTo>
                  <a:pt x="230" y="130"/>
                  <a:pt x="246" y="115"/>
                  <a:pt x="269" y="106"/>
                </a:cubicBezTo>
                <a:cubicBezTo>
                  <a:pt x="270" y="105"/>
                  <a:pt x="341" y="85"/>
                  <a:pt x="341" y="85"/>
                </a:cubicBezTo>
                <a:cubicBezTo>
                  <a:pt x="347" y="84"/>
                  <a:pt x="350" y="78"/>
                  <a:pt x="350" y="73"/>
                </a:cubicBezTo>
                <a:cubicBezTo>
                  <a:pt x="350" y="71"/>
                  <a:pt x="350" y="70"/>
                  <a:pt x="350" y="69"/>
                </a:cubicBezTo>
                <a:cubicBezTo>
                  <a:pt x="348" y="62"/>
                  <a:pt x="341" y="58"/>
                  <a:pt x="333" y="60"/>
                </a:cubicBezTo>
                <a:cubicBezTo>
                  <a:pt x="260" y="80"/>
                  <a:pt x="260" y="80"/>
                  <a:pt x="260" y="80"/>
                </a:cubicBezTo>
                <a:cubicBezTo>
                  <a:pt x="260" y="80"/>
                  <a:pt x="260" y="81"/>
                  <a:pt x="259" y="81"/>
                </a:cubicBezTo>
                <a:cubicBezTo>
                  <a:pt x="229" y="93"/>
                  <a:pt x="208" y="114"/>
                  <a:pt x="198" y="142"/>
                </a:cubicBezTo>
                <a:cubicBezTo>
                  <a:pt x="198" y="142"/>
                  <a:pt x="198" y="142"/>
                  <a:pt x="198" y="142"/>
                </a:cubicBezTo>
                <a:cubicBezTo>
                  <a:pt x="190" y="162"/>
                  <a:pt x="190" y="162"/>
                  <a:pt x="190" y="162"/>
                </a:cubicBezTo>
                <a:cubicBezTo>
                  <a:pt x="190" y="163"/>
                  <a:pt x="189" y="165"/>
                  <a:pt x="189" y="166"/>
                </a:cubicBezTo>
                <a:cubicBezTo>
                  <a:pt x="189" y="168"/>
                  <a:pt x="190" y="169"/>
                  <a:pt x="190" y="171"/>
                </a:cubicBezTo>
                <a:cubicBezTo>
                  <a:pt x="195" y="185"/>
                  <a:pt x="197" y="206"/>
                  <a:pt x="198" y="232"/>
                </a:cubicBezTo>
                <a:cubicBezTo>
                  <a:pt x="193" y="232"/>
                  <a:pt x="188" y="232"/>
                  <a:pt x="188" y="232"/>
                </a:cubicBezTo>
                <a:cubicBezTo>
                  <a:pt x="181" y="232"/>
                  <a:pt x="175" y="238"/>
                  <a:pt x="175" y="246"/>
                </a:cubicBezTo>
                <a:cubicBezTo>
                  <a:pt x="175" y="277"/>
                  <a:pt x="175" y="277"/>
                  <a:pt x="175" y="277"/>
                </a:cubicBezTo>
                <a:cubicBezTo>
                  <a:pt x="175" y="284"/>
                  <a:pt x="181" y="290"/>
                  <a:pt x="188" y="290"/>
                </a:cubicBezTo>
                <a:cubicBezTo>
                  <a:pt x="257" y="290"/>
                  <a:pt x="257" y="290"/>
                  <a:pt x="257" y="290"/>
                </a:cubicBezTo>
                <a:cubicBezTo>
                  <a:pt x="262" y="290"/>
                  <a:pt x="265" y="294"/>
                  <a:pt x="265" y="298"/>
                </a:cubicBezTo>
                <a:cubicBezTo>
                  <a:pt x="265" y="303"/>
                  <a:pt x="262" y="306"/>
                  <a:pt x="257" y="306"/>
                </a:cubicBezTo>
                <a:cubicBezTo>
                  <a:pt x="34" y="306"/>
                  <a:pt x="34" y="306"/>
                  <a:pt x="34" y="306"/>
                </a:cubicBezTo>
                <a:cubicBezTo>
                  <a:pt x="30" y="306"/>
                  <a:pt x="26" y="303"/>
                  <a:pt x="26" y="298"/>
                </a:cubicBezTo>
                <a:cubicBezTo>
                  <a:pt x="26" y="294"/>
                  <a:pt x="30" y="290"/>
                  <a:pt x="34" y="290"/>
                </a:cubicBezTo>
                <a:cubicBezTo>
                  <a:pt x="110" y="290"/>
                  <a:pt x="110" y="290"/>
                  <a:pt x="110" y="290"/>
                </a:cubicBezTo>
                <a:cubicBezTo>
                  <a:pt x="117" y="290"/>
                  <a:pt x="123" y="284"/>
                  <a:pt x="123" y="277"/>
                </a:cubicBezTo>
                <a:cubicBezTo>
                  <a:pt x="123" y="246"/>
                  <a:pt x="123" y="246"/>
                  <a:pt x="123" y="246"/>
                </a:cubicBezTo>
                <a:cubicBezTo>
                  <a:pt x="123" y="238"/>
                  <a:pt x="117" y="232"/>
                  <a:pt x="110" y="232"/>
                </a:cubicBezTo>
                <a:cubicBezTo>
                  <a:pt x="110" y="232"/>
                  <a:pt x="69" y="232"/>
                  <a:pt x="61" y="232"/>
                </a:cubicBezTo>
                <a:cubicBezTo>
                  <a:pt x="61" y="218"/>
                  <a:pt x="61" y="172"/>
                  <a:pt x="61" y="155"/>
                </a:cubicBezTo>
                <a:cubicBezTo>
                  <a:pt x="73" y="155"/>
                  <a:pt x="168" y="155"/>
                  <a:pt x="168" y="155"/>
                </a:cubicBezTo>
                <a:cubicBezTo>
                  <a:pt x="174" y="155"/>
                  <a:pt x="179" y="151"/>
                  <a:pt x="181" y="145"/>
                </a:cubicBezTo>
                <a:cubicBezTo>
                  <a:pt x="186" y="125"/>
                  <a:pt x="186" y="125"/>
                  <a:pt x="186" y="125"/>
                </a:cubicBezTo>
                <a:cubicBezTo>
                  <a:pt x="193" y="98"/>
                  <a:pt x="208" y="83"/>
                  <a:pt x="233" y="77"/>
                </a:cubicBezTo>
                <a:cubicBezTo>
                  <a:pt x="233" y="77"/>
                  <a:pt x="345" y="51"/>
                  <a:pt x="345" y="51"/>
                </a:cubicBezTo>
                <a:cubicBezTo>
                  <a:pt x="346" y="51"/>
                  <a:pt x="347" y="51"/>
                  <a:pt x="348" y="50"/>
                </a:cubicBezTo>
                <a:cubicBezTo>
                  <a:pt x="349" y="49"/>
                  <a:pt x="349" y="49"/>
                  <a:pt x="349" y="49"/>
                </a:cubicBezTo>
                <a:cubicBezTo>
                  <a:pt x="351" y="48"/>
                  <a:pt x="352" y="47"/>
                  <a:pt x="354" y="45"/>
                </a:cubicBezTo>
                <a:cubicBezTo>
                  <a:pt x="354" y="45"/>
                  <a:pt x="358" y="38"/>
                  <a:pt x="362" y="32"/>
                </a:cubicBezTo>
                <a:cubicBezTo>
                  <a:pt x="366" y="36"/>
                  <a:pt x="368" y="38"/>
                  <a:pt x="371" y="41"/>
                </a:cubicBezTo>
                <a:cubicBezTo>
                  <a:pt x="372" y="50"/>
                  <a:pt x="380" y="164"/>
                  <a:pt x="380" y="164"/>
                </a:cubicBezTo>
                <a:cubicBezTo>
                  <a:pt x="381" y="169"/>
                  <a:pt x="384" y="173"/>
                  <a:pt x="388" y="175"/>
                </a:cubicBezTo>
                <a:cubicBezTo>
                  <a:pt x="388" y="175"/>
                  <a:pt x="399" y="180"/>
                  <a:pt x="400" y="180"/>
                </a:cubicBezTo>
                <a:cubicBezTo>
                  <a:pt x="402" y="181"/>
                  <a:pt x="403" y="184"/>
                  <a:pt x="405" y="190"/>
                </a:cubicBezTo>
                <a:cubicBezTo>
                  <a:pt x="406" y="191"/>
                  <a:pt x="406" y="193"/>
                  <a:pt x="406" y="194"/>
                </a:cubicBezTo>
                <a:cubicBezTo>
                  <a:pt x="406" y="196"/>
                  <a:pt x="405" y="199"/>
                  <a:pt x="404" y="201"/>
                </a:cubicBezTo>
                <a:cubicBezTo>
                  <a:pt x="402" y="205"/>
                  <a:pt x="399" y="208"/>
                  <a:pt x="395" y="209"/>
                </a:cubicBezTo>
                <a:cubicBezTo>
                  <a:pt x="395" y="209"/>
                  <a:pt x="394" y="209"/>
                  <a:pt x="394" y="209"/>
                </a:cubicBezTo>
                <a:cubicBezTo>
                  <a:pt x="338" y="232"/>
                  <a:pt x="338" y="232"/>
                  <a:pt x="338" y="232"/>
                </a:cubicBezTo>
                <a:cubicBezTo>
                  <a:pt x="333" y="234"/>
                  <a:pt x="330" y="239"/>
                  <a:pt x="330" y="245"/>
                </a:cubicBezTo>
                <a:cubicBezTo>
                  <a:pt x="330" y="246"/>
                  <a:pt x="330" y="248"/>
                  <a:pt x="331" y="250"/>
                </a:cubicBezTo>
                <a:cubicBezTo>
                  <a:pt x="334" y="256"/>
                  <a:pt x="341" y="260"/>
                  <a:pt x="348" y="257"/>
                </a:cubicBezTo>
                <a:cubicBezTo>
                  <a:pt x="404" y="234"/>
                  <a:pt x="404" y="234"/>
                  <a:pt x="404" y="234"/>
                </a:cubicBezTo>
                <a:cubicBezTo>
                  <a:pt x="404" y="234"/>
                  <a:pt x="404" y="234"/>
                  <a:pt x="403" y="234"/>
                </a:cubicBezTo>
                <a:cubicBezTo>
                  <a:pt x="414" y="231"/>
                  <a:pt x="423" y="223"/>
                  <a:pt x="428" y="213"/>
                </a:cubicBezTo>
                <a:cubicBezTo>
                  <a:pt x="431" y="207"/>
                  <a:pt x="433" y="200"/>
                  <a:pt x="433" y="194"/>
                </a:cubicBezTo>
                <a:cubicBezTo>
                  <a:pt x="433" y="190"/>
                  <a:pt x="432" y="186"/>
                  <a:pt x="431" y="182"/>
                </a:cubicBezTo>
                <a:cubicBezTo>
                  <a:pt x="428" y="173"/>
                  <a:pt x="423" y="162"/>
                  <a:pt x="411" y="156"/>
                </a:cubicBezTo>
                <a:cubicBezTo>
                  <a:pt x="411" y="156"/>
                  <a:pt x="411" y="156"/>
                  <a:pt x="411" y="156"/>
                </a:cubicBezTo>
                <a:cubicBezTo>
                  <a:pt x="411" y="156"/>
                  <a:pt x="408" y="155"/>
                  <a:pt x="406" y="154"/>
                </a:cubicBezTo>
                <a:cubicBezTo>
                  <a:pt x="405" y="140"/>
                  <a:pt x="398" y="33"/>
                  <a:pt x="398" y="33"/>
                </a:cubicBezTo>
                <a:cubicBezTo>
                  <a:pt x="397" y="30"/>
                  <a:pt x="396" y="27"/>
                  <a:pt x="393" y="25"/>
                </a:cubicBezTo>
                <a:cubicBezTo>
                  <a:pt x="374" y="6"/>
                  <a:pt x="374" y="6"/>
                  <a:pt x="374" y="6"/>
                </a:cubicBezTo>
                <a:cubicBezTo>
                  <a:pt x="374" y="6"/>
                  <a:pt x="374" y="6"/>
                  <a:pt x="374" y="6"/>
                </a:cubicBezTo>
                <a:cubicBezTo>
                  <a:pt x="368" y="0"/>
                  <a:pt x="361" y="0"/>
                  <a:pt x="358" y="0"/>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05" name="TextBox 304"/>
          <p:cNvSpPr txBox="1"/>
          <p:nvPr userDrawn="1"/>
        </p:nvSpPr>
        <p:spPr>
          <a:xfrm>
            <a:off x="3677875" y="2597682"/>
            <a:ext cx="795940" cy="184666"/>
          </a:xfrm>
          <a:prstGeom prst="rect">
            <a:avLst/>
          </a:prstGeom>
          <a:noFill/>
        </p:spPr>
        <p:txBody>
          <a:bodyPr wrap="square" lIns="0" tIns="0" rIns="0" bIns="0" rtlCol="0" anchor="t" anchorCtr="0">
            <a:spAutoFit/>
          </a:bodyPr>
          <a:lstStyle/>
          <a:p>
            <a:pPr algn="ctr"/>
            <a:r>
              <a:rPr lang="en-US" sz="600" b="1" dirty="0">
                <a:solidFill>
                  <a:srgbClr val="626469"/>
                </a:solidFill>
                <a:latin typeface="Arial" pitchFamily="34" charset="0"/>
                <a:cs typeface="Arial" pitchFamily="34" charset="0"/>
              </a:rPr>
              <a:t>Mining, minerals</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amp; metals</a:t>
            </a:r>
          </a:p>
        </p:txBody>
      </p:sp>
      <p:sp>
        <p:nvSpPr>
          <p:cNvPr id="306" name="Freeform 112"/>
          <p:cNvSpPr>
            <a:spLocks noChangeAspect="1"/>
          </p:cNvSpPr>
          <p:nvPr userDrawn="1"/>
        </p:nvSpPr>
        <p:spPr bwMode="auto">
          <a:xfrm>
            <a:off x="3173713" y="1646520"/>
            <a:ext cx="375206" cy="294894"/>
          </a:xfrm>
          <a:custGeom>
            <a:avLst/>
            <a:gdLst/>
            <a:ahLst/>
            <a:cxnLst>
              <a:cxn ang="0">
                <a:pos x="49" y="5"/>
              </a:cxn>
              <a:cxn ang="0">
                <a:pos x="32" y="98"/>
              </a:cxn>
              <a:cxn ang="0">
                <a:pos x="0" y="335"/>
              </a:cxn>
              <a:cxn ang="0">
                <a:pos x="26" y="335"/>
              </a:cxn>
              <a:cxn ang="0">
                <a:pos x="58" y="107"/>
              </a:cxn>
              <a:cxn ang="0">
                <a:pos x="59" y="34"/>
              </a:cxn>
              <a:cxn ang="0">
                <a:pos x="78" y="27"/>
              </a:cxn>
              <a:cxn ang="0">
                <a:pos x="95" y="29"/>
              </a:cxn>
              <a:cxn ang="0">
                <a:pos x="97" y="101"/>
              </a:cxn>
              <a:cxn ang="0">
                <a:pos x="130" y="183"/>
              </a:cxn>
              <a:cxn ang="0">
                <a:pos x="143" y="349"/>
              </a:cxn>
              <a:cxn ang="0">
                <a:pos x="283" y="338"/>
              </a:cxn>
              <a:cxn ang="0">
                <a:pos x="275" y="323"/>
              </a:cxn>
              <a:cxn ang="0">
                <a:pos x="235" y="256"/>
              </a:cxn>
              <a:cxn ang="0">
                <a:pos x="302" y="173"/>
              </a:cxn>
              <a:cxn ang="0">
                <a:pos x="302" y="163"/>
              </a:cxn>
              <a:cxn ang="0">
                <a:pos x="299" y="116"/>
              </a:cxn>
              <a:cxn ang="0">
                <a:pos x="322" y="154"/>
              </a:cxn>
              <a:cxn ang="0">
                <a:pos x="366" y="129"/>
              </a:cxn>
              <a:cxn ang="0">
                <a:pos x="378" y="151"/>
              </a:cxn>
              <a:cxn ang="0">
                <a:pos x="349" y="172"/>
              </a:cxn>
              <a:cxn ang="0">
                <a:pos x="357" y="184"/>
              </a:cxn>
              <a:cxn ang="0">
                <a:pos x="390" y="303"/>
              </a:cxn>
              <a:cxn ang="0">
                <a:pos x="358" y="335"/>
              </a:cxn>
              <a:cxn ang="0">
                <a:pos x="378" y="347"/>
              </a:cxn>
              <a:cxn ang="0">
                <a:pos x="433" y="256"/>
              </a:cxn>
              <a:cxn ang="0">
                <a:pos x="446" y="113"/>
              </a:cxn>
              <a:cxn ang="0">
                <a:pos x="445" y="102"/>
              </a:cxn>
              <a:cxn ang="0">
                <a:pos x="354" y="106"/>
              </a:cxn>
              <a:cxn ang="0">
                <a:pos x="314" y="92"/>
              </a:cxn>
              <a:cxn ang="0">
                <a:pos x="251" y="102"/>
              </a:cxn>
              <a:cxn ang="0">
                <a:pos x="242" y="115"/>
              </a:cxn>
              <a:cxn ang="0">
                <a:pos x="272" y="160"/>
              </a:cxn>
              <a:cxn ang="0">
                <a:pos x="208" y="256"/>
              </a:cxn>
              <a:cxn ang="0">
                <a:pos x="232" y="322"/>
              </a:cxn>
              <a:cxn ang="0">
                <a:pos x="157" y="183"/>
              </a:cxn>
              <a:cxn ang="0">
                <a:pos x="124" y="34"/>
              </a:cxn>
              <a:cxn ang="0">
                <a:pos x="79" y="0"/>
              </a:cxn>
            </a:cxnLst>
            <a:rect l="0" t="0" r="r" b="b"/>
            <a:pathLst>
              <a:path w="447" h="351">
                <a:moveTo>
                  <a:pt x="78" y="0"/>
                </a:moveTo>
                <a:cubicBezTo>
                  <a:pt x="69" y="0"/>
                  <a:pt x="58" y="1"/>
                  <a:pt x="49" y="5"/>
                </a:cubicBezTo>
                <a:cubicBezTo>
                  <a:pt x="38" y="11"/>
                  <a:pt x="32" y="21"/>
                  <a:pt x="32" y="34"/>
                </a:cubicBezTo>
                <a:cubicBezTo>
                  <a:pt x="32" y="34"/>
                  <a:pt x="32" y="92"/>
                  <a:pt x="32" y="98"/>
                </a:cubicBezTo>
                <a:cubicBezTo>
                  <a:pt x="23" y="116"/>
                  <a:pt x="0" y="165"/>
                  <a:pt x="0" y="183"/>
                </a:cubicBezTo>
                <a:cubicBezTo>
                  <a:pt x="0" y="335"/>
                  <a:pt x="0" y="335"/>
                  <a:pt x="0" y="335"/>
                </a:cubicBezTo>
                <a:cubicBezTo>
                  <a:pt x="0" y="343"/>
                  <a:pt x="6" y="349"/>
                  <a:pt x="13" y="349"/>
                </a:cubicBezTo>
                <a:cubicBezTo>
                  <a:pt x="20" y="349"/>
                  <a:pt x="26" y="343"/>
                  <a:pt x="26" y="335"/>
                </a:cubicBezTo>
                <a:cubicBezTo>
                  <a:pt x="26" y="183"/>
                  <a:pt x="26" y="183"/>
                  <a:pt x="26" y="183"/>
                </a:cubicBezTo>
                <a:cubicBezTo>
                  <a:pt x="26" y="175"/>
                  <a:pt x="42" y="137"/>
                  <a:pt x="58" y="107"/>
                </a:cubicBezTo>
                <a:cubicBezTo>
                  <a:pt x="58" y="105"/>
                  <a:pt x="59" y="103"/>
                  <a:pt x="59" y="101"/>
                </a:cubicBezTo>
                <a:cubicBezTo>
                  <a:pt x="59" y="34"/>
                  <a:pt x="59" y="34"/>
                  <a:pt x="59" y="34"/>
                </a:cubicBezTo>
                <a:cubicBezTo>
                  <a:pt x="59" y="30"/>
                  <a:pt x="60" y="29"/>
                  <a:pt x="61" y="29"/>
                </a:cubicBezTo>
                <a:cubicBezTo>
                  <a:pt x="64" y="27"/>
                  <a:pt x="70" y="27"/>
                  <a:pt x="78" y="27"/>
                </a:cubicBezTo>
                <a:cubicBezTo>
                  <a:pt x="79" y="27"/>
                  <a:pt x="79" y="27"/>
                  <a:pt x="79" y="27"/>
                </a:cubicBezTo>
                <a:cubicBezTo>
                  <a:pt x="87" y="27"/>
                  <a:pt x="92" y="27"/>
                  <a:pt x="95" y="29"/>
                </a:cubicBezTo>
                <a:cubicBezTo>
                  <a:pt x="96" y="29"/>
                  <a:pt x="97" y="30"/>
                  <a:pt x="97" y="34"/>
                </a:cubicBezTo>
                <a:cubicBezTo>
                  <a:pt x="97" y="101"/>
                  <a:pt x="97" y="101"/>
                  <a:pt x="97" y="101"/>
                </a:cubicBezTo>
                <a:cubicBezTo>
                  <a:pt x="97" y="103"/>
                  <a:pt x="98" y="105"/>
                  <a:pt x="99" y="107"/>
                </a:cubicBezTo>
                <a:cubicBezTo>
                  <a:pt x="114" y="137"/>
                  <a:pt x="130" y="175"/>
                  <a:pt x="130" y="183"/>
                </a:cubicBezTo>
                <a:cubicBezTo>
                  <a:pt x="130" y="335"/>
                  <a:pt x="130" y="335"/>
                  <a:pt x="130" y="335"/>
                </a:cubicBezTo>
                <a:cubicBezTo>
                  <a:pt x="130" y="343"/>
                  <a:pt x="136" y="349"/>
                  <a:pt x="143" y="349"/>
                </a:cubicBezTo>
                <a:cubicBezTo>
                  <a:pt x="270" y="349"/>
                  <a:pt x="270" y="349"/>
                  <a:pt x="270" y="349"/>
                </a:cubicBezTo>
                <a:cubicBezTo>
                  <a:pt x="276" y="349"/>
                  <a:pt x="282" y="344"/>
                  <a:pt x="283" y="338"/>
                </a:cubicBezTo>
                <a:cubicBezTo>
                  <a:pt x="283" y="337"/>
                  <a:pt x="283" y="336"/>
                  <a:pt x="283" y="335"/>
                </a:cubicBezTo>
                <a:cubicBezTo>
                  <a:pt x="283" y="330"/>
                  <a:pt x="280" y="325"/>
                  <a:pt x="275" y="323"/>
                </a:cubicBezTo>
                <a:cubicBezTo>
                  <a:pt x="274" y="323"/>
                  <a:pt x="253" y="314"/>
                  <a:pt x="241" y="286"/>
                </a:cubicBezTo>
                <a:cubicBezTo>
                  <a:pt x="237" y="276"/>
                  <a:pt x="235" y="266"/>
                  <a:pt x="235" y="256"/>
                </a:cubicBezTo>
                <a:cubicBezTo>
                  <a:pt x="235" y="221"/>
                  <a:pt x="259" y="191"/>
                  <a:pt x="294" y="180"/>
                </a:cubicBezTo>
                <a:cubicBezTo>
                  <a:pt x="297" y="179"/>
                  <a:pt x="300" y="177"/>
                  <a:pt x="302" y="173"/>
                </a:cubicBezTo>
                <a:cubicBezTo>
                  <a:pt x="303" y="172"/>
                  <a:pt x="303" y="170"/>
                  <a:pt x="303" y="168"/>
                </a:cubicBezTo>
                <a:cubicBezTo>
                  <a:pt x="303" y="166"/>
                  <a:pt x="303" y="164"/>
                  <a:pt x="302" y="163"/>
                </a:cubicBezTo>
                <a:cubicBezTo>
                  <a:pt x="295" y="144"/>
                  <a:pt x="288" y="133"/>
                  <a:pt x="279" y="122"/>
                </a:cubicBezTo>
                <a:cubicBezTo>
                  <a:pt x="289" y="119"/>
                  <a:pt x="293" y="118"/>
                  <a:pt x="299" y="116"/>
                </a:cubicBezTo>
                <a:cubicBezTo>
                  <a:pt x="303" y="123"/>
                  <a:pt x="309" y="133"/>
                  <a:pt x="313" y="145"/>
                </a:cubicBezTo>
                <a:cubicBezTo>
                  <a:pt x="314" y="150"/>
                  <a:pt x="317" y="153"/>
                  <a:pt x="322" y="154"/>
                </a:cubicBezTo>
                <a:cubicBezTo>
                  <a:pt x="326" y="156"/>
                  <a:pt x="331" y="155"/>
                  <a:pt x="335" y="151"/>
                </a:cubicBezTo>
                <a:cubicBezTo>
                  <a:pt x="343" y="144"/>
                  <a:pt x="354" y="136"/>
                  <a:pt x="366" y="129"/>
                </a:cubicBezTo>
                <a:cubicBezTo>
                  <a:pt x="382" y="121"/>
                  <a:pt x="399" y="119"/>
                  <a:pt x="412" y="119"/>
                </a:cubicBezTo>
                <a:cubicBezTo>
                  <a:pt x="404" y="130"/>
                  <a:pt x="393" y="143"/>
                  <a:pt x="378" y="151"/>
                </a:cubicBezTo>
                <a:cubicBezTo>
                  <a:pt x="371" y="154"/>
                  <a:pt x="365" y="157"/>
                  <a:pt x="358" y="159"/>
                </a:cubicBezTo>
                <a:cubicBezTo>
                  <a:pt x="353" y="161"/>
                  <a:pt x="350" y="166"/>
                  <a:pt x="349" y="172"/>
                </a:cubicBezTo>
                <a:cubicBezTo>
                  <a:pt x="349" y="172"/>
                  <a:pt x="349" y="172"/>
                  <a:pt x="349" y="172"/>
                </a:cubicBezTo>
                <a:cubicBezTo>
                  <a:pt x="349" y="177"/>
                  <a:pt x="353" y="182"/>
                  <a:pt x="357" y="184"/>
                </a:cubicBezTo>
                <a:cubicBezTo>
                  <a:pt x="387" y="197"/>
                  <a:pt x="406" y="225"/>
                  <a:pt x="406" y="256"/>
                </a:cubicBezTo>
                <a:cubicBezTo>
                  <a:pt x="406" y="273"/>
                  <a:pt x="401" y="289"/>
                  <a:pt x="390" y="303"/>
                </a:cubicBezTo>
                <a:cubicBezTo>
                  <a:pt x="383" y="311"/>
                  <a:pt x="375" y="318"/>
                  <a:pt x="365" y="324"/>
                </a:cubicBezTo>
                <a:cubicBezTo>
                  <a:pt x="361" y="326"/>
                  <a:pt x="358" y="331"/>
                  <a:pt x="358" y="335"/>
                </a:cubicBezTo>
                <a:cubicBezTo>
                  <a:pt x="358" y="338"/>
                  <a:pt x="359" y="340"/>
                  <a:pt x="360" y="342"/>
                </a:cubicBezTo>
                <a:cubicBezTo>
                  <a:pt x="364" y="348"/>
                  <a:pt x="372" y="351"/>
                  <a:pt x="378" y="347"/>
                </a:cubicBezTo>
                <a:cubicBezTo>
                  <a:pt x="391" y="340"/>
                  <a:pt x="402" y="330"/>
                  <a:pt x="411" y="319"/>
                </a:cubicBezTo>
                <a:cubicBezTo>
                  <a:pt x="425" y="301"/>
                  <a:pt x="433" y="279"/>
                  <a:pt x="433" y="256"/>
                </a:cubicBezTo>
                <a:cubicBezTo>
                  <a:pt x="433" y="224"/>
                  <a:pt x="417" y="194"/>
                  <a:pt x="391" y="174"/>
                </a:cubicBezTo>
                <a:cubicBezTo>
                  <a:pt x="428" y="154"/>
                  <a:pt x="445" y="115"/>
                  <a:pt x="446" y="113"/>
                </a:cubicBezTo>
                <a:cubicBezTo>
                  <a:pt x="447" y="112"/>
                  <a:pt x="447" y="110"/>
                  <a:pt x="447" y="108"/>
                </a:cubicBezTo>
                <a:cubicBezTo>
                  <a:pt x="447" y="106"/>
                  <a:pt x="446" y="104"/>
                  <a:pt x="445" y="102"/>
                </a:cubicBezTo>
                <a:cubicBezTo>
                  <a:pt x="444" y="98"/>
                  <a:pt x="440" y="96"/>
                  <a:pt x="436" y="95"/>
                </a:cubicBezTo>
                <a:cubicBezTo>
                  <a:pt x="435" y="95"/>
                  <a:pt x="392" y="86"/>
                  <a:pt x="354" y="106"/>
                </a:cubicBezTo>
                <a:cubicBezTo>
                  <a:pt x="346" y="110"/>
                  <a:pt x="338" y="115"/>
                  <a:pt x="331" y="120"/>
                </a:cubicBezTo>
                <a:cubicBezTo>
                  <a:pt x="324" y="104"/>
                  <a:pt x="315" y="93"/>
                  <a:pt x="314" y="92"/>
                </a:cubicBezTo>
                <a:cubicBezTo>
                  <a:pt x="311" y="88"/>
                  <a:pt x="305" y="86"/>
                  <a:pt x="300" y="88"/>
                </a:cubicBezTo>
                <a:cubicBezTo>
                  <a:pt x="251" y="102"/>
                  <a:pt x="251" y="102"/>
                  <a:pt x="251" y="102"/>
                </a:cubicBezTo>
                <a:cubicBezTo>
                  <a:pt x="247" y="104"/>
                  <a:pt x="243" y="107"/>
                  <a:pt x="242" y="112"/>
                </a:cubicBezTo>
                <a:cubicBezTo>
                  <a:pt x="242" y="113"/>
                  <a:pt x="242" y="114"/>
                  <a:pt x="242" y="115"/>
                </a:cubicBezTo>
                <a:cubicBezTo>
                  <a:pt x="242" y="119"/>
                  <a:pt x="243" y="122"/>
                  <a:pt x="245" y="124"/>
                </a:cubicBezTo>
                <a:cubicBezTo>
                  <a:pt x="258" y="138"/>
                  <a:pt x="265" y="145"/>
                  <a:pt x="272" y="160"/>
                </a:cubicBezTo>
                <a:cubicBezTo>
                  <a:pt x="233" y="178"/>
                  <a:pt x="208" y="214"/>
                  <a:pt x="208" y="256"/>
                </a:cubicBezTo>
                <a:cubicBezTo>
                  <a:pt x="208" y="256"/>
                  <a:pt x="208" y="256"/>
                  <a:pt x="208" y="256"/>
                </a:cubicBezTo>
                <a:cubicBezTo>
                  <a:pt x="208" y="269"/>
                  <a:pt x="211" y="283"/>
                  <a:pt x="216" y="296"/>
                </a:cubicBezTo>
                <a:cubicBezTo>
                  <a:pt x="221" y="307"/>
                  <a:pt x="226" y="315"/>
                  <a:pt x="232" y="322"/>
                </a:cubicBezTo>
                <a:cubicBezTo>
                  <a:pt x="206" y="322"/>
                  <a:pt x="172" y="322"/>
                  <a:pt x="157" y="322"/>
                </a:cubicBezTo>
                <a:cubicBezTo>
                  <a:pt x="157" y="300"/>
                  <a:pt x="157" y="183"/>
                  <a:pt x="157" y="183"/>
                </a:cubicBezTo>
                <a:cubicBezTo>
                  <a:pt x="157" y="165"/>
                  <a:pt x="133" y="116"/>
                  <a:pt x="124" y="98"/>
                </a:cubicBezTo>
                <a:cubicBezTo>
                  <a:pt x="124" y="92"/>
                  <a:pt x="124" y="34"/>
                  <a:pt x="124" y="34"/>
                </a:cubicBezTo>
                <a:cubicBezTo>
                  <a:pt x="124" y="21"/>
                  <a:pt x="118" y="11"/>
                  <a:pt x="107" y="5"/>
                </a:cubicBezTo>
                <a:cubicBezTo>
                  <a:pt x="98" y="1"/>
                  <a:pt x="87" y="0"/>
                  <a:pt x="79" y="0"/>
                </a:cubicBezTo>
                <a:lnTo>
                  <a:pt x="78"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07" name="TextBox 306"/>
          <p:cNvSpPr txBox="1"/>
          <p:nvPr userDrawn="1"/>
        </p:nvSpPr>
        <p:spPr>
          <a:xfrm>
            <a:off x="3173713" y="1979324"/>
            <a:ext cx="392396"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Food &amp;</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beverage</a:t>
            </a:r>
          </a:p>
        </p:txBody>
      </p:sp>
      <p:sp>
        <p:nvSpPr>
          <p:cNvPr id="308" name="Freeform 108"/>
          <p:cNvSpPr>
            <a:spLocks noChangeAspect="1"/>
          </p:cNvSpPr>
          <p:nvPr userDrawn="1"/>
        </p:nvSpPr>
        <p:spPr bwMode="auto">
          <a:xfrm>
            <a:off x="1778348" y="2295461"/>
            <a:ext cx="359584" cy="253175"/>
          </a:xfrm>
          <a:custGeom>
            <a:avLst/>
            <a:gdLst/>
            <a:ahLst/>
            <a:cxnLst>
              <a:cxn ang="0">
                <a:pos x="13" y="0"/>
              </a:cxn>
              <a:cxn ang="0">
                <a:pos x="0" y="13"/>
              </a:cxn>
              <a:cxn ang="0">
                <a:pos x="0" y="311"/>
              </a:cxn>
              <a:cxn ang="0">
                <a:pos x="13" y="325"/>
              </a:cxn>
              <a:cxn ang="0">
                <a:pos x="70" y="325"/>
              </a:cxn>
              <a:cxn ang="0">
                <a:pos x="84" y="311"/>
              </a:cxn>
              <a:cxn ang="0">
                <a:pos x="84" y="259"/>
              </a:cxn>
              <a:cxn ang="0">
                <a:pos x="377" y="259"/>
              </a:cxn>
              <a:cxn ang="0">
                <a:pos x="377" y="311"/>
              </a:cxn>
              <a:cxn ang="0">
                <a:pos x="390" y="325"/>
              </a:cxn>
              <a:cxn ang="0">
                <a:pos x="448" y="325"/>
              </a:cxn>
              <a:cxn ang="0">
                <a:pos x="461" y="311"/>
              </a:cxn>
              <a:cxn ang="0">
                <a:pos x="461" y="183"/>
              </a:cxn>
              <a:cxn ang="0">
                <a:pos x="461" y="182"/>
              </a:cxn>
              <a:cxn ang="0">
                <a:pos x="381" y="126"/>
              </a:cxn>
              <a:cxn ang="0">
                <a:pos x="199" y="126"/>
              </a:cxn>
              <a:cxn ang="0">
                <a:pos x="186" y="140"/>
              </a:cxn>
              <a:cxn ang="0">
                <a:pos x="186" y="193"/>
              </a:cxn>
              <a:cxn ang="0">
                <a:pos x="199" y="207"/>
              </a:cxn>
              <a:cxn ang="0">
                <a:pos x="213" y="193"/>
              </a:cxn>
              <a:cxn ang="0">
                <a:pos x="213" y="153"/>
              </a:cxn>
              <a:cxn ang="0">
                <a:pos x="381" y="153"/>
              </a:cxn>
              <a:cxn ang="0">
                <a:pos x="434" y="184"/>
              </a:cxn>
              <a:cxn ang="0">
                <a:pos x="434" y="298"/>
              </a:cxn>
              <a:cxn ang="0">
                <a:pos x="404" y="298"/>
              </a:cxn>
              <a:cxn ang="0">
                <a:pos x="404" y="246"/>
              </a:cxn>
              <a:cxn ang="0">
                <a:pos x="390" y="232"/>
              </a:cxn>
              <a:cxn ang="0">
                <a:pos x="70" y="232"/>
              </a:cxn>
              <a:cxn ang="0">
                <a:pos x="57" y="246"/>
              </a:cxn>
              <a:cxn ang="0">
                <a:pos x="57" y="298"/>
              </a:cxn>
              <a:cxn ang="0">
                <a:pos x="26" y="298"/>
              </a:cxn>
              <a:cxn ang="0">
                <a:pos x="26" y="27"/>
              </a:cxn>
              <a:cxn ang="0">
                <a:pos x="57" y="27"/>
              </a:cxn>
              <a:cxn ang="0">
                <a:pos x="57" y="140"/>
              </a:cxn>
              <a:cxn ang="0">
                <a:pos x="70" y="153"/>
              </a:cxn>
              <a:cxn ang="0">
                <a:pos x="160" y="153"/>
              </a:cxn>
              <a:cxn ang="0">
                <a:pos x="173" y="141"/>
              </a:cxn>
              <a:cxn ang="0">
                <a:pos x="155" y="81"/>
              </a:cxn>
              <a:cxn ang="0">
                <a:pos x="113" y="64"/>
              </a:cxn>
              <a:cxn ang="0">
                <a:pos x="100" y="77"/>
              </a:cxn>
              <a:cxn ang="0">
                <a:pos x="113" y="90"/>
              </a:cxn>
              <a:cxn ang="0">
                <a:pos x="135" y="99"/>
              </a:cxn>
              <a:cxn ang="0">
                <a:pos x="146" y="126"/>
              </a:cxn>
              <a:cxn ang="0">
                <a:pos x="84" y="126"/>
              </a:cxn>
              <a:cxn ang="0">
                <a:pos x="84" y="13"/>
              </a:cxn>
              <a:cxn ang="0">
                <a:pos x="70" y="0"/>
              </a:cxn>
              <a:cxn ang="0">
                <a:pos x="13" y="0"/>
              </a:cxn>
            </a:cxnLst>
            <a:rect l="0" t="0" r="r" b="b"/>
            <a:pathLst>
              <a:path w="461" h="325">
                <a:moveTo>
                  <a:pt x="13" y="0"/>
                </a:moveTo>
                <a:cubicBezTo>
                  <a:pt x="6" y="0"/>
                  <a:pt x="0" y="6"/>
                  <a:pt x="0" y="13"/>
                </a:cubicBezTo>
                <a:cubicBezTo>
                  <a:pt x="0" y="311"/>
                  <a:pt x="0" y="311"/>
                  <a:pt x="0" y="311"/>
                </a:cubicBezTo>
                <a:cubicBezTo>
                  <a:pt x="0" y="319"/>
                  <a:pt x="6" y="325"/>
                  <a:pt x="13" y="325"/>
                </a:cubicBezTo>
                <a:cubicBezTo>
                  <a:pt x="70" y="325"/>
                  <a:pt x="70" y="325"/>
                  <a:pt x="70" y="325"/>
                </a:cubicBezTo>
                <a:cubicBezTo>
                  <a:pt x="78" y="325"/>
                  <a:pt x="84" y="319"/>
                  <a:pt x="84" y="311"/>
                </a:cubicBezTo>
                <a:cubicBezTo>
                  <a:pt x="84" y="311"/>
                  <a:pt x="84" y="276"/>
                  <a:pt x="84" y="259"/>
                </a:cubicBezTo>
                <a:cubicBezTo>
                  <a:pt x="107" y="259"/>
                  <a:pt x="354" y="259"/>
                  <a:pt x="377" y="259"/>
                </a:cubicBezTo>
                <a:cubicBezTo>
                  <a:pt x="377" y="276"/>
                  <a:pt x="377" y="311"/>
                  <a:pt x="377" y="311"/>
                </a:cubicBezTo>
                <a:cubicBezTo>
                  <a:pt x="377" y="319"/>
                  <a:pt x="383" y="325"/>
                  <a:pt x="390" y="325"/>
                </a:cubicBezTo>
                <a:cubicBezTo>
                  <a:pt x="448" y="325"/>
                  <a:pt x="448" y="325"/>
                  <a:pt x="448" y="325"/>
                </a:cubicBezTo>
                <a:cubicBezTo>
                  <a:pt x="455" y="325"/>
                  <a:pt x="461" y="319"/>
                  <a:pt x="461" y="311"/>
                </a:cubicBezTo>
                <a:cubicBezTo>
                  <a:pt x="461" y="183"/>
                  <a:pt x="461" y="183"/>
                  <a:pt x="461" y="183"/>
                </a:cubicBezTo>
                <a:cubicBezTo>
                  <a:pt x="461" y="182"/>
                  <a:pt x="461" y="182"/>
                  <a:pt x="461" y="182"/>
                </a:cubicBezTo>
                <a:cubicBezTo>
                  <a:pt x="460" y="163"/>
                  <a:pt x="441" y="126"/>
                  <a:pt x="381" y="126"/>
                </a:cubicBezTo>
                <a:cubicBezTo>
                  <a:pt x="199" y="126"/>
                  <a:pt x="199" y="126"/>
                  <a:pt x="199" y="126"/>
                </a:cubicBezTo>
                <a:cubicBezTo>
                  <a:pt x="192" y="126"/>
                  <a:pt x="186" y="132"/>
                  <a:pt x="186" y="140"/>
                </a:cubicBezTo>
                <a:cubicBezTo>
                  <a:pt x="186" y="193"/>
                  <a:pt x="186" y="193"/>
                  <a:pt x="186" y="193"/>
                </a:cubicBezTo>
                <a:cubicBezTo>
                  <a:pt x="186" y="201"/>
                  <a:pt x="192" y="207"/>
                  <a:pt x="199" y="207"/>
                </a:cubicBezTo>
                <a:cubicBezTo>
                  <a:pt x="207" y="207"/>
                  <a:pt x="213" y="201"/>
                  <a:pt x="213" y="193"/>
                </a:cubicBezTo>
                <a:cubicBezTo>
                  <a:pt x="213" y="193"/>
                  <a:pt x="213" y="168"/>
                  <a:pt x="213" y="153"/>
                </a:cubicBezTo>
                <a:cubicBezTo>
                  <a:pt x="231" y="153"/>
                  <a:pt x="381" y="153"/>
                  <a:pt x="381" y="153"/>
                </a:cubicBezTo>
                <a:cubicBezTo>
                  <a:pt x="428" y="153"/>
                  <a:pt x="434" y="179"/>
                  <a:pt x="434" y="184"/>
                </a:cubicBezTo>
                <a:cubicBezTo>
                  <a:pt x="434" y="185"/>
                  <a:pt x="434" y="277"/>
                  <a:pt x="434" y="298"/>
                </a:cubicBezTo>
                <a:cubicBezTo>
                  <a:pt x="423" y="298"/>
                  <a:pt x="415" y="298"/>
                  <a:pt x="404" y="298"/>
                </a:cubicBezTo>
                <a:cubicBezTo>
                  <a:pt x="404" y="281"/>
                  <a:pt x="404" y="246"/>
                  <a:pt x="404" y="246"/>
                </a:cubicBezTo>
                <a:cubicBezTo>
                  <a:pt x="404" y="238"/>
                  <a:pt x="398" y="232"/>
                  <a:pt x="390" y="232"/>
                </a:cubicBezTo>
                <a:cubicBezTo>
                  <a:pt x="70" y="232"/>
                  <a:pt x="70" y="232"/>
                  <a:pt x="70" y="232"/>
                </a:cubicBezTo>
                <a:cubicBezTo>
                  <a:pt x="63" y="232"/>
                  <a:pt x="57" y="238"/>
                  <a:pt x="57" y="246"/>
                </a:cubicBezTo>
                <a:cubicBezTo>
                  <a:pt x="57" y="246"/>
                  <a:pt x="57" y="281"/>
                  <a:pt x="57" y="298"/>
                </a:cubicBezTo>
                <a:cubicBezTo>
                  <a:pt x="46" y="298"/>
                  <a:pt x="37" y="298"/>
                  <a:pt x="26" y="298"/>
                </a:cubicBezTo>
                <a:cubicBezTo>
                  <a:pt x="26" y="275"/>
                  <a:pt x="26" y="50"/>
                  <a:pt x="26" y="27"/>
                </a:cubicBezTo>
                <a:cubicBezTo>
                  <a:pt x="37" y="27"/>
                  <a:pt x="46" y="27"/>
                  <a:pt x="57" y="27"/>
                </a:cubicBezTo>
                <a:cubicBezTo>
                  <a:pt x="57" y="48"/>
                  <a:pt x="57" y="140"/>
                  <a:pt x="57" y="140"/>
                </a:cubicBezTo>
                <a:cubicBezTo>
                  <a:pt x="57" y="147"/>
                  <a:pt x="63" y="153"/>
                  <a:pt x="70" y="153"/>
                </a:cubicBezTo>
                <a:cubicBezTo>
                  <a:pt x="160" y="153"/>
                  <a:pt x="160" y="153"/>
                  <a:pt x="160" y="153"/>
                </a:cubicBezTo>
                <a:cubicBezTo>
                  <a:pt x="167" y="153"/>
                  <a:pt x="172" y="148"/>
                  <a:pt x="173" y="141"/>
                </a:cubicBezTo>
                <a:cubicBezTo>
                  <a:pt x="173" y="139"/>
                  <a:pt x="175" y="103"/>
                  <a:pt x="155" y="81"/>
                </a:cubicBezTo>
                <a:cubicBezTo>
                  <a:pt x="144" y="70"/>
                  <a:pt x="130" y="64"/>
                  <a:pt x="113" y="64"/>
                </a:cubicBezTo>
                <a:cubicBezTo>
                  <a:pt x="106" y="64"/>
                  <a:pt x="100" y="70"/>
                  <a:pt x="100" y="77"/>
                </a:cubicBezTo>
                <a:cubicBezTo>
                  <a:pt x="100" y="84"/>
                  <a:pt x="106" y="90"/>
                  <a:pt x="113" y="90"/>
                </a:cubicBezTo>
                <a:cubicBezTo>
                  <a:pt x="123" y="90"/>
                  <a:pt x="130" y="93"/>
                  <a:pt x="135" y="99"/>
                </a:cubicBezTo>
                <a:cubicBezTo>
                  <a:pt x="142" y="106"/>
                  <a:pt x="145" y="117"/>
                  <a:pt x="146" y="126"/>
                </a:cubicBezTo>
                <a:cubicBezTo>
                  <a:pt x="129" y="126"/>
                  <a:pt x="99" y="126"/>
                  <a:pt x="84" y="126"/>
                </a:cubicBezTo>
                <a:cubicBezTo>
                  <a:pt x="84" y="105"/>
                  <a:pt x="84" y="13"/>
                  <a:pt x="84" y="13"/>
                </a:cubicBezTo>
                <a:cubicBezTo>
                  <a:pt x="84" y="6"/>
                  <a:pt x="78" y="0"/>
                  <a:pt x="70" y="0"/>
                </a:cubicBezTo>
                <a:lnTo>
                  <a:pt x="13"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09" name="TextBox 308"/>
          <p:cNvSpPr txBox="1"/>
          <p:nvPr userDrawn="1"/>
        </p:nvSpPr>
        <p:spPr>
          <a:xfrm>
            <a:off x="1719628" y="2597682"/>
            <a:ext cx="477026" cy="92333"/>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Hotels</a:t>
            </a:r>
          </a:p>
        </p:txBody>
      </p:sp>
      <p:sp>
        <p:nvSpPr>
          <p:cNvPr id="310" name="Freeform 80"/>
          <p:cNvSpPr>
            <a:spLocks noChangeAspect="1"/>
          </p:cNvSpPr>
          <p:nvPr userDrawn="1"/>
        </p:nvSpPr>
        <p:spPr bwMode="auto">
          <a:xfrm>
            <a:off x="1121453" y="2253742"/>
            <a:ext cx="249337" cy="294894"/>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11" name="TextBox 310"/>
          <p:cNvSpPr txBox="1"/>
          <p:nvPr userDrawn="1"/>
        </p:nvSpPr>
        <p:spPr>
          <a:xfrm>
            <a:off x="963033" y="2597682"/>
            <a:ext cx="577596" cy="92333"/>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Healthcare</a:t>
            </a:r>
          </a:p>
        </p:txBody>
      </p:sp>
      <p:sp>
        <p:nvSpPr>
          <p:cNvPr id="312" name="Freeform 100"/>
          <p:cNvSpPr>
            <a:spLocks noChangeAspect="1"/>
          </p:cNvSpPr>
          <p:nvPr userDrawn="1"/>
        </p:nvSpPr>
        <p:spPr bwMode="auto">
          <a:xfrm>
            <a:off x="2564476" y="2155826"/>
            <a:ext cx="248285" cy="392810"/>
          </a:xfrm>
          <a:custGeom>
            <a:avLst/>
            <a:gdLst/>
            <a:ahLst/>
            <a:cxnLst>
              <a:cxn ang="0">
                <a:pos x="116" y="75"/>
              </a:cxn>
              <a:cxn ang="0">
                <a:pos x="46" y="287"/>
              </a:cxn>
              <a:cxn ang="0">
                <a:pos x="131" y="323"/>
              </a:cxn>
              <a:cxn ang="0">
                <a:pos x="148" y="314"/>
              </a:cxn>
              <a:cxn ang="0">
                <a:pos x="157" y="229"/>
              </a:cxn>
              <a:cxn ang="0">
                <a:pos x="144" y="189"/>
              </a:cxn>
              <a:cxn ang="0">
                <a:pos x="181" y="184"/>
              </a:cxn>
              <a:cxn ang="0">
                <a:pos x="185" y="220"/>
              </a:cxn>
              <a:cxn ang="0">
                <a:pos x="204" y="302"/>
              </a:cxn>
              <a:cxn ang="0">
                <a:pos x="125" y="348"/>
              </a:cxn>
              <a:cxn ang="0">
                <a:pos x="32" y="337"/>
              </a:cxn>
              <a:cxn ang="0">
                <a:pos x="4" y="453"/>
              </a:cxn>
              <a:cxn ang="0">
                <a:pos x="276" y="459"/>
              </a:cxn>
              <a:cxn ang="0">
                <a:pos x="276" y="432"/>
              </a:cxn>
              <a:cxn ang="0">
                <a:pos x="54" y="357"/>
              </a:cxn>
              <a:cxn ang="0">
                <a:pos x="187" y="365"/>
              </a:cxn>
              <a:cxn ang="0">
                <a:pos x="233" y="285"/>
              </a:cxn>
              <a:cxn ang="0">
                <a:pos x="217" y="205"/>
              </a:cxn>
              <a:cxn ang="0">
                <a:pos x="197" y="163"/>
              </a:cxn>
              <a:cxn ang="0">
                <a:pos x="123" y="173"/>
              </a:cxn>
              <a:cxn ang="0">
                <a:pos x="113" y="211"/>
              </a:cxn>
              <a:cxn ang="0">
                <a:pos x="125" y="294"/>
              </a:cxn>
              <a:cxn ang="0">
                <a:pos x="122" y="104"/>
              </a:cxn>
              <a:cxn ang="0">
                <a:pos x="155" y="32"/>
              </a:cxn>
              <a:cxn ang="0">
                <a:pos x="163" y="101"/>
              </a:cxn>
              <a:cxn ang="0">
                <a:pos x="172" y="117"/>
              </a:cxn>
              <a:cxn ang="0">
                <a:pos x="169" y="132"/>
              </a:cxn>
              <a:cxn ang="0">
                <a:pos x="195" y="136"/>
              </a:cxn>
              <a:cxn ang="0">
                <a:pos x="202" y="108"/>
              </a:cxn>
              <a:cxn ang="0">
                <a:pos x="193" y="95"/>
              </a:cxn>
              <a:cxn ang="0">
                <a:pos x="210" y="29"/>
              </a:cxn>
              <a:cxn ang="0">
                <a:pos x="200" y="16"/>
              </a:cxn>
              <a:cxn ang="0">
                <a:pos x="133" y="12"/>
              </a:cxn>
            </a:cxnLst>
            <a:rect l="0" t="0" r="r" b="b"/>
            <a:pathLst>
              <a:path w="290" h="459">
                <a:moveTo>
                  <a:pt x="133" y="12"/>
                </a:moveTo>
                <a:cubicBezTo>
                  <a:pt x="133" y="12"/>
                  <a:pt x="121" y="57"/>
                  <a:pt x="116" y="75"/>
                </a:cubicBezTo>
                <a:cubicBezTo>
                  <a:pt x="109" y="73"/>
                  <a:pt x="102" y="77"/>
                  <a:pt x="100" y="84"/>
                </a:cubicBezTo>
                <a:cubicBezTo>
                  <a:pt x="46" y="287"/>
                  <a:pt x="46" y="287"/>
                  <a:pt x="46" y="287"/>
                </a:cubicBezTo>
                <a:cubicBezTo>
                  <a:pt x="44" y="294"/>
                  <a:pt x="48" y="301"/>
                  <a:pt x="55" y="303"/>
                </a:cubicBezTo>
                <a:cubicBezTo>
                  <a:pt x="131" y="323"/>
                  <a:pt x="131" y="323"/>
                  <a:pt x="131" y="323"/>
                </a:cubicBezTo>
                <a:cubicBezTo>
                  <a:pt x="135" y="324"/>
                  <a:pt x="138" y="324"/>
                  <a:pt x="141" y="322"/>
                </a:cubicBezTo>
                <a:cubicBezTo>
                  <a:pt x="144" y="320"/>
                  <a:pt x="147" y="317"/>
                  <a:pt x="148" y="314"/>
                </a:cubicBezTo>
                <a:cubicBezTo>
                  <a:pt x="166" y="245"/>
                  <a:pt x="166" y="245"/>
                  <a:pt x="166" y="245"/>
                </a:cubicBezTo>
                <a:cubicBezTo>
                  <a:pt x="168" y="238"/>
                  <a:pt x="164" y="231"/>
                  <a:pt x="157" y="229"/>
                </a:cubicBezTo>
                <a:cubicBezTo>
                  <a:pt x="147" y="226"/>
                  <a:pt x="140" y="218"/>
                  <a:pt x="139" y="208"/>
                </a:cubicBezTo>
                <a:cubicBezTo>
                  <a:pt x="138" y="201"/>
                  <a:pt x="140" y="194"/>
                  <a:pt x="144" y="189"/>
                </a:cubicBezTo>
                <a:cubicBezTo>
                  <a:pt x="150" y="182"/>
                  <a:pt x="159" y="178"/>
                  <a:pt x="168" y="179"/>
                </a:cubicBezTo>
                <a:cubicBezTo>
                  <a:pt x="173" y="179"/>
                  <a:pt x="177" y="181"/>
                  <a:pt x="181" y="184"/>
                </a:cubicBezTo>
                <a:cubicBezTo>
                  <a:pt x="186" y="188"/>
                  <a:pt x="190" y="194"/>
                  <a:pt x="191" y="201"/>
                </a:cubicBezTo>
                <a:cubicBezTo>
                  <a:pt x="191" y="208"/>
                  <a:pt x="190" y="215"/>
                  <a:pt x="185" y="220"/>
                </a:cubicBezTo>
                <a:cubicBezTo>
                  <a:pt x="181" y="226"/>
                  <a:pt x="182" y="233"/>
                  <a:pt x="187" y="238"/>
                </a:cubicBezTo>
                <a:cubicBezTo>
                  <a:pt x="204" y="255"/>
                  <a:pt x="211" y="279"/>
                  <a:pt x="204" y="302"/>
                </a:cubicBezTo>
                <a:cubicBezTo>
                  <a:pt x="200" y="319"/>
                  <a:pt x="189" y="333"/>
                  <a:pt x="174" y="342"/>
                </a:cubicBezTo>
                <a:cubicBezTo>
                  <a:pt x="159" y="350"/>
                  <a:pt x="141" y="353"/>
                  <a:pt x="125" y="348"/>
                </a:cubicBezTo>
                <a:cubicBezTo>
                  <a:pt x="49" y="328"/>
                  <a:pt x="49" y="328"/>
                  <a:pt x="49" y="328"/>
                </a:cubicBezTo>
                <a:cubicBezTo>
                  <a:pt x="42" y="326"/>
                  <a:pt x="35" y="330"/>
                  <a:pt x="32" y="337"/>
                </a:cubicBezTo>
                <a:cubicBezTo>
                  <a:pt x="2" y="442"/>
                  <a:pt x="2" y="442"/>
                  <a:pt x="2" y="442"/>
                </a:cubicBezTo>
                <a:cubicBezTo>
                  <a:pt x="0" y="446"/>
                  <a:pt x="1" y="450"/>
                  <a:pt x="4" y="453"/>
                </a:cubicBezTo>
                <a:cubicBezTo>
                  <a:pt x="6" y="457"/>
                  <a:pt x="10" y="459"/>
                  <a:pt x="14" y="459"/>
                </a:cubicBezTo>
                <a:cubicBezTo>
                  <a:pt x="276" y="459"/>
                  <a:pt x="276" y="459"/>
                  <a:pt x="276" y="459"/>
                </a:cubicBezTo>
                <a:cubicBezTo>
                  <a:pt x="284" y="459"/>
                  <a:pt x="290" y="453"/>
                  <a:pt x="290" y="445"/>
                </a:cubicBezTo>
                <a:cubicBezTo>
                  <a:pt x="290" y="438"/>
                  <a:pt x="284" y="432"/>
                  <a:pt x="276" y="432"/>
                </a:cubicBezTo>
                <a:cubicBezTo>
                  <a:pt x="276" y="432"/>
                  <a:pt x="63" y="432"/>
                  <a:pt x="32" y="432"/>
                </a:cubicBezTo>
                <a:cubicBezTo>
                  <a:pt x="38" y="412"/>
                  <a:pt x="50" y="373"/>
                  <a:pt x="54" y="357"/>
                </a:cubicBezTo>
                <a:cubicBezTo>
                  <a:pt x="72" y="362"/>
                  <a:pt x="118" y="374"/>
                  <a:pt x="118" y="374"/>
                </a:cubicBezTo>
                <a:cubicBezTo>
                  <a:pt x="141" y="380"/>
                  <a:pt x="166" y="377"/>
                  <a:pt x="187" y="365"/>
                </a:cubicBezTo>
                <a:cubicBezTo>
                  <a:pt x="209" y="352"/>
                  <a:pt x="224" y="333"/>
                  <a:pt x="230" y="309"/>
                </a:cubicBezTo>
                <a:cubicBezTo>
                  <a:pt x="232" y="301"/>
                  <a:pt x="233" y="293"/>
                  <a:pt x="233" y="285"/>
                </a:cubicBezTo>
                <a:cubicBezTo>
                  <a:pt x="233" y="264"/>
                  <a:pt x="226" y="243"/>
                  <a:pt x="213" y="227"/>
                </a:cubicBezTo>
                <a:cubicBezTo>
                  <a:pt x="216" y="220"/>
                  <a:pt x="217" y="212"/>
                  <a:pt x="217" y="205"/>
                </a:cubicBezTo>
                <a:cubicBezTo>
                  <a:pt x="217" y="202"/>
                  <a:pt x="217" y="200"/>
                  <a:pt x="217" y="198"/>
                </a:cubicBezTo>
                <a:cubicBezTo>
                  <a:pt x="215" y="184"/>
                  <a:pt x="208" y="171"/>
                  <a:pt x="197" y="163"/>
                </a:cubicBezTo>
                <a:cubicBezTo>
                  <a:pt x="189" y="157"/>
                  <a:pt x="181" y="154"/>
                  <a:pt x="171" y="152"/>
                </a:cubicBezTo>
                <a:cubicBezTo>
                  <a:pt x="153" y="150"/>
                  <a:pt x="134" y="158"/>
                  <a:pt x="123" y="173"/>
                </a:cubicBezTo>
                <a:cubicBezTo>
                  <a:pt x="116" y="182"/>
                  <a:pt x="112" y="193"/>
                  <a:pt x="112" y="205"/>
                </a:cubicBezTo>
                <a:cubicBezTo>
                  <a:pt x="112" y="207"/>
                  <a:pt x="112" y="209"/>
                  <a:pt x="113" y="211"/>
                </a:cubicBezTo>
                <a:cubicBezTo>
                  <a:pt x="115" y="227"/>
                  <a:pt x="124" y="241"/>
                  <a:pt x="137" y="249"/>
                </a:cubicBezTo>
                <a:cubicBezTo>
                  <a:pt x="134" y="261"/>
                  <a:pt x="129" y="280"/>
                  <a:pt x="125" y="294"/>
                </a:cubicBezTo>
                <a:cubicBezTo>
                  <a:pt x="111" y="290"/>
                  <a:pt x="89" y="284"/>
                  <a:pt x="75" y="281"/>
                </a:cubicBezTo>
                <a:cubicBezTo>
                  <a:pt x="81" y="260"/>
                  <a:pt x="117" y="125"/>
                  <a:pt x="122" y="104"/>
                </a:cubicBezTo>
                <a:cubicBezTo>
                  <a:pt x="130" y="106"/>
                  <a:pt x="137" y="102"/>
                  <a:pt x="139" y="95"/>
                </a:cubicBezTo>
                <a:cubicBezTo>
                  <a:pt x="139" y="95"/>
                  <a:pt x="151" y="49"/>
                  <a:pt x="155" y="32"/>
                </a:cubicBezTo>
                <a:cubicBezTo>
                  <a:pt x="165" y="34"/>
                  <a:pt x="171" y="36"/>
                  <a:pt x="180" y="38"/>
                </a:cubicBezTo>
                <a:cubicBezTo>
                  <a:pt x="176" y="56"/>
                  <a:pt x="163" y="101"/>
                  <a:pt x="163" y="101"/>
                </a:cubicBezTo>
                <a:cubicBezTo>
                  <a:pt x="163" y="102"/>
                  <a:pt x="163" y="104"/>
                  <a:pt x="163" y="105"/>
                </a:cubicBezTo>
                <a:cubicBezTo>
                  <a:pt x="163" y="110"/>
                  <a:pt x="167" y="116"/>
                  <a:pt x="172" y="117"/>
                </a:cubicBezTo>
                <a:cubicBezTo>
                  <a:pt x="171" y="123"/>
                  <a:pt x="169" y="128"/>
                  <a:pt x="169" y="128"/>
                </a:cubicBezTo>
                <a:cubicBezTo>
                  <a:pt x="169" y="130"/>
                  <a:pt x="169" y="131"/>
                  <a:pt x="169" y="132"/>
                </a:cubicBezTo>
                <a:cubicBezTo>
                  <a:pt x="169" y="138"/>
                  <a:pt x="172" y="143"/>
                  <a:pt x="178" y="145"/>
                </a:cubicBezTo>
                <a:cubicBezTo>
                  <a:pt x="185" y="147"/>
                  <a:pt x="193" y="143"/>
                  <a:pt x="195" y="136"/>
                </a:cubicBezTo>
                <a:cubicBezTo>
                  <a:pt x="202" y="112"/>
                  <a:pt x="202" y="112"/>
                  <a:pt x="202" y="112"/>
                </a:cubicBezTo>
                <a:cubicBezTo>
                  <a:pt x="202" y="111"/>
                  <a:pt x="202" y="109"/>
                  <a:pt x="202" y="108"/>
                </a:cubicBezTo>
                <a:cubicBezTo>
                  <a:pt x="202" y="106"/>
                  <a:pt x="202" y="104"/>
                  <a:pt x="201" y="102"/>
                </a:cubicBezTo>
                <a:cubicBezTo>
                  <a:pt x="199" y="98"/>
                  <a:pt x="196" y="96"/>
                  <a:pt x="193" y="95"/>
                </a:cubicBezTo>
                <a:cubicBezTo>
                  <a:pt x="197" y="78"/>
                  <a:pt x="209" y="32"/>
                  <a:pt x="209" y="32"/>
                </a:cubicBezTo>
                <a:cubicBezTo>
                  <a:pt x="210" y="31"/>
                  <a:pt x="210" y="30"/>
                  <a:pt x="210" y="29"/>
                </a:cubicBezTo>
                <a:cubicBezTo>
                  <a:pt x="210" y="26"/>
                  <a:pt x="209" y="24"/>
                  <a:pt x="208" y="22"/>
                </a:cubicBezTo>
                <a:cubicBezTo>
                  <a:pt x="206" y="19"/>
                  <a:pt x="203" y="17"/>
                  <a:pt x="200" y="16"/>
                </a:cubicBezTo>
                <a:cubicBezTo>
                  <a:pt x="149" y="2"/>
                  <a:pt x="149" y="2"/>
                  <a:pt x="149" y="2"/>
                </a:cubicBezTo>
                <a:cubicBezTo>
                  <a:pt x="142" y="0"/>
                  <a:pt x="135" y="5"/>
                  <a:pt x="133" y="1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13" name="TextBox 312"/>
          <p:cNvSpPr txBox="1"/>
          <p:nvPr userDrawn="1"/>
        </p:nvSpPr>
        <p:spPr>
          <a:xfrm>
            <a:off x="2465744" y="2597682"/>
            <a:ext cx="392396" cy="184666"/>
          </a:xfrm>
          <a:prstGeom prst="rect">
            <a:avLst/>
          </a:prstGeom>
          <a:noFill/>
        </p:spPr>
        <p:txBody>
          <a:bodyPr wrap="square" lIns="0" tIns="0" rIns="0" bIns="0" rtlCol="0" anchor="t" anchorCtr="0">
            <a:spAutoFit/>
          </a:bodyPr>
          <a:lstStyle/>
          <a:p>
            <a:pPr algn="ctr"/>
            <a:r>
              <a:rPr lang="en-US" sz="600" b="1" dirty="0">
                <a:solidFill>
                  <a:srgbClr val="626469"/>
                </a:solidFill>
                <a:latin typeface="Arial" pitchFamily="34" charset="0"/>
                <a:cs typeface="Arial" pitchFamily="34" charset="0"/>
              </a:rPr>
              <a:t>Life</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sciences</a:t>
            </a:r>
          </a:p>
        </p:txBody>
      </p:sp>
      <p:sp>
        <p:nvSpPr>
          <p:cNvPr id="314" name="Freeform 104"/>
          <p:cNvSpPr>
            <a:spLocks noChangeAspect="1"/>
          </p:cNvSpPr>
          <p:nvPr userDrawn="1"/>
        </p:nvSpPr>
        <p:spPr bwMode="auto">
          <a:xfrm>
            <a:off x="1769762" y="2800267"/>
            <a:ext cx="359518" cy="359422"/>
          </a:xfrm>
          <a:custGeom>
            <a:avLst/>
            <a:gdLst/>
            <a:ahLst/>
            <a:cxnLst>
              <a:cxn ang="0">
                <a:pos x="0" y="38"/>
              </a:cxn>
              <a:cxn ang="0">
                <a:pos x="3" y="55"/>
              </a:cxn>
              <a:cxn ang="0">
                <a:pos x="69" y="253"/>
              </a:cxn>
              <a:cxn ang="0">
                <a:pos x="95" y="253"/>
              </a:cxn>
              <a:cxn ang="0">
                <a:pos x="94" y="173"/>
              </a:cxn>
              <a:cxn ang="0">
                <a:pos x="26" y="38"/>
              </a:cxn>
              <a:cxn ang="0">
                <a:pos x="38" y="26"/>
              </a:cxn>
              <a:cxn ang="0">
                <a:pos x="50" y="34"/>
              </a:cxn>
              <a:cxn ang="0">
                <a:pos x="105" y="142"/>
              </a:cxn>
              <a:cxn ang="0">
                <a:pos x="338" y="305"/>
              </a:cxn>
              <a:cxn ang="0">
                <a:pos x="68" y="318"/>
              </a:cxn>
              <a:cxn ang="0">
                <a:pos x="82" y="386"/>
              </a:cxn>
              <a:cxn ang="0">
                <a:pos x="93" y="394"/>
              </a:cxn>
              <a:cxn ang="0">
                <a:pos x="131" y="433"/>
              </a:cxn>
              <a:cxn ang="0">
                <a:pos x="169" y="386"/>
              </a:cxn>
              <a:cxn ang="0">
                <a:pos x="281" y="394"/>
              </a:cxn>
              <a:cxn ang="0">
                <a:pos x="358" y="394"/>
              </a:cxn>
              <a:cxn ang="0">
                <a:pos x="323" y="364"/>
              </a:cxn>
              <a:cxn ang="0">
                <a:pos x="331" y="394"/>
              </a:cxn>
              <a:cxn ang="0">
                <a:pos x="319" y="406"/>
              </a:cxn>
              <a:cxn ang="0">
                <a:pos x="308" y="394"/>
              </a:cxn>
              <a:cxn ang="0">
                <a:pos x="311" y="365"/>
              </a:cxn>
              <a:cxn ang="0">
                <a:pos x="151" y="359"/>
              </a:cxn>
              <a:cxn ang="0">
                <a:pos x="139" y="377"/>
              </a:cxn>
              <a:cxn ang="0">
                <a:pos x="140" y="403"/>
              </a:cxn>
              <a:cxn ang="0">
                <a:pos x="123" y="403"/>
              </a:cxn>
              <a:cxn ang="0">
                <a:pos x="122" y="382"/>
              </a:cxn>
              <a:cxn ang="0">
                <a:pos x="114" y="359"/>
              </a:cxn>
              <a:cxn ang="0">
                <a:pos x="95" y="331"/>
              </a:cxn>
              <a:cxn ang="0">
                <a:pos x="359" y="323"/>
              </a:cxn>
              <a:cxn ang="0">
                <a:pos x="432" y="129"/>
              </a:cxn>
              <a:cxn ang="0">
                <a:pos x="418" y="115"/>
              </a:cxn>
              <a:cxn ang="0">
                <a:pos x="74" y="24"/>
              </a:cxn>
              <a:cxn ang="0">
                <a:pos x="38" y="0"/>
              </a:cxn>
            </a:cxnLst>
            <a:rect l="0" t="0" r="r" b="b"/>
            <a:pathLst>
              <a:path w="432" h="433">
                <a:moveTo>
                  <a:pt x="11" y="11"/>
                </a:moveTo>
                <a:cubicBezTo>
                  <a:pt x="4" y="18"/>
                  <a:pt x="0" y="28"/>
                  <a:pt x="0" y="38"/>
                </a:cubicBezTo>
                <a:cubicBezTo>
                  <a:pt x="0" y="44"/>
                  <a:pt x="1" y="49"/>
                  <a:pt x="3" y="54"/>
                </a:cubicBezTo>
                <a:cubicBezTo>
                  <a:pt x="3" y="54"/>
                  <a:pt x="3" y="55"/>
                  <a:pt x="3" y="55"/>
                </a:cubicBezTo>
                <a:cubicBezTo>
                  <a:pt x="3" y="55"/>
                  <a:pt x="66" y="177"/>
                  <a:pt x="69" y="182"/>
                </a:cubicBezTo>
                <a:cubicBezTo>
                  <a:pt x="69" y="188"/>
                  <a:pt x="69" y="253"/>
                  <a:pt x="69" y="253"/>
                </a:cubicBezTo>
                <a:cubicBezTo>
                  <a:pt x="69" y="261"/>
                  <a:pt x="74" y="267"/>
                  <a:pt x="82" y="267"/>
                </a:cubicBezTo>
                <a:cubicBezTo>
                  <a:pt x="89" y="267"/>
                  <a:pt x="95" y="261"/>
                  <a:pt x="95" y="253"/>
                </a:cubicBezTo>
                <a:cubicBezTo>
                  <a:pt x="95" y="179"/>
                  <a:pt x="95" y="179"/>
                  <a:pt x="95" y="179"/>
                </a:cubicBezTo>
                <a:cubicBezTo>
                  <a:pt x="95" y="177"/>
                  <a:pt x="95" y="175"/>
                  <a:pt x="94" y="173"/>
                </a:cubicBezTo>
                <a:cubicBezTo>
                  <a:pt x="94" y="173"/>
                  <a:pt x="28" y="44"/>
                  <a:pt x="27" y="43"/>
                </a:cubicBezTo>
                <a:cubicBezTo>
                  <a:pt x="27" y="42"/>
                  <a:pt x="26" y="40"/>
                  <a:pt x="26" y="38"/>
                </a:cubicBezTo>
                <a:cubicBezTo>
                  <a:pt x="26" y="35"/>
                  <a:pt x="28" y="32"/>
                  <a:pt x="30" y="30"/>
                </a:cubicBezTo>
                <a:cubicBezTo>
                  <a:pt x="32" y="28"/>
                  <a:pt x="35" y="26"/>
                  <a:pt x="38" y="26"/>
                </a:cubicBezTo>
                <a:cubicBezTo>
                  <a:pt x="43" y="26"/>
                  <a:pt x="48" y="29"/>
                  <a:pt x="49" y="34"/>
                </a:cubicBezTo>
                <a:cubicBezTo>
                  <a:pt x="49" y="34"/>
                  <a:pt x="50" y="34"/>
                  <a:pt x="50" y="34"/>
                </a:cubicBezTo>
                <a:cubicBezTo>
                  <a:pt x="93" y="134"/>
                  <a:pt x="93" y="134"/>
                  <a:pt x="93" y="134"/>
                </a:cubicBezTo>
                <a:cubicBezTo>
                  <a:pt x="95" y="139"/>
                  <a:pt x="100" y="142"/>
                  <a:pt x="105" y="142"/>
                </a:cubicBezTo>
                <a:cubicBezTo>
                  <a:pt x="105" y="142"/>
                  <a:pt x="365" y="142"/>
                  <a:pt x="399" y="142"/>
                </a:cubicBezTo>
                <a:cubicBezTo>
                  <a:pt x="388" y="170"/>
                  <a:pt x="343" y="291"/>
                  <a:pt x="338" y="305"/>
                </a:cubicBezTo>
                <a:cubicBezTo>
                  <a:pt x="320" y="305"/>
                  <a:pt x="82" y="305"/>
                  <a:pt x="82" y="305"/>
                </a:cubicBezTo>
                <a:cubicBezTo>
                  <a:pt x="74" y="305"/>
                  <a:pt x="68" y="311"/>
                  <a:pt x="68" y="318"/>
                </a:cubicBezTo>
                <a:cubicBezTo>
                  <a:pt x="68" y="372"/>
                  <a:pt x="68" y="372"/>
                  <a:pt x="68" y="372"/>
                </a:cubicBezTo>
                <a:cubicBezTo>
                  <a:pt x="68" y="380"/>
                  <a:pt x="74" y="386"/>
                  <a:pt x="82" y="386"/>
                </a:cubicBezTo>
                <a:cubicBezTo>
                  <a:pt x="82" y="386"/>
                  <a:pt x="88" y="386"/>
                  <a:pt x="93" y="386"/>
                </a:cubicBezTo>
                <a:cubicBezTo>
                  <a:pt x="93" y="389"/>
                  <a:pt x="93" y="393"/>
                  <a:pt x="93" y="394"/>
                </a:cubicBezTo>
                <a:cubicBezTo>
                  <a:pt x="93" y="405"/>
                  <a:pt x="97" y="414"/>
                  <a:pt x="104" y="422"/>
                </a:cubicBezTo>
                <a:cubicBezTo>
                  <a:pt x="111" y="429"/>
                  <a:pt x="121" y="433"/>
                  <a:pt x="131" y="433"/>
                </a:cubicBezTo>
                <a:cubicBezTo>
                  <a:pt x="152" y="433"/>
                  <a:pt x="170" y="416"/>
                  <a:pt x="170" y="394"/>
                </a:cubicBezTo>
                <a:cubicBezTo>
                  <a:pt x="170" y="392"/>
                  <a:pt x="169" y="389"/>
                  <a:pt x="169" y="386"/>
                </a:cubicBezTo>
                <a:cubicBezTo>
                  <a:pt x="193" y="386"/>
                  <a:pt x="258" y="386"/>
                  <a:pt x="282" y="386"/>
                </a:cubicBezTo>
                <a:cubicBezTo>
                  <a:pt x="281" y="389"/>
                  <a:pt x="281" y="392"/>
                  <a:pt x="281" y="394"/>
                </a:cubicBezTo>
                <a:cubicBezTo>
                  <a:pt x="281" y="416"/>
                  <a:pt x="298" y="433"/>
                  <a:pt x="319" y="433"/>
                </a:cubicBezTo>
                <a:cubicBezTo>
                  <a:pt x="341" y="433"/>
                  <a:pt x="358" y="416"/>
                  <a:pt x="358" y="394"/>
                </a:cubicBezTo>
                <a:cubicBezTo>
                  <a:pt x="358" y="381"/>
                  <a:pt x="352" y="368"/>
                  <a:pt x="342" y="361"/>
                </a:cubicBezTo>
                <a:cubicBezTo>
                  <a:pt x="336" y="357"/>
                  <a:pt x="328" y="358"/>
                  <a:pt x="323" y="364"/>
                </a:cubicBezTo>
                <a:cubicBezTo>
                  <a:pt x="319" y="370"/>
                  <a:pt x="320" y="379"/>
                  <a:pt x="326" y="383"/>
                </a:cubicBezTo>
                <a:cubicBezTo>
                  <a:pt x="329" y="385"/>
                  <a:pt x="331" y="390"/>
                  <a:pt x="331" y="394"/>
                </a:cubicBezTo>
                <a:cubicBezTo>
                  <a:pt x="331" y="398"/>
                  <a:pt x="330" y="401"/>
                  <a:pt x="328" y="403"/>
                </a:cubicBezTo>
                <a:cubicBezTo>
                  <a:pt x="326" y="405"/>
                  <a:pt x="323" y="406"/>
                  <a:pt x="319" y="406"/>
                </a:cubicBezTo>
                <a:cubicBezTo>
                  <a:pt x="316" y="406"/>
                  <a:pt x="313" y="405"/>
                  <a:pt x="311" y="403"/>
                </a:cubicBezTo>
                <a:cubicBezTo>
                  <a:pt x="309" y="401"/>
                  <a:pt x="308" y="398"/>
                  <a:pt x="308" y="394"/>
                </a:cubicBezTo>
                <a:cubicBezTo>
                  <a:pt x="308" y="391"/>
                  <a:pt x="310" y="383"/>
                  <a:pt x="312" y="377"/>
                </a:cubicBezTo>
                <a:cubicBezTo>
                  <a:pt x="314" y="373"/>
                  <a:pt x="313" y="368"/>
                  <a:pt x="311" y="365"/>
                </a:cubicBezTo>
                <a:cubicBezTo>
                  <a:pt x="308" y="361"/>
                  <a:pt x="304" y="359"/>
                  <a:pt x="300" y="359"/>
                </a:cubicBezTo>
                <a:cubicBezTo>
                  <a:pt x="151" y="359"/>
                  <a:pt x="151" y="359"/>
                  <a:pt x="151" y="359"/>
                </a:cubicBezTo>
                <a:cubicBezTo>
                  <a:pt x="147" y="359"/>
                  <a:pt x="143" y="361"/>
                  <a:pt x="140" y="365"/>
                </a:cubicBezTo>
                <a:cubicBezTo>
                  <a:pt x="138" y="368"/>
                  <a:pt x="137" y="373"/>
                  <a:pt x="139" y="377"/>
                </a:cubicBezTo>
                <a:cubicBezTo>
                  <a:pt x="141" y="382"/>
                  <a:pt x="143" y="390"/>
                  <a:pt x="143" y="394"/>
                </a:cubicBezTo>
                <a:cubicBezTo>
                  <a:pt x="143" y="398"/>
                  <a:pt x="142" y="401"/>
                  <a:pt x="140" y="403"/>
                </a:cubicBezTo>
                <a:cubicBezTo>
                  <a:pt x="137" y="405"/>
                  <a:pt x="134" y="406"/>
                  <a:pt x="131" y="406"/>
                </a:cubicBezTo>
                <a:cubicBezTo>
                  <a:pt x="128" y="406"/>
                  <a:pt x="125" y="405"/>
                  <a:pt x="123" y="403"/>
                </a:cubicBezTo>
                <a:cubicBezTo>
                  <a:pt x="121" y="401"/>
                  <a:pt x="119" y="398"/>
                  <a:pt x="119" y="394"/>
                </a:cubicBezTo>
                <a:cubicBezTo>
                  <a:pt x="119" y="388"/>
                  <a:pt x="121" y="383"/>
                  <a:pt x="122" y="382"/>
                </a:cubicBezTo>
                <a:cubicBezTo>
                  <a:pt x="126" y="379"/>
                  <a:pt x="128" y="373"/>
                  <a:pt x="126" y="368"/>
                </a:cubicBezTo>
                <a:cubicBezTo>
                  <a:pt x="124" y="362"/>
                  <a:pt x="119" y="359"/>
                  <a:pt x="114" y="359"/>
                </a:cubicBezTo>
                <a:cubicBezTo>
                  <a:pt x="114" y="359"/>
                  <a:pt x="104" y="359"/>
                  <a:pt x="95" y="359"/>
                </a:cubicBezTo>
                <a:cubicBezTo>
                  <a:pt x="95" y="349"/>
                  <a:pt x="95" y="342"/>
                  <a:pt x="95" y="331"/>
                </a:cubicBezTo>
                <a:cubicBezTo>
                  <a:pt x="119" y="331"/>
                  <a:pt x="347" y="331"/>
                  <a:pt x="347" y="331"/>
                </a:cubicBezTo>
                <a:cubicBezTo>
                  <a:pt x="352" y="331"/>
                  <a:pt x="357" y="328"/>
                  <a:pt x="359" y="323"/>
                </a:cubicBezTo>
                <a:cubicBezTo>
                  <a:pt x="431" y="133"/>
                  <a:pt x="431" y="133"/>
                  <a:pt x="431" y="133"/>
                </a:cubicBezTo>
                <a:cubicBezTo>
                  <a:pt x="431" y="132"/>
                  <a:pt x="432" y="130"/>
                  <a:pt x="432" y="129"/>
                </a:cubicBezTo>
                <a:cubicBezTo>
                  <a:pt x="432" y="126"/>
                  <a:pt x="431" y="123"/>
                  <a:pt x="429" y="121"/>
                </a:cubicBezTo>
                <a:cubicBezTo>
                  <a:pt x="427" y="118"/>
                  <a:pt x="423" y="115"/>
                  <a:pt x="418" y="115"/>
                </a:cubicBezTo>
                <a:cubicBezTo>
                  <a:pt x="418" y="115"/>
                  <a:pt x="131" y="115"/>
                  <a:pt x="114" y="115"/>
                </a:cubicBezTo>
                <a:cubicBezTo>
                  <a:pt x="108" y="102"/>
                  <a:pt x="74" y="24"/>
                  <a:pt x="74" y="24"/>
                </a:cubicBezTo>
                <a:cubicBezTo>
                  <a:pt x="74" y="24"/>
                  <a:pt x="74" y="24"/>
                  <a:pt x="74" y="24"/>
                </a:cubicBezTo>
                <a:cubicBezTo>
                  <a:pt x="68" y="9"/>
                  <a:pt x="54" y="0"/>
                  <a:pt x="38" y="0"/>
                </a:cubicBezTo>
                <a:cubicBezTo>
                  <a:pt x="28" y="0"/>
                  <a:pt x="18" y="4"/>
                  <a:pt x="11" y="1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15" name="TextBox 314"/>
          <p:cNvSpPr txBox="1"/>
          <p:nvPr userDrawn="1"/>
        </p:nvSpPr>
        <p:spPr>
          <a:xfrm>
            <a:off x="1669342" y="3213500"/>
            <a:ext cx="577596" cy="92333"/>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Retail</a:t>
            </a:r>
          </a:p>
        </p:txBody>
      </p:sp>
      <p:sp>
        <p:nvSpPr>
          <p:cNvPr id="316" name="Freeform 56"/>
          <p:cNvSpPr>
            <a:spLocks noChangeAspect="1"/>
          </p:cNvSpPr>
          <p:nvPr userDrawn="1"/>
        </p:nvSpPr>
        <p:spPr bwMode="auto">
          <a:xfrm>
            <a:off x="3926790" y="1646520"/>
            <a:ext cx="285052" cy="294894"/>
          </a:xfrm>
          <a:custGeom>
            <a:avLst/>
            <a:gdLst/>
            <a:ahLst/>
            <a:cxnLst>
              <a:cxn ang="0">
                <a:pos x="427" y="4"/>
              </a:cxn>
              <a:cxn ang="0">
                <a:pos x="238" y="2"/>
              </a:cxn>
              <a:cxn ang="0">
                <a:pos x="119" y="27"/>
              </a:cxn>
              <a:cxn ang="0">
                <a:pos x="23" y="257"/>
              </a:cxn>
              <a:cxn ang="0">
                <a:pos x="97" y="324"/>
              </a:cxn>
              <a:cxn ang="0">
                <a:pos x="111" y="311"/>
              </a:cxn>
              <a:cxn ang="0">
                <a:pos x="123" y="199"/>
              </a:cxn>
              <a:cxn ang="0">
                <a:pos x="136" y="112"/>
              </a:cxn>
              <a:cxn ang="0">
                <a:pos x="181" y="241"/>
              </a:cxn>
              <a:cxn ang="0">
                <a:pos x="218" y="255"/>
              </a:cxn>
              <a:cxn ang="0">
                <a:pos x="231" y="305"/>
              </a:cxn>
              <a:cxn ang="0">
                <a:pos x="283" y="291"/>
              </a:cxn>
              <a:cxn ang="0">
                <a:pos x="298" y="154"/>
              </a:cxn>
              <a:cxn ang="0">
                <a:pos x="312" y="246"/>
              </a:cxn>
              <a:cxn ang="0">
                <a:pos x="325" y="141"/>
              </a:cxn>
              <a:cxn ang="0">
                <a:pos x="270" y="127"/>
              </a:cxn>
              <a:cxn ang="0">
                <a:pos x="257" y="278"/>
              </a:cxn>
              <a:cxn ang="0">
                <a:pos x="245" y="241"/>
              </a:cxn>
              <a:cxn ang="0">
                <a:pos x="208" y="228"/>
              </a:cxn>
              <a:cxn ang="0">
                <a:pos x="195" y="86"/>
              </a:cxn>
              <a:cxn ang="0">
                <a:pos x="110" y="99"/>
              </a:cxn>
              <a:cxn ang="0">
                <a:pos x="98" y="172"/>
              </a:cxn>
              <a:cxn ang="0">
                <a:pos x="84" y="289"/>
              </a:cxn>
              <a:cxn ang="0">
                <a:pos x="39" y="150"/>
              </a:cxn>
              <a:cxn ang="0">
                <a:pos x="240" y="28"/>
              </a:cxn>
              <a:cxn ang="0">
                <a:pos x="396" y="32"/>
              </a:cxn>
              <a:cxn ang="0">
                <a:pos x="342" y="262"/>
              </a:cxn>
              <a:cxn ang="0">
                <a:pos x="135" y="348"/>
              </a:cxn>
              <a:cxn ang="0">
                <a:pos x="134" y="348"/>
              </a:cxn>
              <a:cxn ang="0">
                <a:pos x="132" y="347"/>
              </a:cxn>
              <a:cxn ang="0">
                <a:pos x="131" y="347"/>
              </a:cxn>
              <a:cxn ang="0">
                <a:pos x="130" y="348"/>
              </a:cxn>
              <a:cxn ang="0">
                <a:pos x="128" y="348"/>
              </a:cxn>
              <a:cxn ang="0">
                <a:pos x="127" y="348"/>
              </a:cxn>
              <a:cxn ang="0">
                <a:pos x="126" y="349"/>
              </a:cxn>
              <a:cxn ang="0">
                <a:pos x="125" y="349"/>
              </a:cxn>
              <a:cxn ang="0">
                <a:pos x="124" y="350"/>
              </a:cxn>
              <a:cxn ang="0">
                <a:pos x="123" y="351"/>
              </a:cxn>
              <a:cxn ang="0">
                <a:pos x="122" y="352"/>
              </a:cxn>
              <a:cxn ang="0">
                <a:pos x="121" y="353"/>
              </a:cxn>
              <a:cxn ang="0">
                <a:pos x="112" y="412"/>
              </a:cxn>
              <a:cxn ang="0">
                <a:pos x="158" y="460"/>
              </a:cxn>
              <a:cxn ang="0">
                <a:pos x="162" y="434"/>
              </a:cxn>
              <a:cxn ang="0">
                <a:pos x="138" y="376"/>
              </a:cxn>
              <a:cxn ang="0">
                <a:pos x="366" y="273"/>
              </a:cxn>
              <a:cxn ang="0">
                <a:pos x="436" y="29"/>
              </a:cxn>
            </a:cxnLst>
            <a:rect l="0" t="0" r="r" b="b"/>
            <a:pathLst>
              <a:path w="443" h="460">
                <a:moveTo>
                  <a:pt x="441" y="13"/>
                </a:moveTo>
                <a:cubicBezTo>
                  <a:pt x="439" y="7"/>
                  <a:pt x="433" y="4"/>
                  <a:pt x="427" y="4"/>
                </a:cubicBezTo>
                <a:cubicBezTo>
                  <a:pt x="411" y="6"/>
                  <a:pt x="374" y="5"/>
                  <a:pt x="338" y="3"/>
                </a:cubicBezTo>
                <a:cubicBezTo>
                  <a:pt x="300" y="1"/>
                  <a:pt x="260" y="0"/>
                  <a:pt x="238" y="2"/>
                </a:cubicBezTo>
                <a:cubicBezTo>
                  <a:pt x="236" y="2"/>
                  <a:pt x="235" y="2"/>
                  <a:pt x="233" y="2"/>
                </a:cubicBezTo>
                <a:cubicBezTo>
                  <a:pt x="209" y="5"/>
                  <a:pt x="163" y="9"/>
                  <a:pt x="119" y="27"/>
                </a:cubicBezTo>
                <a:cubicBezTo>
                  <a:pt x="63" y="51"/>
                  <a:pt x="28" y="90"/>
                  <a:pt x="14" y="143"/>
                </a:cubicBezTo>
                <a:cubicBezTo>
                  <a:pt x="0" y="193"/>
                  <a:pt x="12" y="233"/>
                  <a:pt x="23" y="257"/>
                </a:cubicBezTo>
                <a:cubicBezTo>
                  <a:pt x="38" y="287"/>
                  <a:pt x="63" y="311"/>
                  <a:pt x="90" y="323"/>
                </a:cubicBezTo>
                <a:cubicBezTo>
                  <a:pt x="92" y="324"/>
                  <a:pt x="95" y="324"/>
                  <a:pt x="97" y="324"/>
                </a:cubicBezTo>
                <a:cubicBezTo>
                  <a:pt x="97" y="324"/>
                  <a:pt x="97" y="324"/>
                  <a:pt x="98" y="324"/>
                </a:cubicBezTo>
                <a:cubicBezTo>
                  <a:pt x="105" y="324"/>
                  <a:pt x="111" y="318"/>
                  <a:pt x="111" y="311"/>
                </a:cubicBezTo>
                <a:cubicBezTo>
                  <a:pt x="111" y="199"/>
                  <a:pt x="111" y="199"/>
                  <a:pt x="111" y="199"/>
                </a:cubicBezTo>
                <a:cubicBezTo>
                  <a:pt x="123" y="199"/>
                  <a:pt x="123" y="199"/>
                  <a:pt x="123" y="199"/>
                </a:cubicBezTo>
                <a:cubicBezTo>
                  <a:pt x="130" y="199"/>
                  <a:pt x="136" y="193"/>
                  <a:pt x="136" y="185"/>
                </a:cubicBezTo>
                <a:cubicBezTo>
                  <a:pt x="136" y="112"/>
                  <a:pt x="136" y="112"/>
                  <a:pt x="136" y="112"/>
                </a:cubicBezTo>
                <a:cubicBezTo>
                  <a:pt x="181" y="112"/>
                  <a:pt x="181" y="112"/>
                  <a:pt x="181" y="112"/>
                </a:cubicBezTo>
                <a:cubicBezTo>
                  <a:pt x="181" y="241"/>
                  <a:pt x="181" y="241"/>
                  <a:pt x="181" y="241"/>
                </a:cubicBezTo>
                <a:cubicBezTo>
                  <a:pt x="181" y="249"/>
                  <a:pt x="187" y="255"/>
                  <a:pt x="195" y="255"/>
                </a:cubicBezTo>
                <a:cubicBezTo>
                  <a:pt x="218" y="255"/>
                  <a:pt x="218" y="255"/>
                  <a:pt x="218" y="255"/>
                </a:cubicBezTo>
                <a:cubicBezTo>
                  <a:pt x="218" y="291"/>
                  <a:pt x="218" y="291"/>
                  <a:pt x="218" y="291"/>
                </a:cubicBezTo>
                <a:cubicBezTo>
                  <a:pt x="218" y="299"/>
                  <a:pt x="224" y="305"/>
                  <a:pt x="231" y="305"/>
                </a:cubicBezTo>
                <a:cubicBezTo>
                  <a:pt x="270" y="305"/>
                  <a:pt x="270" y="305"/>
                  <a:pt x="270" y="305"/>
                </a:cubicBezTo>
                <a:cubicBezTo>
                  <a:pt x="277" y="305"/>
                  <a:pt x="283" y="299"/>
                  <a:pt x="283" y="291"/>
                </a:cubicBezTo>
                <a:cubicBezTo>
                  <a:pt x="283" y="154"/>
                  <a:pt x="283" y="154"/>
                  <a:pt x="283" y="154"/>
                </a:cubicBezTo>
                <a:cubicBezTo>
                  <a:pt x="298" y="154"/>
                  <a:pt x="298" y="154"/>
                  <a:pt x="298" y="154"/>
                </a:cubicBezTo>
                <a:cubicBezTo>
                  <a:pt x="298" y="232"/>
                  <a:pt x="298" y="232"/>
                  <a:pt x="298" y="232"/>
                </a:cubicBezTo>
                <a:cubicBezTo>
                  <a:pt x="298" y="240"/>
                  <a:pt x="304" y="246"/>
                  <a:pt x="312" y="246"/>
                </a:cubicBezTo>
                <a:cubicBezTo>
                  <a:pt x="319" y="246"/>
                  <a:pt x="325" y="240"/>
                  <a:pt x="325" y="232"/>
                </a:cubicBezTo>
                <a:cubicBezTo>
                  <a:pt x="325" y="141"/>
                  <a:pt x="325" y="141"/>
                  <a:pt x="325" y="141"/>
                </a:cubicBezTo>
                <a:cubicBezTo>
                  <a:pt x="325" y="133"/>
                  <a:pt x="319" y="127"/>
                  <a:pt x="312" y="127"/>
                </a:cubicBezTo>
                <a:cubicBezTo>
                  <a:pt x="270" y="127"/>
                  <a:pt x="270" y="127"/>
                  <a:pt x="270" y="127"/>
                </a:cubicBezTo>
                <a:cubicBezTo>
                  <a:pt x="263" y="127"/>
                  <a:pt x="257" y="133"/>
                  <a:pt x="257" y="141"/>
                </a:cubicBezTo>
                <a:cubicBezTo>
                  <a:pt x="257" y="278"/>
                  <a:pt x="257" y="278"/>
                  <a:pt x="257" y="278"/>
                </a:cubicBezTo>
                <a:cubicBezTo>
                  <a:pt x="245" y="278"/>
                  <a:pt x="245" y="278"/>
                  <a:pt x="245" y="278"/>
                </a:cubicBezTo>
                <a:cubicBezTo>
                  <a:pt x="245" y="241"/>
                  <a:pt x="245" y="241"/>
                  <a:pt x="245" y="241"/>
                </a:cubicBezTo>
                <a:cubicBezTo>
                  <a:pt x="245" y="234"/>
                  <a:pt x="239" y="228"/>
                  <a:pt x="231" y="228"/>
                </a:cubicBezTo>
                <a:cubicBezTo>
                  <a:pt x="208" y="228"/>
                  <a:pt x="208" y="228"/>
                  <a:pt x="208" y="228"/>
                </a:cubicBezTo>
                <a:cubicBezTo>
                  <a:pt x="208" y="99"/>
                  <a:pt x="208" y="99"/>
                  <a:pt x="208" y="99"/>
                </a:cubicBezTo>
                <a:cubicBezTo>
                  <a:pt x="208" y="92"/>
                  <a:pt x="202" y="86"/>
                  <a:pt x="195" y="86"/>
                </a:cubicBezTo>
                <a:cubicBezTo>
                  <a:pt x="123" y="86"/>
                  <a:pt x="123" y="86"/>
                  <a:pt x="123" y="86"/>
                </a:cubicBezTo>
                <a:cubicBezTo>
                  <a:pt x="116" y="86"/>
                  <a:pt x="110" y="92"/>
                  <a:pt x="110" y="99"/>
                </a:cubicBezTo>
                <a:cubicBezTo>
                  <a:pt x="110" y="172"/>
                  <a:pt x="110" y="172"/>
                  <a:pt x="110" y="172"/>
                </a:cubicBezTo>
                <a:cubicBezTo>
                  <a:pt x="98" y="172"/>
                  <a:pt x="98" y="172"/>
                  <a:pt x="98" y="172"/>
                </a:cubicBezTo>
                <a:cubicBezTo>
                  <a:pt x="90" y="172"/>
                  <a:pt x="84" y="178"/>
                  <a:pt x="84" y="185"/>
                </a:cubicBezTo>
                <a:cubicBezTo>
                  <a:pt x="84" y="289"/>
                  <a:pt x="84" y="289"/>
                  <a:pt x="84" y="289"/>
                </a:cubicBezTo>
                <a:cubicBezTo>
                  <a:pt x="69" y="279"/>
                  <a:pt x="56" y="264"/>
                  <a:pt x="47" y="245"/>
                </a:cubicBezTo>
                <a:cubicBezTo>
                  <a:pt x="38" y="225"/>
                  <a:pt x="28" y="192"/>
                  <a:pt x="39" y="150"/>
                </a:cubicBezTo>
                <a:cubicBezTo>
                  <a:pt x="68" y="45"/>
                  <a:pt x="190" y="33"/>
                  <a:pt x="236" y="29"/>
                </a:cubicBezTo>
                <a:cubicBezTo>
                  <a:pt x="237" y="29"/>
                  <a:pt x="239" y="29"/>
                  <a:pt x="240" y="28"/>
                </a:cubicBezTo>
                <a:cubicBezTo>
                  <a:pt x="261" y="26"/>
                  <a:pt x="300" y="28"/>
                  <a:pt x="337" y="30"/>
                </a:cubicBezTo>
                <a:cubicBezTo>
                  <a:pt x="358" y="31"/>
                  <a:pt x="379" y="32"/>
                  <a:pt x="396" y="32"/>
                </a:cubicBezTo>
                <a:cubicBezTo>
                  <a:pt x="374" y="64"/>
                  <a:pt x="370" y="108"/>
                  <a:pt x="365" y="152"/>
                </a:cubicBezTo>
                <a:cubicBezTo>
                  <a:pt x="361" y="190"/>
                  <a:pt x="357" y="230"/>
                  <a:pt x="342" y="262"/>
                </a:cubicBezTo>
                <a:cubicBezTo>
                  <a:pt x="305" y="338"/>
                  <a:pt x="222" y="373"/>
                  <a:pt x="135" y="348"/>
                </a:cubicBezTo>
                <a:cubicBezTo>
                  <a:pt x="135" y="348"/>
                  <a:pt x="135" y="348"/>
                  <a:pt x="135" y="348"/>
                </a:cubicBezTo>
                <a:cubicBezTo>
                  <a:pt x="135" y="348"/>
                  <a:pt x="134" y="348"/>
                  <a:pt x="134" y="348"/>
                </a:cubicBezTo>
                <a:cubicBezTo>
                  <a:pt x="134" y="348"/>
                  <a:pt x="134" y="348"/>
                  <a:pt x="134" y="348"/>
                </a:cubicBezTo>
                <a:cubicBezTo>
                  <a:pt x="133" y="348"/>
                  <a:pt x="133" y="348"/>
                  <a:pt x="133" y="348"/>
                </a:cubicBezTo>
                <a:cubicBezTo>
                  <a:pt x="133" y="348"/>
                  <a:pt x="132" y="347"/>
                  <a:pt x="132" y="347"/>
                </a:cubicBezTo>
                <a:cubicBezTo>
                  <a:pt x="132" y="347"/>
                  <a:pt x="132" y="347"/>
                  <a:pt x="132" y="347"/>
                </a:cubicBezTo>
                <a:cubicBezTo>
                  <a:pt x="131" y="347"/>
                  <a:pt x="131" y="347"/>
                  <a:pt x="131" y="347"/>
                </a:cubicBezTo>
                <a:cubicBezTo>
                  <a:pt x="131" y="347"/>
                  <a:pt x="131" y="347"/>
                  <a:pt x="131" y="347"/>
                </a:cubicBezTo>
                <a:cubicBezTo>
                  <a:pt x="130" y="348"/>
                  <a:pt x="130" y="348"/>
                  <a:pt x="130" y="348"/>
                </a:cubicBezTo>
                <a:cubicBezTo>
                  <a:pt x="130" y="348"/>
                  <a:pt x="129" y="348"/>
                  <a:pt x="129" y="348"/>
                </a:cubicBezTo>
                <a:cubicBezTo>
                  <a:pt x="129" y="348"/>
                  <a:pt x="129" y="348"/>
                  <a:pt x="128" y="348"/>
                </a:cubicBezTo>
                <a:cubicBezTo>
                  <a:pt x="128" y="348"/>
                  <a:pt x="128" y="348"/>
                  <a:pt x="128" y="348"/>
                </a:cubicBezTo>
                <a:cubicBezTo>
                  <a:pt x="128" y="348"/>
                  <a:pt x="127" y="348"/>
                  <a:pt x="127" y="348"/>
                </a:cubicBezTo>
                <a:cubicBezTo>
                  <a:pt x="127" y="348"/>
                  <a:pt x="127" y="348"/>
                  <a:pt x="127" y="348"/>
                </a:cubicBezTo>
                <a:cubicBezTo>
                  <a:pt x="126" y="348"/>
                  <a:pt x="126" y="349"/>
                  <a:pt x="126" y="349"/>
                </a:cubicBezTo>
                <a:cubicBezTo>
                  <a:pt x="126" y="349"/>
                  <a:pt x="126" y="349"/>
                  <a:pt x="125" y="349"/>
                </a:cubicBezTo>
                <a:cubicBezTo>
                  <a:pt x="125" y="349"/>
                  <a:pt x="125" y="349"/>
                  <a:pt x="125" y="349"/>
                </a:cubicBezTo>
                <a:cubicBezTo>
                  <a:pt x="125" y="349"/>
                  <a:pt x="124" y="349"/>
                  <a:pt x="124" y="350"/>
                </a:cubicBezTo>
                <a:cubicBezTo>
                  <a:pt x="124" y="350"/>
                  <a:pt x="124" y="350"/>
                  <a:pt x="124" y="350"/>
                </a:cubicBezTo>
                <a:cubicBezTo>
                  <a:pt x="124" y="350"/>
                  <a:pt x="123" y="350"/>
                  <a:pt x="123" y="350"/>
                </a:cubicBezTo>
                <a:cubicBezTo>
                  <a:pt x="123" y="350"/>
                  <a:pt x="123" y="351"/>
                  <a:pt x="123" y="351"/>
                </a:cubicBezTo>
                <a:cubicBezTo>
                  <a:pt x="123" y="351"/>
                  <a:pt x="122" y="351"/>
                  <a:pt x="122" y="351"/>
                </a:cubicBezTo>
                <a:cubicBezTo>
                  <a:pt x="122" y="351"/>
                  <a:pt x="122" y="351"/>
                  <a:pt x="122" y="352"/>
                </a:cubicBezTo>
                <a:cubicBezTo>
                  <a:pt x="122" y="352"/>
                  <a:pt x="122" y="352"/>
                  <a:pt x="121" y="352"/>
                </a:cubicBezTo>
                <a:cubicBezTo>
                  <a:pt x="121" y="352"/>
                  <a:pt x="121" y="352"/>
                  <a:pt x="121" y="353"/>
                </a:cubicBezTo>
                <a:cubicBezTo>
                  <a:pt x="121" y="353"/>
                  <a:pt x="121" y="353"/>
                  <a:pt x="121" y="353"/>
                </a:cubicBezTo>
                <a:cubicBezTo>
                  <a:pt x="108" y="370"/>
                  <a:pt x="105" y="391"/>
                  <a:pt x="112" y="412"/>
                </a:cubicBezTo>
                <a:cubicBezTo>
                  <a:pt x="119" y="434"/>
                  <a:pt x="138" y="455"/>
                  <a:pt x="155" y="459"/>
                </a:cubicBezTo>
                <a:cubicBezTo>
                  <a:pt x="156" y="460"/>
                  <a:pt x="157" y="460"/>
                  <a:pt x="158" y="460"/>
                </a:cubicBezTo>
                <a:cubicBezTo>
                  <a:pt x="164" y="460"/>
                  <a:pt x="170" y="456"/>
                  <a:pt x="171" y="450"/>
                </a:cubicBezTo>
                <a:cubicBezTo>
                  <a:pt x="173" y="443"/>
                  <a:pt x="169" y="436"/>
                  <a:pt x="162" y="434"/>
                </a:cubicBezTo>
                <a:cubicBezTo>
                  <a:pt x="156" y="432"/>
                  <a:pt x="143" y="420"/>
                  <a:pt x="137" y="403"/>
                </a:cubicBezTo>
                <a:cubicBezTo>
                  <a:pt x="134" y="394"/>
                  <a:pt x="134" y="384"/>
                  <a:pt x="138" y="376"/>
                </a:cubicBezTo>
                <a:cubicBezTo>
                  <a:pt x="156" y="381"/>
                  <a:pt x="173" y="383"/>
                  <a:pt x="191" y="383"/>
                </a:cubicBezTo>
                <a:cubicBezTo>
                  <a:pt x="266" y="383"/>
                  <a:pt x="332" y="343"/>
                  <a:pt x="366" y="273"/>
                </a:cubicBezTo>
                <a:cubicBezTo>
                  <a:pt x="383" y="238"/>
                  <a:pt x="387" y="196"/>
                  <a:pt x="392" y="155"/>
                </a:cubicBezTo>
                <a:cubicBezTo>
                  <a:pt x="397" y="102"/>
                  <a:pt x="402" y="51"/>
                  <a:pt x="436" y="29"/>
                </a:cubicBezTo>
                <a:cubicBezTo>
                  <a:pt x="441" y="25"/>
                  <a:pt x="443" y="19"/>
                  <a:pt x="441" y="1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17" name="TextBox 316"/>
          <p:cNvSpPr txBox="1"/>
          <p:nvPr userDrawn="1"/>
        </p:nvSpPr>
        <p:spPr>
          <a:xfrm>
            <a:off x="3787046" y="2071657"/>
            <a:ext cx="577596" cy="92333"/>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Green buildings</a:t>
            </a:r>
          </a:p>
        </p:txBody>
      </p:sp>
      <p:sp>
        <p:nvSpPr>
          <p:cNvPr id="318" name="Freeform 216"/>
          <p:cNvSpPr>
            <a:spLocks noChangeAspect="1"/>
          </p:cNvSpPr>
          <p:nvPr userDrawn="1"/>
        </p:nvSpPr>
        <p:spPr bwMode="auto">
          <a:xfrm>
            <a:off x="2496642" y="1646520"/>
            <a:ext cx="316119" cy="294894"/>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19" name="TextBox 318"/>
          <p:cNvSpPr txBox="1"/>
          <p:nvPr userDrawn="1"/>
        </p:nvSpPr>
        <p:spPr>
          <a:xfrm>
            <a:off x="2423430" y="1979324"/>
            <a:ext cx="477026" cy="92333"/>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Finance</a:t>
            </a:r>
          </a:p>
        </p:txBody>
      </p:sp>
      <p:sp>
        <p:nvSpPr>
          <p:cNvPr id="320" name="Freeform 224"/>
          <p:cNvSpPr>
            <a:spLocks noChangeAspect="1"/>
          </p:cNvSpPr>
          <p:nvPr userDrawn="1"/>
        </p:nvSpPr>
        <p:spPr bwMode="auto">
          <a:xfrm>
            <a:off x="1079029" y="1681948"/>
            <a:ext cx="394183" cy="259466"/>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21" name="TextBox 320"/>
          <p:cNvSpPr txBox="1"/>
          <p:nvPr userDrawn="1"/>
        </p:nvSpPr>
        <p:spPr>
          <a:xfrm>
            <a:off x="1006989" y="1979324"/>
            <a:ext cx="489653"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Cloud and telecom</a:t>
            </a:r>
          </a:p>
        </p:txBody>
      </p:sp>
      <p:sp>
        <p:nvSpPr>
          <p:cNvPr id="322" name="TextBox 321"/>
          <p:cNvSpPr txBox="1"/>
          <p:nvPr userDrawn="1"/>
        </p:nvSpPr>
        <p:spPr>
          <a:xfrm>
            <a:off x="6835332" y="2597682"/>
            <a:ext cx="816603" cy="184666"/>
          </a:xfrm>
          <a:prstGeom prst="rect">
            <a:avLst/>
          </a:prstGeom>
          <a:noFill/>
        </p:spPr>
        <p:txBody>
          <a:bodyPr wrap="square" lIns="68589" tIns="0" rIns="68589" bIns="0" rtlCol="0" anchor="b" anchorCtr="0">
            <a:spAutoFit/>
          </a:bodyPr>
          <a:lstStyle/>
          <a:p>
            <a:pPr algn="ctr"/>
            <a:r>
              <a:rPr lang="en-US" sz="600" b="1" dirty="0">
                <a:solidFill>
                  <a:srgbClr val="626469"/>
                </a:solidFill>
                <a:latin typeface="Arial" pitchFamily="34" charset="0"/>
                <a:cs typeface="Arial" pitchFamily="34" charset="0"/>
              </a:rPr>
              <a:t>Management software</a:t>
            </a:r>
          </a:p>
        </p:txBody>
      </p:sp>
      <p:sp>
        <p:nvSpPr>
          <p:cNvPr id="323" name="TextBox 322"/>
          <p:cNvSpPr txBox="1"/>
          <p:nvPr userDrawn="1"/>
        </p:nvSpPr>
        <p:spPr>
          <a:xfrm>
            <a:off x="6164106" y="3213500"/>
            <a:ext cx="693134" cy="184666"/>
          </a:xfrm>
          <a:prstGeom prst="rect">
            <a:avLst/>
          </a:prstGeom>
          <a:noFill/>
        </p:spPr>
        <p:txBody>
          <a:bodyPr wrap="square" lIns="68589" tIns="0" rIns="68589" bIns="0" rtlCol="0" anchor="b" anchorCtr="0">
            <a:spAutoFit/>
          </a:bodyPr>
          <a:lstStyle/>
          <a:p>
            <a:pPr algn="ctr"/>
            <a:r>
              <a:rPr lang="en-US" sz="600" b="1" dirty="0">
                <a:solidFill>
                  <a:srgbClr val="626469"/>
                </a:solidFill>
                <a:latin typeface="Arial" pitchFamily="34" charset="0"/>
                <a:cs typeface="Arial" pitchFamily="34" charset="0"/>
              </a:rPr>
              <a:t>Power</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Measurement</a:t>
            </a:r>
          </a:p>
        </p:txBody>
      </p:sp>
      <p:sp>
        <p:nvSpPr>
          <p:cNvPr id="324" name="TextBox 323"/>
          <p:cNvSpPr txBox="1"/>
          <p:nvPr userDrawn="1"/>
        </p:nvSpPr>
        <p:spPr>
          <a:xfrm>
            <a:off x="8254337" y="1979324"/>
            <a:ext cx="816603" cy="184666"/>
          </a:xfrm>
          <a:prstGeom prst="rect">
            <a:avLst/>
          </a:prstGeom>
          <a:noFill/>
        </p:spPr>
        <p:txBody>
          <a:bodyPr wrap="square" lIns="68589" tIns="0" rIns="68589" bIns="0" rtlCol="0" anchor="b" anchorCtr="0">
            <a:spAutoFit/>
          </a:bodyPr>
          <a:lstStyle/>
          <a:p>
            <a:pPr algn="ctr"/>
            <a:r>
              <a:rPr lang="en-US" sz="600" b="1" dirty="0">
                <a:solidFill>
                  <a:srgbClr val="626469"/>
                </a:solidFill>
                <a:latin typeface="Arial" pitchFamily="34" charset="0"/>
                <a:cs typeface="Arial" pitchFamily="34" charset="0"/>
              </a:rPr>
              <a:t>Intelligent power and motor control</a:t>
            </a:r>
          </a:p>
        </p:txBody>
      </p:sp>
      <p:sp>
        <p:nvSpPr>
          <p:cNvPr id="325" name="TextBox 324"/>
          <p:cNvSpPr txBox="1"/>
          <p:nvPr userDrawn="1"/>
        </p:nvSpPr>
        <p:spPr>
          <a:xfrm>
            <a:off x="7510739" y="3213500"/>
            <a:ext cx="816603" cy="153888"/>
          </a:xfrm>
          <a:prstGeom prst="rect">
            <a:avLst/>
          </a:prstGeom>
          <a:noFill/>
        </p:spPr>
        <p:txBody>
          <a:bodyPr wrap="square" lIns="68589" tIns="0" rIns="68589" bIns="0" rtlCol="0" anchor="t" anchorCtr="0">
            <a:spAutoFit/>
          </a:bodyPr>
          <a:lstStyle/>
          <a:p>
            <a:pPr algn="ctr">
              <a:lnSpc>
                <a:spcPts val="600"/>
              </a:lnSpc>
            </a:pPr>
            <a:r>
              <a:rPr lang="en-US" sz="600" b="1" dirty="0">
                <a:solidFill>
                  <a:srgbClr val="626469"/>
                </a:solidFill>
                <a:latin typeface="Arial" pitchFamily="34" charset="0"/>
                <a:cs typeface="Arial" pitchFamily="34" charset="0"/>
              </a:rPr>
              <a:t>Renewable energy conversion</a:t>
            </a:r>
          </a:p>
        </p:txBody>
      </p:sp>
      <p:sp>
        <p:nvSpPr>
          <p:cNvPr id="326" name="TextBox 325"/>
          <p:cNvSpPr txBox="1"/>
          <p:nvPr userDrawn="1"/>
        </p:nvSpPr>
        <p:spPr>
          <a:xfrm>
            <a:off x="6118386" y="1979324"/>
            <a:ext cx="784574" cy="184666"/>
          </a:xfrm>
          <a:prstGeom prst="rect">
            <a:avLst/>
          </a:prstGeom>
          <a:noFill/>
        </p:spPr>
        <p:txBody>
          <a:bodyPr wrap="square" lIns="68589" tIns="0" rIns="68589" bIns="0" rtlCol="0" anchor="b" anchorCtr="0">
            <a:spAutoFit/>
          </a:bodyPr>
          <a:lstStyle/>
          <a:p>
            <a:pPr algn="ctr"/>
            <a:r>
              <a:rPr lang="en-US" sz="600" b="1" dirty="0">
                <a:solidFill>
                  <a:srgbClr val="626469"/>
                </a:solidFill>
                <a:latin typeface="Arial" pitchFamily="34" charset="0"/>
                <a:cs typeface="Arial" pitchFamily="34" charset="0"/>
              </a:rPr>
              <a:t>Electric vehicle recharging</a:t>
            </a:r>
          </a:p>
        </p:txBody>
      </p:sp>
      <p:sp>
        <p:nvSpPr>
          <p:cNvPr id="327" name="TextBox 326"/>
          <p:cNvSpPr txBox="1"/>
          <p:nvPr userDrawn="1"/>
        </p:nvSpPr>
        <p:spPr>
          <a:xfrm>
            <a:off x="5372524" y="2597682"/>
            <a:ext cx="848632" cy="184666"/>
          </a:xfrm>
          <a:prstGeom prst="rect">
            <a:avLst/>
          </a:prstGeom>
          <a:noFill/>
        </p:spPr>
        <p:txBody>
          <a:bodyPr wrap="square" lIns="68589" tIns="0" rIns="68589" bIns="0" rtlCol="0" anchor="b" anchorCtr="0">
            <a:spAutoFit/>
          </a:bodyPr>
          <a:lstStyle/>
          <a:p>
            <a:pPr algn="ctr"/>
            <a:r>
              <a:rPr lang="en-US" sz="600" b="1" dirty="0">
                <a:solidFill>
                  <a:srgbClr val="626469"/>
                </a:solidFill>
                <a:latin typeface="Arial" pitchFamily="34" charset="0"/>
                <a:cs typeface="Arial" pitchFamily="34" charset="0"/>
              </a:rPr>
              <a:t>Lifts and</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escalators control</a:t>
            </a:r>
          </a:p>
        </p:txBody>
      </p:sp>
      <p:sp>
        <p:nvSpPr>
          <p:cNvPr id="328" name="TextBox 327"/>
          <p:cNvSpPr txBox="1"/>
          <p:nvPr userDrawn="1"/>
        </p:nvSpPr>
        <p:spPr>
          <a:xfrm>
            <a:off x="7510739" y="2597682"/>
            <a:ext cx="816603" cy="184666"/>
          </a:xfrm>
          <a:prstGeom prst="rect">
            <a:avLst/>
          </a:prstGeom>
          <a:noFill/>
        </p:spPr>
        <p:txBody>
          <a:bodyPr wrap="square" lIns="68589" tIns="0" rIns="68589" bIns="0" rtlCol="0" anchor="b" anchorCtr="0">
            <a:spAutoFit/>
          </a:bodyPr>
          <a:lstStyle/>
          <a:p>
            <a:pPr algn="ctr"/>
            <a:r>
              <a:rPr lang="en-US" sz="600" b="1" dirty="0">
                <a:solidFill>
                  <a:srgbClr val="626469"/>
                </a:solidFill>
                <a:latin typeface="Arial" pitchFamily="34" charset="0"/>
                <a:cs typeface="Arial" pitchFamily="34" charset="0"/>
              </a:rPr>
              <a:t>Material handling control</a:t>
            </a:r>
          </a:p>
        </p:txBody>
      </p:sp>
      <p:sp>
        <p:nvSpPr>
          <p:cNvPr id="329" name="TextBox 328"/>
          <p:cNvSpPr txBox="1"/>
          <p:nvPr userDrawn="1"/>
        </p:nvSpPr>
        <p:spPr>
          <a:xfrm>
            <a:off x="6835332" y="1979324"/>
            <a:ext cx="816603" cy="184666"/>
          </a:xfrm>
          <a:prstGeom prst="rect">
            <a:avLst/>
          </a:prstGeom>
          <a:noFill/>
        </p:spPr>
        <p:txBody>
          <a:bodyPr wrap="square" lIns="68589" tIns="0" rIns="68589" bIns="0" rtlCol="0" anchor="b" anchorCtr="0">
            <a:spAutoFit/>
          </a:bodyPr>
          <a:lstStyle/>
          <a:p>
            <a:pPr algn="ctr"/>
            <a:r>
              <a:rPr lang="en-US" sz="600" b="1" dirty="0">
                <a:solidFill>
                  <a:srgbClr val="626469"/>
                </a:solidFill>
                <a:latin typeface="Arial" pitchFamily="34" charset="0"/>
                <a:cs typeface="Arial" pitchFamily="34" charset="0"/>
              </a:rPr>
              <a:t>Hoisting</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control</a:t>
            </a:r>
          </a:p>
        </p:txBody>
      </p:sp>
      <p:sp>
        <p:nvSpPr>
          <p:cNvPr id="330" name="TextBox 329"/>
          <p:cNvSpPr txBox="1"/>
          <p:nvPr userDrawn="1"/>
        </p:nvSpPr>
        <p:spPr>
          <a:xfrm>
            <a:off x="5417120" y="3790006"/>
            <a:ext cx="816603" cy="253926"/>
          </a:xfrm>
          <a:prstGeom prst="rect">
            <a:avLst/>
          </a:prstGeom>
          <a:noFill/>
        </p:spPr>
        <p:txBody>
          <a:bodyPr wrap="square" lIns="68589" tIns="34295" rIns="68589" bIns="34295" rtlCol="0" anchor="b" anchorCtr="0">
            <a:spAutoFit/>
          </a:bodyPr>
          <a:lstStyle/>
          <a:p>
            <a:pPr algn="ctr"/>
            <a:r>
              <a:rPr lang="en-US" sz="600" b="1" dirty="0">
                <a:solidFill>
                  <a:srgbClr val="626469"/>
                </a:solidFill>
                <a:latin typeface="Arial" pitchFamily="34" charset="0"/>
                <a:cs typeface="Arial" pitchFamily="34" charset="0"/>
              </a:rPr>
              <a:t>Uninterruptable</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power supply</a:t>
            </a:r>
          </a:p>
        </p:txBody>
      </p:sp>
      <p:sp>
        <p:nvSpPr>
          <p:cNvPr id="331" name="TextBox 330"/>
          <p:cNvSpPr txBox="1"/>
          <p:nvPr userDrawn="1"/>
        </p:nvSpPr>
        <p:spPr>
          <a:xfrm>
            <a:off x="8254337" y="3213500"/>
            <a:ext cx="816603" cy="92333"/>
          </a:xfrm>
          <a:prstGeom prst="rect">
            <a:avLst/>
          </a:prstGeom>
          <a:noFill/>
        </p:spPr>
        <p:txBody>
          <a:bodyPr wrap="square" lIns="68589" tIns="0" rIns="68589" bIns="0" rtlCol="0" anchor="b" anchorCtr="0">
            <a:spAutoFit/>
          </a:bodyPr>
          <a:lstStyle/>
          <a:p>
            <a:pPr algn="ctr"/>
            <a:r>
              <a:rPr lang="en-US" sz="600" b="1" dirty="0">
                <a:solidFill>
                  <a:srgbClr val="626469"/>
                </a:solidFill>
                <a:latin typeface="Arial" pitchFamily="34" charset="0"/>
                <a:cs typeface="Arial" pitchFamily="34" charset="0"/>
              </a:rPr>
              <a:t>Surveillance</a:t>
            </a:r>
          </a:p>
        </p:txBody>
      </p:sp>
      <p:sp>
        <p:nvSpPr>
          <p:cNvPr id="332" name="TextBox 331"/>
          <p:cNvSpPr txBox="1"/>
          <p:nvPr userDrawn="1"/>
        </p:nvSpPr>
        <p:spPr>
          <a:xfrm>
            <a:off x="7510739" y="1979324"/>
            <a:ext cx="816603" cy="184666"/>
          </a:xfrm>
          <a:prstGeom prst="rect">
            <a:avLst/>
          </a:prstGeom>
          <a:noFill/>
        </p:spPr>
        <p:txBody>
          <a:bodyPr wrap="square" lIns="68589" tIns="0" rIns="68589" bIns="0" rtlCol="0" anchor="b" anchorCtr="0">
            <a:spAutoFit/>
          </a:bodyPr>
          <a:lstStyle/>
          <a:p>
            <a:pPr algn="ctr"/>
            <a:r>
              <a:rPr lang="en-US" sz="600" b="1" dirty="0">
                <a:solidFill>
                  <a:srgbClr val="626469"/>
                </a:solidFill>
                <a:latin typeface="Arial" pitchFamily="34" charset="0"/>
                <a:cs typeface="Arial" pitchFamily="34" charset="0"/>
              </a:rPr>
              <a:t>HVAC</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control</a:t>
            </a:r>
          </a:p>
        </p:txBody>
      </p:sp>
      <p:sp>
        <p:nvSpPr>
          <p:cNvPr id="333" name="TextBox 332"/>
          <p:cNvSpPr txBox="1"/>
          <p:nvPr userDrawn="1"/>
        </p:nvSpPr>
        <p:spPr>
          <a:xfrm>
            <a:off x="6086358" y="2597682"/>
            <a:ext cx="848632" cy="184666"/>
          </a:xfrm>
          <a:prstGeom prst="rect">
            <a:avLst/>
          </a:prstGeom>
          <a:noFill/>
        </p:spPr>
        <p:txBody>
          <a:bodyPr wrap="square" lIns="68589" tIns="0" rIns="68589" bIns="0" rtlCol="0" anchor="b" anchorCtr="0">
            <a:spAutoFit/>
          </a:bodyPr>
          <a:lstStyle/>
          <a:p>
            <a:pPr algn="ctr"/>
            <a:r>
              <a:rPr lang="en-US" sz="600" b="1" dirty="0">
                <a:solidFill>
                  <a:srgbClr val="626469"/>
                </a:solidFill>
                <a:latin typeface="Arial" pitchFamily="34" charset="0"/>
                <a:cs typeface="Arial" pitchFamily="34" charset="0"/>
              </a:rPr>
              <a:t>Lighting</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control</a:t>
            </a:r>
          </a:p>
        </p:txBody>
      </p:sp>
      <p:sp>
        <p:nvSpPr>
          <p:cNvPr id="334" name="Freeform 196"/>
          <p:cNvSpPr>
            <a:spLocks noChangeAspect="1"/>
          </p:cNvSpPr>
          <p:nvPr userDrawn="1"/>
        </p:nvSpPr>
        <p:spPr bwMode="auto">
          <a:xfrm>
            <a:off x="5668303" y="1646520"/>
            <a:ext cx="245810" cy="294894"/>
          </a:xfrm>
          <a:custGeom>
            <a:avLst/>
            <a:gdLst/>
            <a:ahLst/>
            <a:cxnLst>
              <a:cxn ang="0">
                <a:pos x="47" y="131"/>
              </a:cxn>
              <a:cxn ang="0">
                <a:pos x="47" y="135"/>
              </a:cxn>
              <a:cxn ang="0">
                <a:pos x="86" y="174"/>
              </a:cxn>
              <a:cxn ang="0">
                <a:pos x="133" y="107"/>
              </a:cxn>
              <a:cxn ang="0">
                <a:pos x="226" y="133"/>
              </a:cxn>
              <a:cxn ang="0">
                <a:pos x="181" y="196"/>
              </a:cxn>
              <a:cxn ang="0">
                <a:pos x="167" y="240"/>
              </a:cxn>
              <a:cxn ang="0">
                <a:pos x="181" y="344"/>
              </a:cxn>
              <a:cxn ang="0">
                <a:pos x="231" y="275"/>
              </a:cxn>
              <a:cxn ang="0">
                <a:pos x="205" y="283"/>
              </a:cxn>
              <a:cxn ang="0">
                <a:pos x="181" y="317"/>
              </a:cxn>
              <a:cxn ang="0">
                <a:pos x="181" y="265"/>
              </a:cxn>
              <a:cxn ang="0">
                <a:pos x="194" y="223"/>
              </a:cxn>
              <a:cxn ang="0">
                <a:pos x="253" y="209"/>
              </a:cxn>
              <a:cxn ang="0">
                <a:pos x="175" y="55"/>
              </a:cxn>
              <a:cxn ang="0">
                <a:pos x="97" y="134"/>
              </a:cxn>
              <a:cxn ang="0">
                <a:pos x="86" y="147"/>
              </a:cxn>
              <a:cxn ang="0">
                <a:pos x="74" y="135"/>
              </a:cxn>
              <a:cxn ang="0">
                <a:pos x="73" y="130"/>
              </a:cxn>
              <a:cxn ang="0">
                <a:pos x="281" y="130"/>
              </a:cxn>
              <a:cxn ang="0">
                <a:pos x="281" y="206"/>
              </a:cxn>
              <a:cxn ang="0">
                <a:pos x="295" y="223"/>
              </a:cxn>
              <a:cxn ang="0">
                <a:pos x="346" y="370"/>
              </a:cxn>
              <a:cxn ang="0">
                <a:pos x="79" y="422"/>
              </a:cxn>
              <a:cxn ang="0">
                <a:pos x="26" y="276"/>
              </a:cxn>
              <a:cxn ang="0">
                <a:pos x="99" y="223"/>
              </a:cxn>
              <a:cxn ang="0">
                <a:pos x="99" y="197"/>
              </a:cxn>
              <a:cxn ang="0">
                <a:pos x="0" y="276"/>
              </a:cxn>
              <a:cxn ang="0">
                <a:pos x="79" y="449"/>
              </a:cxn>
              <a:cxn ang="0">
                <a:pos x="373" y="370"/>
              </a:cxn>
              <a:cxn ang="0">
                <a:pos x="308" y="198"/>
              </a:cxn>
              <a:cxn ang="0">
                <a:pos x="177" y="0"/>
              </a:cxn>
            </a:cxnLst>
            <a:rect l="0" t="0" r="r" b="b"/>
            <a:pathLst>
              <a:path w="373" h="449">
                <a:moveTo>
                  <a:pt x="47" y="130"/>
                </a:moveTo>
                <a:cubicBezTo>
                  <a:pt x="47" y="130"/>
                  <a:pt x="47" y="131"/>
                  <a:pt x="47" y="131"/>
                </a:cubicBezTo>
                <a:cubicBezTo>
                  <a:pt x="47" y="136"/>
                  <a:pt x="47" y="136"/>
                  <a:pt x="47" y="136"/>
                </a:cubicBezTo>
                <a:cubicBezTo>
                  <a:pt x="47" y="136"/>
                  <a:pt x="47" y="136"/>
                  <a:pt x="47" y="135"/>
                </a:cubicBezTo>
                <a:cubicBezTo>
                  <a:pt x="47" y="146"/>
                  <a:pt x="51" y="155"/>
                  <a:pt x="58" y="163"/>
                </a:cubicBezTo>
                <a:cubicBezTo>
                  <a:pt x="66" y="170"/>
                  <a:pt x="75" y="174"/>
                  <a:pt x="86" y="174"/>
                </a:cubicBezTo>
                <a:cubicBezTo>
                  <a:pt x="106" y="174"/>
                  <a:pt x="123" y="157"/>
                  <a:pt x="124" y="136"/>
                </a:cubicBezTo>
                <a:cubicBezTo>
                  <a:pt x="124" y="136"/>
                  <a:pt x="125" y="121"/>
                  <a:pt x="133" y="107"/>
                </a:cubicBezTo>
                <a:cubicBezTo>
                  <a:pt x="142" y="90"/>
                  <a:pt x="156" y="82"/>
                  <a:pt x="175" y="82"/>
                </a:cubicBezTo>
                <a:cubicBezTo>
                  <a:pt x="204" y="82"/>
                  <a:pt x="226" y="105"/>
                  <a:pt x="226" y="133"/>
                </a:cubicBezTo>
                <a:cubicBezTo>
                  <a:pt x="226" y="133"/>
                  <a:pt x="226" y="178"/>
                  <a:pt x="226" y="196"/>
                </a:cubicBezTo>
                <a:cubicBezTo>
                  <a:pt x="210" y="196"/>
                  <a:pt x="181" y="196"/>
                  <a:pt x="181" y="196"/>
                </a:cubicBezTo>
                <a:cubicBezTo>
                  <a:pt x="173" y="196"/>
                  <a:pt x="167" y="202"/>
                  <a:pt x="167" y="209"/>
                </a:cubicBezTo>
                <a:cubicBezTo>
                  <a:pt x="167" y="209"/>
                  <a:pt x="167" y="228"/>
                  <a:pt x="167" y="240"/>
                </a:cubicBezTo>
                <a:cubicBezTo>
                  <a:pt x="145" y="246"/>
                  <a:pt x="128" y="267"/>
                  <a:pt x="128" y="291"/>
                </a:cubicBezTo>
                <a:cubicBezTo>
                  <a:pt x="128" y="320"/>
                  <a:pt x="152" y="344"/>
                  <a:pt x="181" y="344"/>
                </a:cubicBezTo>
                <a:cubicBezTo>
                  <a:pt x="210" y="344"/>
                  <a:pt x="233" y="320"/>
                  <a:pt x="233" y="291"/>
                </a:cubicBezTo>
                <a:cubicBezTo>
                  <a:pt x="233" y="285"/>
                  <a:pt x="232" y="280"/>
                  <a:pt x="231" y="275"/>
                </a:cubicBezTo>
                <a:cubicBezTo>
                  <a:pt x="228" y="268"/>
                  <a:pt x="221" y="264"/>
                  <a:pt x="214" y="266"/>
                </a:cubicBezTo>
                <a:cubicBezTo>
                  <a:pt x="207" y="268"/>
                  <a:pt x="203" y="276"/>
                  <a:pt x="205" y="283"/>
                </a:cubicBezTo>
                <a:cubicBezTo>
                  <a:pt x="206" y="285"/>
                  <a:pt x="207" y="288"/>
                  <a:pt x="207" y="291"/>
                </a:cubicBezTo>
                <a:cubicBezTo>
                  <a:pt x="207" y="305"/>
                  <a:pt x="195" y="317"/>
                  <a:pt x="181" y="317"/>
                </a:cubicBezTo>
                <a:cubicBezTo>
                  <a:pt x="166" y="317"/>
                  <a:pt x="155" y="305"/>
                  <a:pt x="155" y="291"/>
                </a:cubicBezTo>
                <a:cubicBezTo>
                  <a:pt x="155" y="277"/>
                  <a:pt x="166" y="265"/>
                  <a:pt x="181" y="265"/>
                </a:cubicBezTo>
                <a:cubicBezTo>
                  <a:pt x="188" y="265"/>
                  <a:pt x="194" y="259"/>
                  <a:pt x="194" y="252"/>
                </a:cubicBezTo>
                <a:cubicBezTo>
                  <a:pt x="194" y="252"/>
                  <a:pt x="194" y="235"/>
                  <a:pt x="194" y="223"/>
                </a:cubicBezTo>
                <a:cubicBezTo>
                  <a:pt x="210" y="223"/>
                  <a:pt x="240" y="223"/>
                  <a:pt x="240" y="223"/>
                </a:cubicBezTo>
                <a:cubicBezTo>
                  <a:pt x="247" y="223"/>
                  <a:pt x="253" y="217"/>
                  <a:pt x="253" y="209"/>
                </a:cubicBezTo>
                <a:cubicBezTo>
                  <a:pt x="253" y="133"/>
                  <a:pt x="253" y="133"/>
                  <a:pt x="253" y="133"/>
                </a:cubicBezTo>
                <a:cubicBezTo>
                  <a:pt x="253" y="90"/>
                  <a:pt x="218" y="55"/>
                  <a:pt x="175" y="55"/>
                </a:cubicBezTo>
                <a:cubicBezTo>
                  <a:pt x="146" y="55"/>
                  <a:pt x="123" y="69"/>
                  <a:pt x="109" y="96"/>
                </a:cubicBezTo>
                <a:cubicBezTo>
                  <a:pt x="99" y="114"/>
                  <a:pt x="97" y="133"/>
                  <a:pt x="97" y="134"/>
                </a:cubicBezTo>
                <a:cubicBezTo>
                  <a:pt x="97" y="134"/>
                  <a:pt x="97" y="135"/>
                  <a:pt x="97" y="135"/>
                </a:cubicBezTo>
                <a:cubicBezTo>
                  <a:pt x="97" y="142"/>
                  <a:pt x="92" y="147"/>
                  <a:pt x="86" y="147"/>
                </a:cubicBezTo>
                <a:cubicBezTo>
                  <a:pt x="82" y="147"/>
                  <a:pt x="79" y="146"/>
                  <a:pt x="77" y="144"/>
                </a:cubicBezTo>
                <a:cubicBezTo>
                  <a:pt x="75" y="141"/>
                  <a:pt x="74" y="138"/>
                  <a:pt x="74" y="135"/>
                </a:cubicBezTo>
                <a:cubicBezTo>
                  <a:pt x="74" y="135"/>
                  <a:pt x="74" y="135"/>
                  <a:pt x="74" y="135"/>
                </a:cubicBezTo>
                <a:cubicBezTo>
                  <a:pt x="74" y="135"/>
                  <a:pt x="73" y="131"/>
                  <a:pt x="73" y="130"/>
                </a:cubicBezTo>
                <a:cubicBezTo>
                  <a:pt x="74" y="73"/>
                  <a:pt x="120" y="27"/>
                  <a:pt x="177" y="27"/>
                </a:cubicBezTo>
                <a:cubicBezTo>
                  <a:pt x="235" y="27"/>
                  <a:pt x="281" y="73"/>
                  <a:pt x="281" y="130"/>
                </a:cubicBezTo>
                <a:cubicBezTo>
                  <a:pt x="281" y="206"/>
                  <a:pt x="281" y="206"/>
                  <a:pt x="281" y="206"/>
                </a:cubicBezTo>
                <a:cubicBezTo>
                  <a:pt x="281" y="206"/>
                  <a:pt x="281" y="206"/>
                  <a:pt x="281" y="206"/>
                </a:cubicBezTo>
                <a:cubicBezTo>
                  <a:pt x="281" y="210"/>
                  <a:pt x="281" y="210"/>
                  <a:pt x="281" y="210"/>
                </a:cubicBezTo>
                <a:cubicBezTo>
                  <a:pt x="281" y="217"/>
                  <a:pt x="287" y="223"/>
                  <a:pt x="295" y="223"/>
                </a:cubicBezTo>
                <a:cubicBezTo>
                  <a:pt x="323" y="223"/>
                  <a:pt x="346" y="247"/>
                  <a:pt x="346" y="276"/>
                </a:cubicBezTo>
                <a:cubicBezTo>
                  <a:pt x="346" y="370"/>
                  <a:pt x="346" y="370"/>
                  <a:pt x="346" y="370"/>
                </a:cubicBezTo>
                <a:cubicBezTo>
                  <a:pt x="346" y="399"/>
                  <a:pt x="323" y="422"/>
                  <a:pt x="294" y="422"/>
                </a:cubicBezTo>
                <a:cubicBezTo>
                  <a:pt x="79" y="422"/>
                  <a:pt x="79" y="422"/>
                  <a:pt x="79" y="422"/>
                </a:cubicBezTo>
                <a:cubicBezTo>
                  <a:pt x="50" y="422"/>
                  <a:pt x="26" y="399"/>
                  <a:pt x="26" y="370"/>
                </a:cubicBezTo>
                <a:cubicBezTo>
                  <a:pt x="26" y="276"/>
                  <a:pt x="26" y="276"/>
                  <a:pt x="26" y="276"/>
                </a:cubicBezTo>
                <a:cubicBezTo>
                  <a:pt x="26" y="247"/>
                  <a:pt x="50" y="223"/>
                  <a:pt x="79" y="223"/>
                </a:cubicBezTo>
                <a:cubicBezTo>
                  <a:pt x="99" y="223"/>
                  <a:pt x="99" y="223"/>
                  <a:pt x="99" y="223"/>
                </a:cubicBezTo>
                <a:cubicBezTo>
                  <a:pt x="106" y="223"/>
                  <a:pt x="112" y="217"/>
                  <a:pt x="112" y="210"/>
                </a:cubicBezTo>
                <a:cubicBezTo>
                  <a:pt x="112" y="202"/>
                  <a:pt x="106" y="197"/>
                  <a:pt x="99" y="197"/>
                </a:cubicBezTo>
                <a:cubicBezTo>
                  <a:pt x="79" y="197"/>
                  <a:pt x="79" y="197"/>
                  <a:pt x="79" y="197"/>
                </a:cubicBezTo>
                <a:cubicBezTo>
                  <a:pt x="35" y="197"/>
                  <a:pt x="0" y="232"/>
                  <a:pt x="0" y="276"/>
                </a:cubicBezTo>
                <a:cubicBezTo>
                  <a:pt x="0" y="370"/>
                  <a:pt x="0" y="370"/>
                  <a:pt x="0" y="370"/>
                </a:cubicBezTo>
                <a:cubicBezTo>
                  <a:pt x="0" y="413"/>
                  <a:pt x="35" y="449"/>
                  <a:pt x="79" y="449"/>
                </a:cubicBezTo>
                <a:cubicBezTo>
                  <a:pt x="294" y="449"/>
                  <a:pt x="294" y="449"/>
                  <a:pt x="294" y="449"/>
                </a:cubicBezTo>
                <a:cubicBezTo>
                  <a:pt x="337" y="449"/>
                  <a:pt x="373" y="413"/>
                  <a:pt x="373" y="370"/>
                </a:cubicBezTo>
                <a:cubicBezTo>
                  <a:pt x="373" y="276"/>
                  <a:pt x="373" y="276"/>
                  <a:pt x="373" y="276"/>
                </a:cubicBezTo>
                <a:cubicBezTo>
                  <a:pt x="373" y="237"/>
                  <a:pt x="345" y="204"/>
                  <a:pt x="308" y="198"/>
                </a:cubicBezTo>
                <a:cubicBezTo>
                  <a:pt x="308" y="185"/>
                  <a:pt x="308" y="130"/>
                  <a:pt x="308" y="130"/>
                </a:cubicBezTo>
                <a:cubicBezTo>
                  <a:pt x="308" y="58"/>
                  <a:pt x="249" y="0"/>
                  <a:pt x="177" y="0"/>
                </a:cubicBezTo>
                <a:cubicBezTo>
                  <a:pt x="105" y="0"/>
                  <a:pt x="47" y="58"/>
                  <a:pt x="47" y="13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335" name="TextBox 334"/>
          <p:cNvSpPr txBox="1"/>
          <p:nvPr userDrawn="1"/>
        </p:nvSpPr>
        <p:spPr>
          <a:xfrm>
            <a:off x="5388538" y="1979324"/>
            <a:ext cx="816603" cy="184666"/>
          </a:xfrm>
          <a:prstGeom prst="rect">
            <a:avLst/>
          </a:prstGeom>
          <a:noFill/>
        </p:spPr>
        <p:txBody>
          <a:bodyPr wrap="square" lIns="68589" tIns="0" rIns="68589" bIns="0" rtlCol="0" anchor="b" anchorCtr="0">
            <a:spAutoFit/>
          </a:bodyPr>
          <a:lstStyle/>
          <a:p>
            <a:pPr algn="ctr"/>
            <a:r>
              <a:rPr lang="en-US" sz="600" b="1" dirty="0">
                <a:solidFill>
                  <a:srgbClr val="626469"/>
                </a:solidFill>
                <a:latin typeface="Arial" pitchFamily="34" charset="0"/>
                <a:cs typeface="Arial" pitchFamily="34" charset="0"/>
              </a:rPr>
              <a:t>Access</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control</a:t>
            </a:r>
          </a:p>
        </p:txBody>
      </p:sp>
      <p:sp>
        <p:nvSpPr>
          <p:cNvPr id="336" name="Freeform 335"/>
          <p:cNvSpPr>
            <a:spLocks noChangeAspect="1"/>
          </p:cNvSpPr>
          <p:nvPr userDrawn="1"/>
        </p:nvSpPr>
        <p:spPr bwMode="auto">
          <a:xfrm>
            <a:off x="8461622" y="2250071"/>
            <a:ext cx="382124" cy="294894"/>
          </a:xfrm>
          <a:custGeom>
            <a:avLst/>
            <a:gdLst/>
            <a:ahLst/>
            <a:cxnLst>
              <a:cxn ang="0">
                <a:pos x="197" y="14"/>
              </a:cxn>
              <a:cxn ang="0">
                <a:pos x="180" y="79"/>
              </a:cxn>
              <a:cxn ang="0">
                <a:pos x="167" y="92"/>
              </a:cxn>
              <a:cxn ang="0">
                <a:pos x="196" y="139"/>
              </a:cxn>
              <a:cxn ang="0">
                <a:pos x="220" y="175"/>
              </a:cxn>
              <a:cxn ang="0">
                <a:pos x="234" y="185"/>
              </a:cxn>
              <a:cxn ang="0">
                <a:pos x="233" y="291"/>
              </a:cxn>
              <a:cxn ang="0">
                <a:pos x="185" y="188"/>
              </a:cxn>
              <a:cxn ang="0">
                <a:pos x="194" y="168"/>
              </a:cxn>
              <a:cxn ang="0">
                <a:pos x="125" y="79"/>
              </a:cxn>
              <a:cxn ang="0">
                <a:pos x="69" y="89"/>
              </a:cxn>
              <a:cxn ang="0">
                <a:pos x="3" y="354"/>
              </a:cxn>
              <a:cxn ang="0">
                <a:pos x="450" y="359"/>
              </a:cxn>
              <a:cxn ang="0">
                <a:pos x="463" y="343"/>
              </a:cxn>
              <a:cxn ang="0">
                <a:pos x="385" y="79"/>
              </a:cxn>
              <a:cxn ang="0">
                <a:pos x="316" y="92"/>
              </a:cxn>
              <a:cxn ang="0">
                <a:pos x="375" y="106"/>
              </a:cxn>
              <a:cxn ang="0">
                <a:pos x="31" y="333"/>
              </a:cxn>
              <a:cxn ang="0">
                <a:pos x="118" y="106"/>
              </a:cxn>
              <a:cxn ang="0">
                <a:pos x="72" y="241"/>
              </a:cxn>
              <a:cxn ang="0">
                <a:pos x="341" y="300"/>
              </a:cxn>
              <a:cxn ang="0">
                <a:pos x="342" y="180"/>
              </a:cxn>
              <a:cxn ang="0">
                <a:pos x="205" y="106"/>
              </a:cxn>
              <a:cxn ang="0">
                <a:pos x="223" y="92"/>
              </a:cxn>
              <a:cxn ang="0">
                <a:pos x="244" y="27"/>
              </a:cxn>
              <a:cxn ang="0">
                <a:pos x="257" y="106"/>
              </a:cxn>
              <a:cxn ang="0">
                <a:pos x="245" y="131"/>
              </a:cxn>
              <a:cxn ang="0">
                <a:pos x="248" y="150"/>
              </a:cxn>
              <a:cxn ang="0">
                <a:pos x="298" y="100"/>
              </a:cxn>
              <a:cxn ang="0">
                <a:pos x="287" y="79"/>
              </a:cxn>
              <a:cxn ang="0">
                <a:pos x="270" y="14"/>
              </a:cxn>
              <a:cxn ang="0">
                <a:pos x="210" y="0"/>
              </a:cxn>
            </a:cxnLst>
            <a:rect l="0" t="0" r="r" b="b"/>
            <a:pathLst>
              <a:path w="464" h="359">
                <a:moveTo>
                  <a:pt x="210" y="0"/>
                </a:moveTo>
                <a:cubicBezTo>
                  <a:pt x="203" y="0"/>
                  <a:pt x="197" y="6"/>
                  <a:pt x="197" y="14"/>
                </a:cubicBezTo>
                <a:cubicBezTo>
                  <a:pt x="197" y="14"/>
                  <a:pt x="197" y="61"/>
                  <a:pt x="197" y="79"/>
                </a:cubicBezTo>
                <a:cubicBezTo>
                  <a:pt x="188" y="79"/>
                  <a:pt x="180" y="79"/>
                  <a:pt x="180" y="79"/>
                </a:cubicBezTo>
                <a:cubicBezTo>
                  <a:pt x="175" y="79"/>
                  <a:pt x="171" y="82"/>
                  <a:pt x="168" y="86"/>
                </a:cubicBezTo>
                <a:cubicBezTo>
                  <a:pt x="167" y="88"/>
                  <a:pt x="167" y="90"/>
                  <a:pt x="167" y="92"/>
                </a:cubicBezTo>
                <a:cubicBezTo>
                  <a:pt x="167" y="95"/>
                  <a:pt x="168" y="98"/>
                  <a:pt x="169" y="100"/>
                </a:cubicBezTo>
                <a:cubicBezTo>
                  <a:pt x="196" y="139"/>
                  <a:pt x="196" y="139"/>
                  <a:pt x="196" y="139"/>
                </a:cubicBezTo>
                <a:cubicBezTo>
                  <a:pt x="214" y="166"/>
                  <a:pt x="214" y="166"/>
                  <a:pt x="214" y="166"/>
                </a:cubicBezTo>
                <a:cubicBezTo>
                  <a:pt x="220" y="175"/>
                  <a:pt x="220" y="175"/>
                  <a:pt x="220" y="175"/>
                </a:cubicBezTo>
                <a:cubicBezTo>
                  <a:pt x="224" y="180"/>
                  <a:pt x="226" y="184"/>
                  <a:pt x="233" y="185"/>
                </a:cubicBezTo>
                <a:cubicBezTo>
                  <a:pt x="233" y="185"/>
                  <a:pt x="234" y="185"/>
                  <a:pt x="234" y="185"/>
                </a:cubicBezTo>
                <a:cubicBezTo>
                  <a:pt x="311" y="185"/>
                  <a:pt x="365" y="215"/>
                  <a:pt x="365" y="241"/>
                </a:cubicBezTo>
                <a:cubicBezTo>
                  <a:pt x="365" y="266"/>
                  <a:pt x="316" y="291"/>
                  <a:pt x="233" y="291"/>
                </a:cubicBezTo>
                <a:cubicBezTo>
                  <a:pt x="150" y="291"/>
                  <a:pt x="99" y="265"/>
                  <a:pt x="99" y="241"/>
                </a:cubicBezTo>
                <a:cubicBezTo>
                  <a:pt x="99" y="219"/>
                  <a:pt x="135" y="197"/>
                  <a:pt x="185" y="188"/>
                </a:cubicBezTo>
                <a:cubicBezTo>
                  <a:pt x="190" y="188"/>
                  <a:pt x="193" y="185"/>
                  <a:pt x="195" y="180"/>
                </a:cubicBezTo>
                <a:cubicBezTo>
                  <a:pt x="197" y="176"/>
                  <a:pt x="196" y="171"/>
                  <a:pt x="194" y="168"/>
                </a:cubicBezTo>
                <a:cubicBezTo>
                  <a:pt x="136" y="85"/>
                  <a:pt x="136" y="85"/>
                  <a:pt x="136" y="85"/>
                </a:cubicBezTo>
                <a:cubicBezTo>
                  <a:pt x="134" y="81"/>
                  <a:pt x="130" y="79"/>
                  <a:pt x="125" y="79"/>
                </a:cubicBezTo>
                <a:cubicBezTo>
                  <a:pt x="82" y="79"/>
                  <a:pt x="82" y="79"/>
                  <a:pt x="82" y="79"/>
                </a:cubicBezTo>
                <a:cubicBezTo>
                  <a:pt x="76" y="79"/>
                  <a:pt x="70" y="83"/>
                  <a:pt x="69" y="89"/>
                </a:cubicBezTo>
                <a:cubicBezTo>
                  <a:pt x="1" y="342"/>
                  <a:pt x="1" y="342"/>
                  <a:pt x="1" y="342"/>
                </a:cubicBezTo>
                <a:cubicBezTo>
                  <a:pt x="0" y="346"/>
                  <a:pt x="1" y="351"/>
                  <a:pt x="3" y="354"/>
                </a:cubicBezTo>
                <a:cubicBezTo>
                  <a:pt x="6" y="357"/>
                  <a:pt x="10" y="359"/>
                  <a:pt x="14" y="359"/>
                </a:cubicBezTo>
                <a:cubicBezTo>
                  <a:pt x="450" y="359"/>
                  <a:pt x="450" y="359"/>
                  <a:pt x="450" y="359"/>
                </a:cubicBezTo>
                <a:cubicBezTo>
                  <a:pt x="454" y="359"/>
                  <a:pt x="458" y="357"/>
                  <a:pt x="461" y="354"/>
                </a:cubicBezTo>
                <a:cubicBezTo>
                  <a:pt x="463" y="351"/>
                  <a:pt x="464" y="347"/>
                  <a:pt x="463" y="343"/>
                </a:cubicBezTo>
                <a:cubicBezTo>
                  <a:pt x="398" y="89"/>
                  <a:pt x="398" y="89"/>
                  <a:pt x="398" y="89"/>
                </a:cubicBezTo>
                <a:cubicBezTo>
                  <a:pt x="397" y="83"/>
                  <a:pt x="391" y="79"/>
                  <a:pt x="385" y="79"/>
                </a:cubicBezTo>
                <a:cubicBezTo>
                  <a:pt x="329" y="79"/>
                  <a:pt x="329" y="79"/>
                  <a:pt x="329" y="79"/>
                </a:cubicBezTo>
                <a:cubicBezTo>
                  <a:pt x="321" y="79"/>
                  <a:pt x="316" y="85"/>
                  <a:pt x="316" y="92"/>
                </a:cubicBezTo>
                <a:cubicBezTo>
                  <a:pt x="316" y="100"/>
                  <a:pt x="321" y="106"/>
                  <a:pt x="329" y="106"/>
                </a:cubicBezTo>
                <a:cubicBezTo>
                  <a:pt x="329" y="106"/>
                  <a:pt x="361" y="106"/>
                  <a:pt x="375" y="106"/>
                </a:cubicBezTo>
                <a:cubicBezTo>
                  <a:pt x="379" y="123"/>
                  <a:pt x="426" y="305"/>
                  <a:pt x="433" y="333"/>
                </a:cubicBezTo>
                <a:cubicBezTo>
                  <a:pt x="403" y="333"/>
                  <a:pt x="62" y="333"/>
                  <a:pt x="31" y="333"/>
                </a:cubicBezTo>
                <a:cubicBezTo>
                  <a:pt x="39" y="304"/>
                  <a:pt x="87" y="123"/>
                  <a:pt x="92" y="106"/>
                </a:cubicBezTo>
                <a:cubicBezTo>
                  <a:pt x="101" y="106"/>
                  <a:pt x="111" y="106"/>
                  <a:pt x="118" y="106"/>
                </a:cubicBezTo>
                <a:cubicBezTo>
                  <a:pt x="124" y="113"/>
                  <a:pt x="147" y="147"/>
                  <a:pt x="160" y="166"/>
                </a:cubicBezTo>
                <a:cubicBezTo>
                  <a:pt x="106" y="180"/>
                  <a:pt x="72" y="208"/>
                  <a:pt x="72" y="241"/>
                </a:cubicBezTo>
                <a:cubicBezTo>
                  <a:pt x="72" y="286"/>
                  <a:pt x="138" y="318"/>
                  <a:pt x="233" y="318"/>
                </a:cubicBezTo>
                <a:cubicBezTo>
                  <a:pt x="275" y="318"/>
                  <a:pt x="313" y="311"/>
                  <a:pt x="341" y="300"/>
                </a:cubicBezTo>
                <a:cubicBezTo>
                  <a:pt x="374" y="286"/>
                  <a:pt x="392" y="265"/>
                  <a:pt x="392" y="241"/>
                </a:cubicBezTo>
                <a:cubicBezTo>
                  <a:pt x="392" y="217"/>
                  <a:pt x="374" y="195"/>
                  <a:pt x="342" y="180"/>
                </a:cubicBezTo>
                <a:cubicBezTo>
                  <a:pt x="315" y="167"/>
                  <a:pt x="279" y="159"/>
                  <a:pt x="241" y="158"/>
                </a:cubicBezTo>
                <a:cubicBezTo>
                  <a:pt x="234" y="148"/>
                  <a:pt x="218" y="125"/>
                  <a:pt x="205" y="106"/>
                </a:cubicBezTo>
                <a:cubicBezTo>
                  <a:pt x="206" y="106"/>
                  <a:pt x="210" y="106"/>
                  <a:pt x="210" y="106"/>
                </a:cubicBezTo>
                <a:cubicBezTo>
                  <a:pt x="217" y="106"/>
                  <a:pt x="223" y="100"/>
                  <a:pt x="223" y="92"/>
                </a:cubicBezTo>
                <a:cubicBezTo>
                  <a:pt x="223" y="92"/>
                  <a:pt x="223" y="45"/>
                  <a:pt x="223" y="27"/>
                </a:cubicBezTo>
                <a:cubicBezTo>
                  <a:pt x="232" y="27"/>
                  <a:pt x="235" y="27"/>
                  <a:pt x="244" y="27"/>
                </a:cubicBezTo>
                <a:cubicBezTo>
                  <a:pt x="244" y="45"/>
                  <a:pt x="244" y="92"/>
                  <a:pt x="244" y="92"/>
                </a:cubicBezTo>
                <a:cubicBezTo>
                  <a:pt x="244" y="100"/>
                  <a:pt x="250" y="106"/>
                  <a:pt x="257" y="106"/>
                </a:cubicBezTo>
                <a:cubicBezTo>
                  <a:pt x="257" y="106"/>
                  <a:pt x="261" y="106"/>
                  <a:pt x="262" y="106"/>
                </a:cubicBezTo>
                <a:cubicBezTo>
                  <a:pt x="253" y="118"/>
                  <a:pt x="245" y="131"/>
                  <a:pt x="245" y="131"/>
                </a:cubicBezTo>
                <a:cubicBezTo>
                  <a:pt x="243" y="133"/>
                  <a:pt x="242" y="136"/>
                  <a:pt x="242" y="139"/>
                </a:cubicBezTo>
                <a:cubicBezTo>
                  <a:pt x="242" y="143"/>
                  <a:pt x="244" y="147"/>
                  <a:pt x="248" y="150"/>
                </a:cubicBezTo>
                <a:cubicBezTo>
                  <a:pt x="254" y="154"/>
                  <a:pt x="262" y="152"/>
                  <a:pt x="267" y="146"/>
                </a:cubicBezTo>
                <a:cubicBezTo>
                  <a:pt x="298" y="100"/>
                  <a:pt x="298" y="100"/>
                  <a:pt x="298" y="100"/>
                </a:cubicBezTo>
                <a:cubicBezTo>
                  <a:pt x="301" y="96"/>
                  <a:pt x="301" y="91"/>
                  <a:pt x="299" y="86"/>
                </a:cubicBezTo>
                <a:cubicBezTo>
                  <a:pt x="296" y="82"/>
                  <a:pt x="292" y="79"/>
                  <a:pt x="287" y="79"/>
                </a:cubicBezTo>
                <a:cubicBezTo>
                  <a:pt x="287" y="79"/>
                  <a:pt x="279" y="79"/>
                  <a:pt x="270" y="79"/>
                </a:cubicBezTo>
                <a:cubicBezTo>
                  <a:pt x="270" y="61"/>
                  <a:pt x="270" y="14"/>
                  <a:pt x="270" y="14"/>
                </a:cubicBezTo>
                <a:cubicBezTo>
                  <a:pt x="270" y="6"/>
                  <a:pt x="265" y="0"/>
                  <a:pt x="257" y="0"/>
                </a:cubicBezTo>
                <a:lnTo>
                  <a:pt x="210"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37" name="Freeform 160"/>
          <p:cNvSpPr>
            <a:spLocks noChangeAspect="1" noEditPoints="1"/>
          </p:cNvSpPr>
          <p:nvPr userDrawn="1"/>
        </p:nvSpPr>
        <p:spPr bwMode="auto">
          <a:xfrm>
            <a:off x="5590964" y="2868016"/>
            <a:ext cx="391360" cy="294894"/>
          </a:xfrm>
          <a:custGeom>
            <a:avLst/>
            <a:gdLst/>
            <a:ahLst/>
            <a:cxnLst>
              <a:cxn ang="0">
                <a:pos x="457" y="83"/>
              </a:cxn>
              <a:cxn ang="0">
                <a:pos x="449" y="73"/>
              </a:cxn>
              <a:cxn ang="0">
                <a:pos x="277" y="2"/>
              </a:cxn>
              <a:cxn ang="0">
                <a:pos x="264" y="3"/>
              </a:cxn>
              <a:cxn ang="0">
                <a:pos x="191" y="57"/>
              </a:cxn>
              <a:cxn ang="0">
                <a:pos x="186" y="69"/>
              </a:cxn>
              <a:cxn ang="0">
                <a:pos x="194" y="80"/>
              </a:cxn>
              <a:cxn ang="0">
                <a:pos x="311" y="126"/>
              </a:cxn>
              <a:cxn ang="0">
                <a:pos x="214" y="153"/>
              </a:cxn>
              <a:cxn ang="0">
                <a:pos x="179" y="87"/>
              </a:cxn>
              <a:cxn ang="0">
                <a:pos x="173" y="81"/>
              </a:cxn>
              <a:cxn ang="0">
                <a:pos x="21" y="7"/>
              </a:cxn>
              <a:cxn ang="0">
                <a:pos x="5" y="10"/>
              </a:cxn>
              <a:cxn ang="0">
                <a:pos x="3" y="26"/>
              </a:cxn>
              <a:cxn ang="0">
                <a:pos x="44" y="98"/>
              </a:cxn>
              <a:cxn ang="0">
                <a:pos x="44" y="250"/>
              </a:cxn>
              <a:cxn ang="0">
                <a:pos x="50" y="261"/>
              </a:cxn>
              <a:cxn ang="0">
                <a:pos x="168" y="336"/>
              </a:cxn>
              <a:cxn ang="0">
                <a:pos x="186" y="332"/>
              </a:cxn>
              <a:cxn ang="0">
                <a:pos x="182" y="314"/>
              </a:cxn>
              <a:cxn ang="0">
                <a:pos x="70" y="243"/>
              </a:cxn>
              <a:cxn ang="0">
                <a:pos x="70" y="95"/>
              </a:cxn>
              <a:cxn ang="0">
                <a:pos x="69" y="88"/>
              </a:cxn>
              <a:cxn ang="0">
                <a:pos x="47" y="50"/>
              </a:cxn>
              <a:cxn ang="0">
                <a:pos x="157" y="103"/>
              </a:cxn>
              <a:cxn ang="0">
                <a:pos x="176" y="139"/>
              </a:cxn>
              <a:cxn ang="0">
                <a:pos x="99" y="98"/>
              </a:cxn>
              <a:cxn ang="0">
                <a:pos x="81" y="104"/>
              </a:cxn>
              <a:cxn ang="0">
                <a:pos x="87" y="122"/>
              </a:cxn>
              <a:cxn ang="0">
                <a:pos x="196" y="179"/>
              </a:cxn>
              <a:cxn ang="0">
                <a:pos x="196" y="331"/>
              </a:cxn>
              <a:cxn ang="0">
                <a:pos x="201" y="342"/>
              </a:cxn>
              <a:cxn ang="0">
                <a:pos x="213" y="343"/>
              </a:cxn>
              <a:cxn ang="0">
                <a:pos x="389" y="285"/>
              </a:cxn>
              <a:cxn ang="0">
                <a:pos x="398" y="273"/>
              </a:cxn>
              <a:cxn ang="0">
                <a:pos x="398" y="139"/>
              </a:cxn>
              <a:cxn ang="0">
                <a:pos x="452" y="95"/>
              </a:cxn>
              <a:cxn ang="0">
                <a:pos x="457" y="83"/>
              </a:cxn>
              <a:cxn ang="0">
                <a:pos x="376" y="122"/>
              </a:cxn>
              <a:cxn ang="0">
                <a:pos x="371" y="133"/>
              </a:cxn>
              <a:cxn ang="0">
                <a:pos x="371" y="263"/>
              </a:cxn>
              <a:cxn ang="0">
                <a:pos x="222" y="312"/>
              </a:cxn>
              <a:cxn ang="0">
                <a:pos x="222" y="178"/>
              </a:cxn>
              <a:cxn ang="0">
                <a:pos x="357" y="141"/>
              </a:cxn>
              <a:cxn ang="0">
                <a:pos x="367" y="129"/>
              </a:cxn>
              <a:cxn ang="0">
                <a:pos x="359" y="116"/>
              </a:cxn>
              <a:cxn ang="0">
                <a:pos x="226" y="64"/>
              </a:cxn>
              <a:cxn ang="0">
                <a:pos x="274" y="29"/>
              </a:cxn>
              <a:cxn ang="0">
                <a:pos x="418" y="89"/>
              </a:cxn>
              <a:cxn ang="0">
                <a:pos x="376" y="122"/>
              </a:cxn>
            </a:cxnLst>
            <a:rect l="0" t="0" r="r" b="b"/>
            <a:pathLst>
              <a:path w="458" h="345">
                <a:moveTo>
                  <a:pt x="457" y="83"/>
                </a:moveTo>
                <a:cubicBezTo>
                  <a:pt x="456" y="78"/>
                  <a:pt x="453" y="75"/>
                  <a:pt x="449" y="73"/>
                </a:cubicBezTo>
                <a:cubicBezTo>
                  <a:pt x="277" y="2"/>
                  <a:pt x="277" y="2"/>
                  <a:pt x="277" y="2"/>
                </a:cubicBezTo>
                <a:cubicBezTo>
                  <a:pt x="273" y="0"/>
                  <a:pt x="268" y="0"/>
                  <a:pt x="264" y="3"/>
                </a:cubicBezTo>
                <a:cubicBezTo>
                  <a:pt x="191" y="57"/>
                  <a:pt x="191" y="57"/>
                  <a:pt x="191" y="57"/>
                </a:cubicBezTo>
                <a:cubicBezTo>
                  <a:pt x="187" y="59"/>
                  <a:pt x="185" y="64"/>
                  <a:pt x="186" y="69"/>
                </a:cubicBezTo>
                <a:cubicBezTo>
                  <a:pt x="186" y="74"/>
                  <a:pt x="189" y="78"/>
                  <a:pt x="194" y="80"/>
                </a:cubicBezTo>
                <a:cubicBezTo>
                  <a:pt x="311" y="126"/>
                  <a:pt x="311" y="126"/>
                  <a:pt x="311" y="126"/>
                </a:cubicBezTo>
                <a:cubicBezTo>
                  <a:pt x="214" y="153"/>
                  <a:pt x="214" y="153"/>
                  <a:pt x="214" y="153"/>
                </a:cubicBezTo>
                <a:cubicBezTo>
                  <a:pt x="179" y="87"/>
                  <a:pt x="179" y="87"/>
                  <a:pt x="179" y="87"/>
                </a:cubicBezTo>
                <a:cubicBezTo>
                  <a:pt x="177" y="84"/>
                  <a:pt x="175" y="82"/>
                  <a:pt x="173" y="81"/>
                </a:cubicBezTo>
                <a:cubicBezTo>
                  <a:pt x="21" y="7"/>
                  <a:pt x="21" y="7"/>
                  <a:pt x="21" y="7"/>
                </a:cubicBezTo>
                <a:cubicBezTo>
                  <a:pt x="15" y="5"/>
                  <a:pt x="9" y="6"/>
                  <a:pt x="5" y="10"/>
                </a:cubicBezTo>
                <a:cubicBezTo>
                  <a:pt x="1" y="14"/>
                  <a:pt x="0" y="21"/>
                  <a:pt x="3" y="26"/>
                </a:cubicBezTo>
                <a:cubicBezTo>
                  <a:pt x="44" y="98"/>
                  <a:pt x="44" y="98"/>
                  <a:pt x="44" y="98"/>
                </a:cubicBezTo>
                <a:cubicBezTo>
                  <a:pt x="44" y="250"/>
                  <a:pt x="44" y="250"/>
                  <a:pt x="44" y="250"/>
                </a:cubicBezTo>
                <a:cubicBezTo>
                  <a:pt x="44" y="254"/>
                  <a:pt x="46" y="259"/>
                  <a:pt x="50" y="261"/>
                </a:cubicBezTo>
                <a:cubicBezTo>
                  <a:pt x="168" y="336"/>
                  <a:pt x="168" y="336"/>
                  <a:pt x="168" y="336"/>
                </a:cubicBezTo>
                <a:cubicBezTo>
                  <a:pt x="174" y="340"/>
                  <a:pt x="182" y="339"/>
                  <a:pt x="186" y="332"/>
                </a:cubicBezTo>
                <a:cubicBezTo>
                  <a:pt x="190" y="326"/>
                  <a:pt x="189" y="318"/>
                  <a:pt x="182" y="314"/>
                </a:cubicBezTo>
                <a:cubicBezTo>
                  <a:pt x="70" y="243"/>
                  <a:pt x="70" y="243"/>
                  <a:pt x="70" y="243"/>
                </a:cubicBezTo>
                <a:cubicBezTo>
                  <a:pt x="70" y="95"/>
                  <a:pt x="70" y="95"/>
                  <a:pt x="70" y="95"/>
                </a:cubicBezTo>
                <a:cubicBezTo>
                  <a:pt x="70" y="92"/>
                  <a:pt x="70" y="90"/>
                  <a:pt x="69" y="88"/>
                </a:cubicBezTo>
                <a:cubicBezTo>
                  <a:pt x="47" y="50"/>
                  <a:pt x="47" y="50"/>
                  <a:pt x="47" y="50"/>
                </a:cubicBezTo>
                <a:cubicBezTo>
                  <a:pt x="157" y="103"/>
                  <a:pt x="157" y="103"/>
                  <a:pt x="157" y="103"/>
                </a:cubicBezTo>
                <a:cubicBezTo>
                  <a:pt x="176" y="139"/>
                  <a:pt x="176" y="139"/>
                  <a:pt x="176" y="139"/>
                </a:cubicBezTo>
                <a:cubicBezTo>
                  <a:pt x="99" y="98"/>
                  <a:pt x="99" y="98"/>
                  <a:pt x="99" y="98"/>
                </a:cubicBezTo>
                <a:cubicBezTo>
                  <a:pt x="93" y="95"/>
                  <a:pt x="84" y="97"/>
                  <a:pt x="81" y="104"/>
                </a:cubicBezTo>
                <a:cubicBezTo>
                  <a:pt x="78" y="110"/>
                  <a:pt x="80" y="118"/>
                  <a:pt x="87" y="122"/>
                </a:cubicBezTo>
                <a:cubicBezTo>
                  <a:pt x="196" y="179"/>
                  <a:pt x="196" y="179"/>
                  <a:pt x="196" y="179"/>
                </a:cubicBezTo>
                <a:cubicBezTo>
                  <a:pt x="196" y="331"/>
                  <a:pt x="196" y="331"/>
                  <a:pt x="196" y="331"/>
                </a:cubicBezTo>
                <a:cubicBezTo>
                  <a:pt x="196" y="335"/>
                  <a:pt x="198" y="339"/>
                  <a:pt x="201" y="342"/>
                </a:cubicBezTo>
                <a:cubicBezTo>
                  <a:pt x="205" y="344"/>
                  <a:pt x="209" y="345"/>
                  <a:pt x="213" y="343"/>
                </a:cubicBezTo>
                <a:cubicBezTo>
                  <a:pt x="389" y="285"/>
                  <a:pt x="389" y="285"/>
                  <a:pt x="389" y="285"/>
                </a:cubicBezTo>
                <a:cubicBezTo>
                  <a:pt x="394" y="284"/>
                  <a:pt x="398" y="279"/>
                  <a:pt x="398" y="273"/>
                </a:cubicBezTo>
                <a:cubicBezTo>
                  <a:pt x="398" y="139"/>
                  <a:pt x="398" y="139"/>
                  <a:pt x="398" y="139"/>
                </a:cubicBezTo>
                <a:cubicBezTo>
                  <a:pt x="452" y="95"/>
                  <a:pt x="452" y="95"/>
                  <a:pt x="452" y="95"/>
                </a:cubicBezTo>
                <a:cubicBezTo>
                  <a:pt x="456" y="92"/>
                  <a:pt x="458" y="88"/>
                  <a:pt x="457" y="83"/>
                </a:cubicBezTo>
                <a:close/>
                <a:moveTo>
                  <a:pt x="376" y="122"/>
                </a:moveTo>
                <a:cubicBezTo>
                  <a:pt x="373" y="125"/>
                  <a:pt x="371" y="129"/>
                  <a:pt x="371" y="133"/>
                </a:cubicBezTo>
                <a:cubicBezTo>
                  <a:pt x="371" y="263"/>
                  <a:pt x="371" y="263"/>
                  <a:pt x="371" y="263"/>
                </a:cubicBezTo>
                <a:cubicBezTo>
                  <a:pt x="222" y="312"/>
                  <a:pt x="222" y="312"/>
                  <a:pt x="222" y="312"/>
                </a:cubicBezTo>
                <a:cubicBezTo>
                  <a:pt x="222" y="178"/>
                  <a:pt x="222" y="178"/>
                  <a:pt x="222" y="178"/>
                </a:cubicBezTo>
                <a:cubicBezTo>
                  <a:pt x="357" y="141"/>
                  <a:pt x="357" y="141"/>
                  <a:pt x="357" y="141"/>
                </a:cubicBezTo>
                <a:cubicBezTo>
                  <a:pt x="363" y="140"/>
                  <a:pt x="367" y="135"/>
                  <a:pt x="367" y="129"/>
                </a:cubicBezTo>
                <a:cubicBezTo>
                  <a:pt x="367" y="123"/>
                  <a:pt x="364" y="118"/>
                  <a:pt x="359" y="116"/>
                </a:cubicBezTo>
                <a:cubicBezTo>
                  <a:pt x="226" y="64"/>
                  <a:pt x="226" y="64"/>
                  <a:pt x="226" y="64"/>
                </a:cubicBezTo>
                <a:cubicBezTo>
                  <a:pt x="274" y="29"/>
                  <a:pt x="274" y="29"/>
                  <a:pt x="274" y="29"/>
                </a:cubicBezTo>
                <a:cubicBezTo>
                  <a:pt x="418" y="89"/>
                  <a:pt x="418" y="89"/>
                  <a:pt x="418" y="89"/>
                </a:cubicBezTo>
                <a:lnTo>
                  <a:pt x="376" y="122"/>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38" name="Freeform 164"/>
          <p:cNvSpPr>
            <a:spLocks noChangeAspect="1"/>
          </p:cNvSpPr>
          <p:nvPr userDrawn="1"/>
        </p:nvSpPr>
        <p:spPr bwMode="auto">
          <a:xfrm>
            <a:off x="7088465" y="2887066"/>
            <a:ext cx="294972" cy="294894"/>
          </a:xfrm>
          <a:custGeom>
            <a:avLst/>
            <a:gdLst/>
            <a:ahLst/>
            <a:cxnLst>
              <a:cxn ang="0">
                <a:pos x="307" y="183"/>
              </a:cxn>
              <a:cxn ang="0">
                <a:pos x="256" y="269"/>
              </a:cxn>
              <a:cxn ang="0">
                <a:pos x="207" y="180"/>
              </a:cxn>
              <a:cxn ang="0">
                <a:pos x="141" y="85"/>
              </a:cxn>
              <a:cxn ang="0">
                <a:pos x="27" y="183"/>
              </a:cxn>
              <a:cxn ang="0">
                <a:pos x="331" y="101"/>
              </a:cxn>
              <a:cxn ang="0">
                <a:pos x="369" y="143"/>
              </a:cxn>
              <a:cxn ang="0">
                <a:pos x="369" y="143"/>
              </a:cxn>
              <a:cxn ang="0">
                <a:pos x="371" y="144"/>
              </a:cxn>
              <a:cxn ang="0">
                <a:pos x="373" y="144"/>
              </a:cxn>
              <a:cxn ang="0">
                <a:pos x="375" y="144"/>
              </a:cxn>
              <a:cxn ang="0">
                <a:pos x="377" y="143"/>
              </a:cxn>
              <a:cxn ang="0">
                <a:pos x="379" y="143"/>
              </a:cxn>
              <a:cxn ang="0">
                <a:pos x="380" y="142"/>
              </a:cxn>
              <a:cxn ang="0">
                <a:pos x="382" y="141"/>
              </a:cxn>
              <a:cxn ang="0">
                <a:pos x="383" y="139"/>
              </a:cxn>
              <a:cxn ang="0">
                <a:pos x="384" y="138"/>
              </a:cxn>
              <a:cxn ang="0">
                <a:pos x="385" y="137"/>
              </a:cxn>
              <a:cxn ang="0">
                <a:pos x="386" y="135"/>
              </a:cxn>
              <a:cxn ang="0">
                <a:pos x="386" y="134"/>
              </a:cxn>
              <a:cxn ang="0">
                <a:pos x="387" y="132"/>
              </a:cxn>
              <a:cxn ang="0">
                <a:pos x="387" y="131"/>
              </a:cxn>
              <a:cxn ang="0">
                <a:pos x="363" y="79"/>
              </a:cxn>
              <a:cxn ang="0">
                <a:pos x="197" y="0"/>
              </a:cxn>
              <a:cxn ang="0">
                <a:pos x="86" y="210"/>
              </a:cxn>
              <a:cxn ang="0">
                <a:pos x="141" y="111"/>
              </a:cxn>
              <a:cxn ang="0">
                <a:pos x="185" y="200"/>
              </a:cxn>
              <a:cxn ang="0">
                <a:pos x="307" y="244"/>
              </a:cxn>
              <a:cxn ang="0">
                <a:pos x="197" y="367"/>
              </a:cxn>
              <a:cxn ang="0">
                <a:pos x="69" y="297"/>
              </a:cxn>
              <a:cxn ang="0">
                <a:pos x="29" y="251"/>
              </a:cxn>
              <a:cxn ang="0">
                <a:pos x="27" y="250"/>
              </a:cxn>
              <a:cxn ang="0">
                <a:pos x="21" y="250"/>
              </a:cxn>
              <a:cxn ang="0">
                <a:pos x="19" y="250"/>
              </a:cxn>
              <a:cxn ang="0">
                <a:pos x="18" y="251"/>
              </a:cxn>
              <a:cxn ang="0">
                <a:pos x="16" y="252"/>
              </a:cxn>
              <a:cxn ang="0">
                <a:pos x="15" y="253"/>
              </a:cxn>
              <a:cxn ang="0">
                <a:pos x="13" y="254"/>
              </a:cxn>
              <a:cxn ang="0">
                <a:pos x="11" y="259"/>
              </a:cxn>
              <a:cxn ang="0">
                <a:pos x="4" y="312"/>
              </a:cxn>
              <a:cxn ang="0">
                <a:pos x="30" y="315"/>
              </a:cxn>
              <a:cxn ang="0">
                <a:pos x="197" y="394"/>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39" name="TextBox 338"/>
          <p:cNvSpPr txBox="1"/>
          <p:nvPr userDrawn="1"/>
        </p:nvSpPr>
        <p:spPr>
          <a:xfrm>
            <a:off x="6851347" y="3213500"/>
            <a:ext cx="784574" cy="184666"/>
          </a:xfrm>
          <a:prstGeom prst="rect">
            <a:avLst/>
          </a:prstGeom>
          <a:noFill/>
        </p:spPr>
        <p:txBody>
          <a:bodyPr wrap="square" lIns="68589" tIns="0" rIns="68589" bIns="0" rtlCol="0" anchor="b" anchorCtr="0">
            <a:spAutoFit/>
          </a:bodyPr>
          <a:lstStyle/>
          <a:p>
            <a:pPr algn="ctr"/>
            <a:r>
              <a:rPr lang="en-US" sz="600" b="1" dirty="0">
                <a:solidFill>
                  <a:srgbClr val="626469"/>
                </a:solidFill>
                <a:latin typeface="Arial" pitchFamily="34" charset="0"/>
                <a:cs typeface="Arial" pitchFamily="34" charset="0"/>
              </a:rPr>
              <a:t>Prosumer microgrid</a:t>
            </a:r>
          </a:p>
        </p:txBody>
      </p:sp>
      <p:sp>
        <p:nvSpPr>
          <p:cNvPr id="340" name="TextBox 339"/>
          <p:cNvSpPr txBox="1"/>
          <p:nvPr userDrawn="1"/>
        </p:nvSpPr>
        <p:spPr>
          <a:xfrm>
            <a:off x="5404552" y="3213500"/>
            <a:ext cx="784574" cy="184666"/>
          </a:xfrm>
          <a:prstGeom prst="rect">
            <a:avLst/>
          </a:prstGeom>
          <a:noFill/>
        </p:spPr>
        <p:txBody>
          <a:bodyPr wrap="square" lIns="68589" tIns="0" rIns="68589" bIns="0" rtlCol="0" anchor="b" anchorCtr="0">
            <a:spAutoFit/>
          </a:bodyPr>
          <a:lstStyle/>
          <a:p>
            <a:pPr algn="ctr"/>
            <a:r>
              <a:rPr lang="en-US" sz="600" b="1" dirty="0">
                <a:solidFill>
                  <a:srgbClr val="626469"/>
                </a:solidFill>
                <a:latin typeface="Arial" pitchFamily="34" charset="0"/>
                <a:cs typeface="Arial" pitchFamily="34" charset="0"/>
              </a:rPr>
              <a:t>Packaging control</a:t>
            </a:r>
          </a:p>
        </p:txBody>
      </p:sp>
      <p:sp>
        <p:nvSpPr>
          <p:cNvPr id="341" name="TextBox 340"/>
          <p:cNvSpPr txBox="1"/>
          <p:nvPr userDrawn="1"/>
        </p:nvSpPr>
        <p:spPr>
          <a:xfrm>
            <a:off x="8270352" y="2597682"/>
            <a:ext cx="784574" cy="184666"/>
          </a:xfrm>
          <a:prstGeom prst="rect">
            <a:avLst/>
          </a:prstGeom>
          <a:noFill/>
        </p:spPr>
        <p:txBody>
          <a:bodyPr wrap="square" lIns="68589" tIns="0" rIns="68589" bIns="0" rtlCol="0" anchor="b" anchorCtr="0">
            <a:spAutoFit/>
          </a:bodyPr>
          <a:lstStyle/>
          <a:p>
            <a:pPr algn="ctr"/>
            <a:r>
              <a:rPr lang="en-US" sz="600" b="1" dirty="0">
                <a:solidFill>
                  <a:srgbClr val="626469"/>
                </a:solidFill>
                <a:latin typeface="Arial" pitchFamily="34" charset="0"/>
                <a:cs typeface="Arial" pitchFamily="34" charset="0"/>
              </a:rPr>
              <a:t>Material</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working</a:t>
            </a:r>
          </a:p>
        </p:txBody>
      </p:sp>
      <p:sp>
        <p:nvSpPr>
          <p:cNvPr id="342" name="Freeform 673"/>
          <p:cNvSpPr>
            <a:spLocks noEditPoints="1"/>
          </p:cNvSpPr>
          <p:nvPr userDrawn="1"/>
        </p:nvSpPr>
        <p:spPr bwMode="auto">
          <a:xfrm>
            <a:off x="5680514" y="4184425"/>
            <a:ext cx="289815" cy="378050"/>
          </a:xfrm>
          <a:custGeom>
            <a:avLst/>
            <a:gdLst/>
            <a:ahLst/>
            <a:cxnLst>
              <a:cxn ang="0">
                <a:pos x="313" y="120"/>
              </a:cxn>
              <a:cxn ang="0">
                <a:pos x="299" y="120"/>
              </a:cxn>
              <a:cxn ang="0">
                <a:pos x="196" y="181"/>
              </a:cxn>
              <a:cxn ang="0">
                <a:pos x="191" y="199"/>
              </a:cxn>
              <a:cxn ang="0">
                <a:pos x="210" y="204"/>
              </a:cxn>
              <a:cxn ang="0">
                <a:pos x="291" y="156"/>
              </a:cxn>
              <a:cxn ang="0">
                <a:pos x="279" y="343"/>
              </a:cxn>
              <a:cxn ang="0">
                <a:pos x="179" y="421"/>
              </a:cxn>
              <a:cxn ang="0">
                <a:pos x="179" y="172"/>
              </a:cxn>
              <a:cxn ang="0">
                <a:pos x="313" y="94"/>
              </a:cxn>
              <a:cxn ang="0">
                <a:pos x="320" y="82"/>
              </a:cxn>
              <a:cxn ang="0">
                <a:pos x="320" y="82"/>
              </a:cxn>
              <a:cxn ang="0">
                <a:pos x="312" y="70"/>
              </a:cxn>
              <a:cxn ang="0">
                <a:pos x="157" y="2"/>
              </a:cxn>
              <a:cxn ang="0">
                <a:pos x="145" y="2"/>
              </a:cxn>
              <a:cxn ang="0">
                <a:pos x="8" y="69"/>
              </a:cxn>
              <a:cxn ang="0">
                <a:pos x="1" y="82"/>
              </a:cxn>
              <a:cxn ang="0">
                <a:pos x="18" y="362"/>
              </a:cxn>
              <a:cxn ang="0">
                <a:pos x="24" y="373"/>
              </a:cxn>
              <a:cxn ang="0">
                <a:pos x="115" y="437"/>
              </a:cxn>
              <a:cxn ang="0">
                <a:pos x="129" y="438"/>
              </a:cxn>
              <a:cxn ang="0">
                <a:pos x="136" y="426"/>
              </a:cxn>
              <a:cxn ang="0">
                <a:pos x="136" y="177"/>
              </a:cxn>
              <a:cxn ang="0">
                <a:pos x="123" y="163"/>
              </a:cxn>
              <a:cxn ang="0">
                <a:pos x="110" y="177"/>
              </a:cxn>
              <a:cxn ang="0">
                <a:pos x="110" y="400"/>
              </a:cxn>
              <a:cxn ang="0">
                <a:pos x="44" y="354"/>
              </a:cxn>
              <a:cxn ang="0">
                <a:pos x="28" y="89"/>
              </a:cxn>
              <a:cxn ang="0">
                <a:pos x="151" y="29"/>
              </a:cxn>
              <a:cxn ang="0">
                <a:pos x="277" y="84"/>
              </a:cxn>
              <a:cxn ang="0">
                <a:pos x="159" y="152"/>
              </a:cxn>
              <a:cxn ang="0">
                <a:pos x="153" y="164"/>
              </a:cxn>
              <a:cxn ang="0">
                <a:pos x="152" y="449"/>
              </a:cxn>
              <a:cxn ang="0">
                <a:pos x="160" y="461"/>
              </a:cxn>
              <a:cxn ang="0">
                <a:pos x="174" y="459"/>
              </a:cxn>
              <a:cxn ang="0">
                <a:pos x="300" y="360"/>
              </a:cxn>
              <a:cxn ang="0">
                <a:pos x="305" y="350"/>
              </a:cxn>
              <a:cxn ang="0">
                <a:pos x="319" y="132"/>
              </a:cxn>
              <a:cxn ang="0">
                <a:pos x="313" y="120"/>
              </a:cxn>
              <a:cxn ang="0">
                <a:pos x="274" y="279"/>
              </a:cxn>
              <a:cxn ang="0">
                <a:pos x="275" y="256"/>
              </a:cxn>
              <a:cxn ang="0">
                <a:pos x="262" y="242"/>
              </a:cxn>
              <a:cxn ang="0">
                <a:pos x="248" y="255"/>
              </a:cxn>
              <a:cxn ang="0">
                <a:pos x="247" y="278"/>
              </a:cxn>
              <a:cxn ang="0">
                <a:pos x="260" y="292"/>
              </a:cxn>
              <a:cxn ang="0">
                <a:pos x="274" y="279"/>
              </a:cxn>
            </a:cxnLst>
            <a:rect l="0" t="0" r="r" b="b"/>
            <a:pathLst>
              <a:path w="320" h="463">
                <a:moveTo>
                  <a:pt x="313" y="120"/>
                </a:moveTo>
                <a:cubicBezTo>
                  <a:pt x="309" y="117"/>
                  <a:pt x="303" y="117"/>
                  <a:pt x="299" y="120"/>
                </a:cubicBezTo>
                <a:cubicBezTo>
                  <a:pt x="196" y="181"/>
                  <a:pt x="196" y="181"/>
                  <a:pt x="196" y="181"/>
                </a:cubicBezTo>
                <a:cubicBezTo>
                  <a:pt x="190" y="185"/>
                  <a:pt x="188" y="193"/>
                  <a:pt x="191" y="199"/>
                </a:cubicBezTo>
                <a:cubicBezTo>
                  <a:pt x="195" y="206"/>
                  <a:pt x="203" y="208"/>
                  <a:pt x="210" y="204"/>
                </a:cubicBezTo>
                <a:cubicBezTo>
                  <a:pt x="210" y="204"/>
                  <a:pt x="264" y="172"/>
                  <a:pt x="291" y="156"/>
                </a:cubicBezTo>
                <a:cubicBezTo>
                  <a:pt x="288" y="194"/>
                  <a:pt x="279" y="333"/>
                  <a:pt x="279" y="343"/>
                </a:cubicBezTo>
                <a:cubicBezTo>
                  <a:pt x="271" y="348"/>
                  <a:pt x="207" y="399"/>
                  <a:pt x="179" y="421"/>
                </a:cubicBezTo>
                <a:cubicBezTo>
                  <a:pt x="179" y="378"/>
                  <a:pt x="179" y="185"/>
                  <a:pt x="179" y="172"/>
                </a:cubicBezTo>
                <a:cubicBezTo>
                  <a:pt x="191" y="165"/>
                  <a:pt x="313" y="94"/>
                  <a:pt x="313" y="94"/>
                </a:cubicBezTo>
                <a:cubicBezTo>
                  <a:pt x="317" y="91"/>
                  <a:pt x="320" y="87"/>
                  <a:pt x="320" y="82"/>
                </a:cubicBezTo>
                <a:cubicBezTo>
                  <a:pt x="320" y="82"/>
                  <a:pt x="320" y="82"/>
                  <a:pt x="320" y="82"/>
                </a:cubicBezTo>
                <a:cubicBezTo>
                  <a:pt x="320" y="77"/>
                  <a:pt x="317" y="72"/>
                  <a:pt x="312" y="70"/>
                </a:cubicBezTo>
                <a:cubicBezTo>
                  <a:pt x="157" y="2"/>
                  <a:pt x="157" y="2"/>
                  <a:pt x="157" y="2"/>
                </a:cubicBezTo>
                <a:cubicBezTo>
                  <a:pt x="153" y="0"/>
                  <a:pt x="149" y="0"/>
                  <a:pt x="145" y="2"/>
                </a:cubicBezTo>
                <a:cubicBezTo>
                  <a:pt x="8" y="69"/>
                  <a:pt x="8" y="69"/>
                  <a:pt x="8" y="69"/>
                </a:cubicBezTo>
                <a:cubicBezTo>
                  <a:pt x="3" y="71"/>
                  <a:pt x="0" y="77"/>
                  <a:pt x="1" y="82"/>
                </a:cubicBezTo>
                <a:cubicBezTo>
                  <a:pt x="18" y="362"/>
                  <a:pt x="18" y="362"/>
                  <a:pt x="18" y="362"/>
                </a:cubicBezTo>
                <a:cubicBezTo>
                  <a:pt x="19" y="367"/>
                  <a:pt x="21" y="370"/>
                  <a:pt x="24" y="373"/>
                </a:cubicBezTo>
                <a:cubicBezTo>
                  <a:pt x="115" y="437"/>
                  <a:pt x="115" y="437"/>
                  <a:pt x="115" y="437"/>
                </a:cubicBezTo>
                <a:cubicBezTo>
                  <a:pt x="119" y="439"/>
                  <a:pt x="125" y="440"/>
                  <a:pt x="129" y="438"/>
                </a:cubicBezTo>
                <a:cubicBezTo>
                  <a:pt x="134" y="435"/>
                  <a:pt x="136" y="431"/>
                  <a:pt x="136" y="426"/>
                </a:cubicBezTo>
                <a:cubicBezTo>
                  <a:pt x="136" y="177"/>
                  <a:pt x="136" y="177"/>
                  <a:pt x="136" y="177"/>
                </a:cubicBezTo>
                <a:cubicBezTo>
                  <a:pt x="136" y="169"/>
                  <a:pt x="130" y="163"/>
                  <a:pt x="123" y="163"/>
                </a:cubicBezTo>
                <a:cubicBezTo>
                  <a:pt x="116" y="163"/>
                  <a:pt x="110" y="169"/>
                  <a:pt x="110" y="177"/>
                </a:cubicBezTo>
                <a:cubicBezTo>
                  <a:pt x="110" y="177"/>
                  <a:pt x="110" y="359"/>
                  <a:pt x="110" y="400"/>
                </a:cubicBezTo>
                <a:cubicBezTo>
                  <a:pt x="87" y="384"/>
                  <a:pt x="52" y="359"/>
                  <a:pt x="44" y="354"/>
                </a:cubicBezTo>
                <a:cubicBezTo>
                  <a:pt x="44" y="343"/>
                  <a:pt x="29" y="105"/>
                  <a:pt x="28" y="89"/>
                </a:cubicBezTo>
                <a:cubicBezTo>
                  <a:pt x="41" y="83"/>
                  <a:pt x="142" y="33"/>
                  <a:pt x="151" y="29"/>
                </a:cubicBezTo>
                <a:cubicBezTo>
                  <a:pt x="160" y="32"/>
                  <a:pt x="244" y="69"/>
                  <a:pt x="277" y="84"/>
                </a:cubicBezTo>
                <a:cubicBezTo>
                  <a:pt x="245" y="102"/>
                  <a:pt x="159" y="152"/>
                  <a:pt x="159" y="152"/>
                </a:cubicBezTo>
                <a:cubicBezTo>
                  <a:pt x="155" y="155"/>
                  <a:pt x="153" y="159"/>
                  <a:pt x="153" y="164"/>
                </a:cubicBezTo>
                <a:cubicBezTo>
                  <a:pt x="153" y="164"/>
                  <a:pt x="152" y="449"/>
                  <a:pt x="152" y="449"/>
                </a:cubicBezTo>
                <a:cubicBezTo>
                  <a:pt x="152" y="454"/>
                  <a:pt x="155" y="459"/>
                  <a:pt x="160" y="461"/>
                </a:cubicBezTo>
                <a:cubicBezTo>
                  <a:pt x="164" y="463"/>
                  <a:pt x="170" y="462"/>
                  <a:pt x="174" y="459"/>
                </a:cubicBezTo>
                <a:cubicBezTo>
                  <a:pt x="300" y="360"/>
                  <a:pt x="300" y="360"/>
                  <a:pt x="300" y="360"/>
                </a:cubicBezTo>
                <a:cubicBezTo>
                  <a:pt x="303" y="358"/>
                  <a:pt x="304" y="354"/>
                  <a:pt x="305" y="350"/>
                </a:cubicBezTo>
                <a:cubicBezTo>
                  <a:pt x="319" y="132"/>
                  <a:pt x="319" y="132"/>
                  <a:pt x="319" y="132"/>
                </a:cubicBezTo>
                <a:cubicBezTo>
                  <a:pt x="320" y="127"/>
                  <a:pt x="317" y="122"/>
                  <a:pt x="313" y="120"/>
                </a:cubicBezTo>
                <a:close/>
                <a:moveTo>
                  <a:pt x="274" y="279"/>
                </a:moveTo>
                <a:cubicBezTo>
                  <a:pt x="275" y="256"/>
                  <a:pt x="275" y="256"/>
                  <a:pt x="275" y="256"/>
                </a:cubicBezTo>
                <a:cubicBezTo>
                  <a:pt x="275" y="249"/>
                  <a:pt x="270" y="242"/>
                  <a:pt x="262" y="242"/>
                </a:cubicBezTo>
                <a:cubicBezTo>
                  <a:pt x="255" y="242"/>
                  <a:pt x="249" y="247"/>
                  <a:pt x="248" y="255"/>
                </a:cubicBezTo>
                <a:cubicBezTo>
                  <a:pt x="247" y="278"/>
                  <a:pt x="247" y="278"/>
                  <a:pt x="247" y="278"/>
                </a:cubicBezTo>
                <a:cubicBezTo>
                  <a:pt x="247" y="285"/>
                  <a:pt x="253" y="291"/>
                  <a:pt x="260" y="292"/>
                </a:cubicBezTo>
                <a:cubicBezTo>
                  <a:pt x="267" y="292"/>
                  <a:pt x="273" y="286"/>
                  <a:pt x="274" y="279"/>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43" name="TextBox 342"/>
          <p:cNvSpPr txBox="1"/>
          <p:nvPr userDrawn="1"/>
        </p:nvSpPr>
        <p:spPr>
          <a:xfrm>
            <a:off x="5484481" y="4540685"/>
            <a:ext cx="681881" cy="161583"/>
          </a:xfrm>
          <a:prstGeom prst="rect">
            <a:avLst/>
          </a:prstGeom>
          <a:noFill/>
        </p:spPr>
        <p:txBody>
          <a:bodyPr wrap="square" lIns="68589" tIns="34295" rIns="68589" bIns="34295" rtlCol="0" anchor="b" anchorCtr="0">
            <a:spAutoFit/>
          </a:bodyPr>
          <a:lstStyle/>
          <a:p>
            <a:pPr algn="ctr"/>
            <a:r>
              <a:rPr lang="en-US" sz="600" b="1" dirty="0">
                <a:solidFill>
                  <a:srgbClr val="626469"/>
                </a:solidFill>
                <a:latin typeface="Arial" pitchFamily="34" charset="0"/>
                <a:cs typeface="Arial" pitchFamily="34" charset="0"/>
              </a:rPr>
              <a:t>Panel builders</a:t>
            </a:r>
          </a:p>
        </p:txBody>
      </p:sp>
      <p:sp>
        <p:nvSpPr>
          <p:cNvPr id="344" name="Rounded Rectangle 343"/>
          <p:cNvSpPr/>
          <p:nvPr userDrawn="1"/>
        </p:nvSpPr>
        <p:spPr>
          <a:xfrm>
            <a:off x="457200" y="3513206"/>
            <a:ext cx="3969508" cy="1208351"/>
          </a:xfrm>
          <a:prstGeom prst="roundRect">
            <a:avLst>
              <a:gd name="adj" fmla="val 9427"/>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4295" rIns="0" bIns="34295" rtlCol="0" anchor="ctr"/>
          <a:lstStyle/>
          <a:p>
            <a:pPr marL="390577" indent="-219104" algn="l">
              <a:spcAft>
                <a:spcPts val="150"/>
              </a:spcAft>
              <a:tabLst>
                <a:tab pos="129796" algn="l"/>
                <a:tab pos="342946" algn="l"/>
              </a:tabLst>
            </a:pPr>
            <a:r>
              <a:rPr lang="en-US" sz="1200" b="1" dirty="0"/>
              <a:t>To</a:t>
            </a:r>
            <a:r>
              <a:rPr lang="en-US" sz="1200" b="1" baseline="0" dirty="0"/>
              <a:t> add a picto to your presentation:</a:t>
            </a:r>
          </a:p>
          <a:p>
            <a:pPr marL="390577" indent="-219104" algn="l">
              <a:spcAft>
                <a:spcPts val="150"/>
              </a:spcAft>
              <a:buFont typeface="+mj-lt"/>
              <a:buAutoNum type="arabicPeriod"/>
              <a:tabLst>
                <a:tab pos="129796" algn="l"/>
                <a:tab pos="342946" algn="l"/>
              </a:tabLst>
            </a:pPr>
            <a:r>
              <a:rPr lang="en-US" sz="1100" baseline="0" dirty="0"/>
              <a:t>Select view/slide master</a:t>
            </a:r>
          </a:p>
          <a:p>
            <a:pPr marL="390577" indent="-219104" algn="l">
              <a:spcAft>
                <a:spcPts val="150"/>
              </a:spcAft>
              <a:buFont typeface="+mj-lt"/>
              <a:buAutoNum type="arabicPeriod"/>
              <a:tabLst>
                <a:tab pos="129796" algn="l"/>
                <a:tab pos="342946" algn="l"/>
              </a:tabLst>
            </a:pPr>
            <a:r>
              <a:rPr lang="en-US" sz="1100" baseline="0" dirty="0"/>
              <a:t>Go to slide with pictos</a:t>
            </a:r>
          </a:p>
          <a:p>
            <a:pPr marL="390577" indent="-219104" algn="l">
              <a:spcAft>
                <a:spcPts val="150"/>
              </a:spcAft>
              <a:buFont typeface="+mj-lt"/>
              <a:buAutoNum type="arabicPeriod"/>
              <a:tabLst>
                <a:tab pos="129796" algn="l"/>
                <a:tab pos="342946" algn="l"/>
              </a:tabLst>
            </a:pPr>
            <a:r>
              <a:rPr lang="en-US" sz="1100" baseline="0" dirty="0"/>
              <a:t>Select and copy the picto that you would like to add (ctrl-c)</a:t>
            </a:r>
          </a:p>
          <a:p>
            <a:pPr marL="390577" indent="-219104" algn="l">
              <a:spcAft>
                <a:spcPts val="150"/>
              </a:spcAft>
              <a:buFont typeface="+mj-lt"/>
              <a:buAutoNum type="arabicPeriod"/>
              <a:tabLst>
                <a:tab pos="129796" algn="l"/>
                <a:tab pos="342946" algn="l"/>
              </a:tabLst>
            </a:pPr>
            <a:r>
              <a:rPr lang="en-US" sz="1100" baseline="0" dirty="0"/>
              <a:t>Close master view</a:t>
            </a:r>
          </a:p>
          <a:p>
            <a:pPr marL="390577" indent="-219104" algn="l">
              <a:spcAft>
                <a:spcPts val="150"/>
              </a:spcAft>
              <a:buFont typeface="+mj-lt"/>
              <a:buAutoNum type="arabicPeriod"/>
              <a:tabLst>
                <a:tab pos="129796" algn="l"/>
                <a:tab pos="342946" algn="l"/>
              </a:tabLst>
            </a:pPr>
            <a:r>
              <a:rPr lang="en-US" sz="1100" baseline="0" dirty="0"/>
              <a:t>Paste picto onto your slide (ctrl-p)</a:t>
            </a:r>
            <a:endParaRPr lang="en-US" sz="1100" dirty="0"/>
          </a:p>
        </p:txBody>
      </p:sp>
      <p:sp>
        <p:nvSpPr>
          <p:cNvPr id="345" name="TextBox 344"/>
          <p:cNvSpPr txBox="1"/>
          <p:nvPr userDrawn="1"/>
        </p:nvSpPr>
        <p:spPr>
          <a:xfrm>
            <a:off x="371517" y="926584"/>
            <a:ext cx="638655" cy="238537"/>
          </a:xfrm>
          <a:prstGeom prst="rect">
            <a:avLst/>
          </a:prstGeom>
          <a:noFill/>
        </p:spPr>
        <p:txBody>
          <a:bodyPr wrap="none" lIns="68589" tIns="34295" rIns="68589" bIns="34295" rtlCol="0">
            <a:spAutoFit/>
          </a:bodyPr>
          <a:lstStyle/>
          <a:p>
            <a:pPr algn="r"/>
            <a:r>
              <a:rPr lang="en-US" sz="1100" dirty="0">
                <a:solidFill>
                  <a:srgbClr val="626469"/>
                </a:solidFill>
                <a:latin typeface="Arial" pitchFamily="34" charset="0"/>
                <a:cs typeface="Arial" pitchFamily="34" charset="0"/>
              </a:rPr>
              <a:t>Markets</a:t>
            </a:r>
          </a:p>
        </p:txBody>
      </p:sp>
      <p:sp>
        <p:nvSpPr>
          <p:cNvPr id="346" name="TextBox 345"/>
          <p:cNvSpPr txBox="1"/>
          <p:nvPr userDrawn="1"/>
        </p:nvSpPr>
        <p:spPr>
          <a:xfrm>
            <a:off x="246392" y="1646355"/>
            <a:ext cx="773307" cy="407814"/>
          </a:xfrm>
          <a:prstGeom prst="rect">
            <a:avLst/>
          </a:prstGeom>
          <a:noFill/>
        </p:spPr>
        <p:txBody>
          <a:bodyPr wrap="none" lIns="68589" tIns="34295" rIns="68589" bIns="34295" rtlCol="0">
            <a:spAutoFit/>
          </a:bodyPr>
          <a:lstStyle/>
          <a:p>
            <a:pPr algn="r"/>
            <a:r>
              <a:rPr lang="en-US" sz="1100" dirty="0">
                <a:solidFill>
                  <a:srgbClr val="626469"/>
                </a:solidFill>
                <a:latin typeface="Arial" pitchFamily="34" charset="0"/>
                <a:cs typeface="Arial" pitchFamily="34" charset="0"/>
              </a:rPr>
              <a:t>Market </a:t>
            </a:r>
          </a:p>
          <a:p>
            <a:pPr algn="r"/>
            <a:r>
              <a:rPr lang="en-US" sz="1100" dirty="0">
                <a:solidFill>
                  <a:srgbClr val="626469"/>
                </a:solidFill>
                <a:latin typeface="Arial" pitchFamily="34" charset="0"/>
                <a:cs typeface="Arial" pitchFamily="34" charset="0"/>
              </a:rPr>
              <a:t>Segments</a:t>
            </a:r>
          </a:p>
        </p:txBody>
      </p:sp>
      <p:sp>
        <p:nvSpPr>
          <p:cNvPr id="347" name="TextBox 346"/>
          <p:cNvSpPr txBox="1"/>
          <p:nvPr userDrawn="1"/>
        </p:nvSpPr>
        <p:spPr>
          <a:xfrm>
            <a:off x="4832035" y="923447"/>
            <a:ext cx="696363" cy="238537"/>
          </a:xfrm>
          <a:prstGeom prst="rect">
            <a:avLst/>
          </a:prstGeom>
          <a:noFill/>
        </p:spPr>
        <p:txBody>
          <a:bodyPr wrap="none" lIns="68589" tIns="34295" rIns="68589" bIns="34295" rtlCol="0">
            <a:spAutoFit/>
          </a:bodyPr>
          <a:lstStyle/>
          <a:p>
            <a:pPr algn="r"/>
            <a:r>
              <a:rPr lang="en-US" sz="1100" dirty="0">
                <a:solidFill>
                  <a:srgbClr val="626469"/>
                </a:solidFill>
                <a:latin typeface="Arial" pitchFamily="34" charset="0"/>
                <a:cs typeface="Arial" pitchFamily="34" charset="0"/>
              </a:rPr>
              <a:t>Domains</a:t>
            </a:r>
          </a:p>
        </p:txBody>
      </p:sp>
      <p:sp>
        <p:nvSpPr>
          <p:cNvPr id="348" name="TextBox 347"/>
          <p:cNvSpPr txBox="1"/>
          <p:nvPr userDrawn="1"/>
        </p:nvSpPr>
        <p:spPr>
          <a:xfrm>
            <a:off x="4626851" y="1640350"/>
            <a:ext cx="901547" cy="238537"/>
          </a:xfrm>
          <a:prstGeom prst="rect">
            <a:avLst/>
          </a:prstGeom>
          <a:noFill/>
        </p:spPr>
        <p:txBody>
          <a:bodyPr wrap="none" lIns="68589" tIns="34295" rIns="68589" bIns="34295" rtlCol="0">
            <a:spAutoFit/>
          </a:bodyPr>
          <a:lstStyle/>
          <a:p>
            <a:pPr algn="r"/>
            <a:r>
              <a:rPr lang="en-US" sz="1100" dirty="0">
                <a:solidFill>
                  <a:srgbClr val="626469"/>
                </a:solidFill>
                <a:latin typeface="Arial" pitchFamily="34" charset="0"/>
                <a:cs typeface="Arial" pitchFamily="34" charset="0"/>
              </a:rPr>
              <a:t>Applications</a:t>
            </a:r>
          </a:p>
        </p:txBody>
      </p:sp>
      <p:sp>
        <p:nvSpPr>
          <p:cNvPr id="349" name="TextBox 348"/>
          <p:cNvSpPr txBox="1"/>
          <p:nvPr userDrawn="1"/>
        </p:nvSpPr>
        <p:spPr>
          <a:xfrm>
            <a:off x="4497007" y="4292261"/>
            <a:ext cx="1031391" cy="238537"/>
          </a:xfrm>
          <a:prstGeom prst="rect">
            <a:avLst/>
          </a:prstGeom>
          <a:noFill/>
        </p:spPr>
        <p:txBody>
          <a:bodyPr wrap="none" lIns="68589" tIns="34295" rIns="68589" bIns="34295" rtlCol="0">
            <a:spAutoFit/>
          </a:bodyPr>
          <a:lstStyle/>
          <a:p>
            <a:pPr algn="r"/>
            <a:r>
              <a:rPr lang="en-US" sz="1100" dirty="0">
                <a:solidFill>
                  <a:srgbClr val="626469"/>
                </a:solidFill>
                <a:latin typeface="Arial" pitchFamily="34" charset="0"/>
                <a:cs typeface="Arial" pitchFamily="34" charset="0"/>
              </a:rPr>
              <a:t>Intermediaries</a:t>
            </a:r>
          </a:p>
        </p:txBody>
      </p:sp>
      <p:sp>
        <p:nvSpPr>
          <p:cNvPr id="92" name="TextBox 91"/>
          <p:cNvSpPr txBox="1"/>
          <p:nvPr userDrawn="1"/>
        </p:nvSpPr>
        <p:spPr>
          <a:xfrm>
            <a:off x="456129" y="4759465"/>
            <a:ext cx="2130481" cy="92333"/>
          </a:xfrm>
          <a:prstGeom prst="rect">
            <a:avLst/>
          </a:prstGeom>
          <a:noFill/>
        </p:spPr>
        <p:txBody>
          <a:bodyPr wrap="square" lIns="0" tIns="0" rIns="0" bIns="0" rtlCol="0" anchor="b" anchorCtr="0">
            <a:spAutoFit/>
          </a:bodyPr>
          <a:lstStyle/>
          <a:p>
            <a:r>
              <a:rPr lang="en-US" sz="6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270972847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arket Pictos_White">
    <p:bg>
      <p:bgPr>
        <a:solidFill>
          <a:srgbClr val="009530"/>
        </a:solidFill>
        <a:effectLst/>
      </p:bgPr>
    </p:bg>
    <p:spTree>
      <p:nvGrpSpPr>
        <p:cNvPr id="1" name=""/>
        <p:cNvGrpSpPr/>
        <p:nvPr/>
      </p:nvGrpSpPr>
      <p:grpSpPr>
        <a:xfrm>
          <a:off x="0" y="0"/>
          <a:ext cx="0" cy="0"/>
          <a:chOff x="0" y="0"/>
          <a:chExt cx="0" cy="0"/>
        </a:xfrm>
      </p:grpSpPr>
      <p:sp>
        <p:nvSpPr>
          <p:cNvPr id="91" name="Title 1"/>
          <p:cNvSpPr>
            <a:spLocks noGrp="1"/>
          </p:cNvSpPr>
          <p:nvPr>
            <p:ph type="title" hasCustomPrompt="1"/>
          </p:nvPr>
        </p:nvSpPr>
        <p:spPr>
          <a:xfrm>
            <a:off x="457200" y="203598"/>
            <a:ext cx="8229600" cy="369332"/>
          </a:xfrm>
        </p:spPr>
        <p:txBody>
          <a:bodyPr/>
          <a:lstStyle>
            <a:lvl1pPr algn="l">
              <a:defRPr>
                <a:solidFill>
                  <a:schemeClr val="bg1"/>
                </a:solidFill>
              </a:defRPr>
            </a:lvl1pPr>
          </a:lstStyle>
          <a:p>
            <a:r>
              <a:rPr lang="en-US" dirty="0"/>
              <a:t>Market </a:t>
            </a:r>
            <a:r>
              <a:rPr lang="en-US" dirty="0" err="1"/>
              <a:t>Pictos</a:t>
            </a:r>
            <a:endParaRPr lang="en-US" noProof="0" dirty="0"/>
          </a:p>
        </p:txBody>
      </p:sp>
      <p:sp>
        <p:nvSpPr>
          <p:cNvPr id="264" name="Freeform 156"/>
          <p:cNvSpPr>
            <a:spLocks noChangeAspect="1"/>
          </p:cNvSpPr>
          <p:nvPr userDrawn="1"/>
        </p:nvSpPr>
        <p:spPr bwMode="auto">
          <a:xfrm>
            <a:off x="7765333" y="1646520"/>
            <a:ext cx="293951" cy="294894"/>
          </a:xfrm>
          <a:custGeom>
            <a:avLst/>
            <a:gdLst/>
            <a:ahLst/>
            <a:cxnLst>
              <a:cxn ang="0">
                <a:pos x="319" y="205"/>
              </a:cxn>
              <a:cxn ang="0">
                <a:pos x="264" y="194"/>
              </a:cxn>
              <a:cxn ang="0">
                <a:pos x="255" y="169"/>
              </a:cxn>
              <a:cxn ang="0">
                <a:pos x="369" y="136"/>
              </a:cxn>
              <a:cxn ang="0">
                <a:pos x="379" y="121"/>
              </a:cxn>
              <a:cxn ang="0">
                <a:pos x="362" y="62"/>
              </a:cxn>
              <a:cxn ang="0">
                <a:pos x="277" y="0"/>
              </a:cxn>
              <a:cxn ang="0">
                <a:pos x="184" y="135"/>
              </a:cxn>
              <a:cxn ang="0">
                <a:pos x="174" y="138"/>
              </a:cxn>
              <a:cxn ang="0">
                <a:pos x="136" y="16"/>
              </a:cxn>
              <a:cxn ang="0">
                <a:pos x="121" y="7"/>
              </a:cxn>
              <a:cxn ang="0">
                <a:pos x="62" y="24"/>
              </a:cxn>
              <a:cxn ang="0">
                <a:pos x="0" y="108"/>
              </a:cxn>
              <a:cxn ang="0">
                <a:pos x="75" y="190"/>
              </a:cxn>
              <a:cxn ang="0">
                <a:pos x="129" y="201"/>
              </a:cxn>
              <a:cxn ang="0">
                <a:pos x="135" y="228"/>
              </a:cxn>
              <a:cxn ang="0">
                <a:pos x="24" y="257"/>
              </a:cxn>
              <a:cxn ang="0">
                <a:pos x="14" y="271"/>
              </a:cxn>
              <a:cxn ang="0">
                <a:pos x="31" y="330"/>
              </a:cxn>
              <a:cxn ang="0">
                <a:pos x="115" y="393"/>
              </a:cxn>
              <a:cxn ang="0">
                <a:pos x="197" y="322"/>
              </a:cxn>
              <a:cxn ang="0">
                <a:pos x="210" y="257"/>
              </a:cxn>
              <a:cxn ang="0">
                <a:pos x="198" y="243"/>
              </a:cxn>
              <a:cxn ang="0">
                <a:pos x="184" y="256"/>
              </a:cxn>
              <a:cxn ang="0">
                <a:pos x="184" y="256"/>
              </a:cxn>
              <a:cxn ang="0">
                <a:pos x="115" y="366"/>
              </a:cxn>
              <a:cxn ang="0">
                <a:pos x="42" y="280"/>
              </a:cxn>
              <a:cxn ang="0">
                <a:pos x="158" y="250"/>
              </a:cxn>
              <a:cxn ang="0">
                <a:pos x="168" y="241"/>
              </a:cxn>
              <a:cxn ang="0">
                <a:pos x="165" y="228"/>
              </a:cxn>
              <a:cxn ang="0">
                <a:pos x="157" y="193"/>
              </a:cxn>
              <a:cxn ang="0">
                <a:pos x="155" y="181"/>
              </a:cxn>
              <a:cxn ang="0">
                <a:pos x="145" y="176"/>
              </a:cxn>
              <a:cxn ang="0">
                <a:pos x="26" y="108"/>
              </a:cxn>
              <a:cxn ang="0">
                <a:pos x="114" y="35"/>
              </a:cxn>
              <a:cxn ang="0">
                <a:pos x="153" y="162"/>
              </a:cxn>
              <a:cxn ang="0">
                <a:pos x="162" y="170"/>
              </a:cxn>
              <a:cxn ang="0">
                <a:pos x="174" y="168"/>
              </a:cxn>
              <a:cxn ang="0">
                <a:pos x="195" y="161"/>
              </a:cxn>
              <a:cxn ang="0">
                <a:pos x="205" y="158"/>
              </a:cxn>
              <a:cxn ang="0">
                <a:pos x="210" y="148"/>
              </a:cxn>
              <a:cxn ang="0">
                <a:pos x="277" y="26"/>
              </a:cxn>
              <a:cxn ang="0">
                <a:pos x="350" y="113"/>
              </a:cxn>
              <a:cxn ang="0">
                <a:pos x="229" y="148"/>
              </a:cxn>
              <a:cxn ang="0">
                <a:pos x="220" y="158"/>
              </a:cxn>
              <a:cxn ang="0">
                <a:pos x="224" y="171"/>
              </a:cxn>
              <a:cxn ang="0">
                <a:pos x="238" y="206"/>
              </a:cxn>
              <a:cxn ang="0">
                <a:pos x="241" y="216"/>
              </a:cxn>
              <a:cxn ang="0">
                <a:pos x="251" y="220"/>
              </a:cxn>
              <a:cxn ang="0">
                <a:pos x="366" y="284"/>
              </a:cxn>
              <a:cxn ang="0">
                <a:pos x="279" y="357"/>
              </a:cxn>
              <a:cxn ang="0">
                <a:pos x="247" y="238"/>
              </a:cxn>
              <a:cxn ang="0">
                <a:pos x="230" y="229"/>
              </a:cxn>
              <a:cxn ang="0">
                <a:pos x="221" y="245"/>
              </a:cxn>
              <a:cxn ang="0">
                <a:pos x="257" y="376"/>
              </a:cxn>
              <a:cxn ang="0">
                <a:pos x="271" y="386"/>
              </a:cxn>
              <a:cxn ang="0">
                <a:pos x="330" y="369"/>
              </a:cxn>
              <a:cxn ang="0">
                <a:pos x="393" y="284"/>
              </a:cxn>
              <a:cxn ang="0">
                <a:pos x="319" y="205"/>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65" name="Freeform 188"/>
          <p:cNvSpPr>
            <a:spLocks noChangeAspect="1" noEditPoints="1"/>
          </p:cNvSpPr>
          <p:nvPr userDrawn="1"/>
        </p:nvSpPr>
        <p:spPr bwMode="auto">
          <a:xfrm>
            <a:off x="7753464" y="2250071"/>
            <a:ext cx="316647" cy="294894"/>
          </a:xfrm>
          <a:custGeom>
            <a:avLst/>
            <a:gdLst/>
            <a:ahLst/>
            <a:cxnLst>
              <a:cxn ang="0">
                <a:pos x="395" y="249"/>
              </a:cxn>
              <a:cxn ang="0">
                <a:pos x="228" y="249"/>
              </a:cxn>
              <a:cxn ang="0">
                <a:pos x="203" y="78"/>
              </a:cxn>
              <a:cxn ang="0">
                <a:pos x="188" y="4"/>
              </a:cxn>
              <a:cxn ang="0">
                <a:pos x="164" y="0"/>
              </a:cxn>
              <a:cxn ang="0">
                <a:pos x="126" y="29"/>
              </a:cxn>
              <a:cxn ang="0">
                <a:pos x="100" y="145"/>
              </a:cxn>
              <a:cxn ang="0">
                <a:pos x="62" y="249"/>
              </a:cxn>
              <a:cxn ang="0">
                <a:pos x="0" y="310"/>
              </a:cxn>
              <a:cxn ang="0">
                <a:pos x="151" y="372"/>
              </a:cxn>
              <a:cxn ang="0">
                <a:pos x="158" y="423"/>
              </a:cxn>
              <a:cxn ang="0">
                <a:pos x="238" y="369"/>
              </a:cxn>
              <a:cxn ang="0">
                <a:pos x="238" y="348"/>
              </a:cxn>
              <a:cxn ang="0">
                <a:pos x="154" y="298"/>
              </a:cxn>
              <a:cxn ang="0">
                <a:pos x="209" y="359"/>
              </a:cxn>
              <a:cxn ang="0">
                <a:pos x="177" y="359"/>
              </a:cxn>
              <a:cxn ang="0">
                <a:pos x="62" y="346"/>
              </a:cxn>
              <a:cxn ang="0">
                <a:pos x="37" y="286"/>
              </a:cxn>
              <a:cxn ang="0">
                <a:pos x="114" y="275"/>
              </a:cxn>
              <a:cxn ang="0">
                <a:pos x="127" y="145"/>
              </a:cxn>
              <a:cxn ang="0">
                <a:pos x="152" y="81"/>
              </a:cxn>
              <a:cxn ang="0">
                <a:pos x="152" y="28"/>
              </a:cxn>
              <a:cxn ang="0">
                <a:pos x="165" y="27"/>
              </a:cxn>
              <a:cxn ang="0">
                <a:pos x="176" y="29"/>
              </a:cxn>
              <a:cxn ang="0">
                <a:pos x="177" y="87"/>
              </a:cxn>
              <a:cxn ang="0">
                <a:pos x="201" y="262"/>
              </a:cxn>
              <a:cxn ang="0">
                <a:pos x="344" y="275"/>
              </a:cxn>
              <a:cxn ang="0">
                <a:pos x="351" y="354"/>
              </a:cxn>
              <a:cxn ang="0">
                <a:pos x="456" y="310"/>
              </a:cxn>
              <a:cxn ang="0">
                <a:pos x="395" y="346"/>
              </a:cxn>
              <a:cxn ang="0">
                <a:pos x="360" y="310"/>
              </a:cxn>
              <a:cxn ang="0">
                <a:pos x="395" y="275"/>
              </a:cxn>
              <a:cxn ang="0">
                <a:pos x="395" y="346"/>
              </a:cxn>
            </a:cxnLst>
            <a:rect l="0" t="0" r="r" b="b"/>
            <a:pathLst>
              <a:path w="456" h="426">
                <a:moveTo>
                  <a:pt x="395" y="249"/>
                </a:moveTo>
                <a:cubicBezTo>
                  <a:pt x="395" y="249"/>
                  <a:pt x="395" y="249"/>
                  <a:pt x="395" y="249"/>
                </a:cubicBezTo>
                <a:cubicBezTo>
                  <a:pt x="395" y="249"/>
                  <a:pt x="395" y="249"/>
                  <a:pt x="395" y="249"/>
                </a:cubicBezTo>
                <a:cubicBezTo>
                  <a:pt x="228" y="249"/>
                  <a:pt x="228" y="249"/>
                  <a:pt x="228" y="249"/>
                </a:cubicBezTo>
                <a:cubicBezTo>
                  <a:pt x="228" y="145"/>
                  <a:pt x="228" y="145"/>
                  <a:pt x="228" y="145"/>
                </a:cubicBezTo>
                <a:cubicBezTo>
                  <a:pt x="228" y="130"/>
                  <a:pt x="211" y="95"/>
                  <a:pt x="203" y="78"/>
                </a:cubicBezTo>
                <a:cubicBezTo>
                  <a:pt x="203" y="29"/>
                  <a:pt x="203" y="29"/>
                  <a:pt x="203" y="29"/>
                </a:cubicBezTo>
                <a:cubicBezTo>
                  <a:pt x="203" y="18"/>
                  <a:pt x="197" y="9"/>
                  <a:pt x="188" y="4"/>
                </a:cubicBezTo>
                <a:cubicBezTo>
                  <a:pt x="181" y="0"/>
                  <a:pt x="172" y="0"/>
                  <a:pt x="165" y="0"/>
                </a:cubicBezTo>
                <a:cubicBezTo>
                  <a:pt x="164" y="0"/>
                  <a:pt x="164" y="0"/>
                  <a:pt x="164" y="0"/>
                </a:cubicBezTo>
                <a:cubicBezTo>
                  <a:pt x="157" y="0"/>
                  <a:pt x="148" y="0"/>
                  <a:pt x="140" y="4"/>
                </a:cubicBezTo>
                <a:cubicBezTo>
                  <a:pt x="131" y="9"/>
                  <a:pt x="126" y="18"/>
                  <a:pt x="126" y="29"/>
                </a:cubicBezTo>
                <a:cubicBezTo>
                  <a:pt x="126" y="78"/>
                  <a:pt x="126" y="78"/>
                  <a:pt x="126" y="78"/>
                </a:cubicBezTo>
                <a:cubicBezTo>
                  <a:pt x="117" y="95"/>
                  <a:pt x="100" y="130"/>
                  <a:pt x="100" y="145"/>
                </a:cubicBezTo>
                <a:cubicBezTo>
                  <a:pt x="100" y="249"/>
                  <a:pt x="100" y="249"/>
                  <a:pt x="100" y="249"/>
                </a:cubicBezTo>
                <a:cubicBezTo>
                  <a:pt x="62" y="249"/>
                  <a:pt x="62" y="249"/>
                  <a:pt x="62" y="249"/>
                </a:cubicBezTo>
                <a:cubicBezTo>
                  <a:pt x="46" y="249"/>
                  <a:pt x="30" y="255"/>
                  <a:pt x="18" y="267"/>
                </a:cubicBezTo>
                <a:cubicBezTo>
                  <a:pt x="7" y="278"/>
                  <a:pt x="0" y="294"/>
                  <a:pt x="0" y="310"/>
                </a:cubicBezTo>
                <a:cubicBezTo>
                  <a:pt x="0" y="344"/>
                  <a:pt x="28" y="372"/>
                  <a:pt x="62" y="372"/>
                </a:cubicBezTo>
                <a:cubicBezTo>
                  <a:pt x="151" y="372"/>
                  <a:pt x="151" y="372"/>
                  <a:pt x="151" y="372"/>
                </a:cubicBezTo>
                <a:cubicBezTo>
                  <a:pt x="151" y="411"/>
                  <a:pt x="151" y="411"/>
                  <a:pt x="151" y="411"/>
                </a:cubicBezTo>
                <a:cubicBezTo>
                  <a:pt x="151" y="417"/>
                  <a:pt x="154" y="421"/>
                  <a:pt x="158" y="423"/>
                </a:cubicBezTo>
                <a:cubicBezTo>
                  <a:pt x="163" y="426"/>
                  <a:pt x="168" y="425"/>
                  <a:pt x="172" y="422"/>
                </a:cubicBezTo>
                <a:cubicBezTo>
                  <a:pt x="238" y="369"/>
                  <a:pt x="238" y="369"/>
                  <a:pt x="238" y="369"/>
                </a:cubicBezTo>
                <a:cubicBezTo>
                  <a:pt x="242" y="367"/>
                  <a:pt x="243" y="363"/>
                  <a:pt x="243" y="359"/>
                </a:cubicBezTo>
                <a:cubicBezTo>
                  <a:pt x="243" y="355"/>
                  <a:pt x="242" y="351"/>
                  <a:pt x="238" y="348"/>
                </a:cubicBezTo>
                <a:cubicBezTo>
                  <a:pt x="172" y="296"/>
                  <a:pt x="172" y="296"/>
                  <a:pt x="172" y="296"/>
                </a:cubicBezTo>
                <a:cubicBezTo>
                  <a:pt x="167" y="291"/>
                  <a:pt x="158" y="292"/>
                  <a:pt x="154" y="298"/>
                </a:cubicBezTo>
                <a:cubicBezTo>
                  <a:pt x="149" y="303"/>
                  <a:pt x="150" y="312"/>
                  <a:pt x="156" y="316"/>
                </a:cubicBezTo>
                <a:cubicBezTo>
                  <a:pt x="209" y="359"/>
                  <a:pt x="209" y="359"/>
                  <a:pt x="209" y="359"/>
                </a:cubicBezTo>
                <a:cubicBezTo>
                  <a:pt x="177" y="384"/>
                  <a:pt x="177" y="384"/>
                  <a:pt x="177" y="384"/>
                </a:cubicBezTo>
                <a:cubicBezTo>
                  <a:pt x="177" y="359"/>
                  <a:pt x="177" y="359"/>
                  <a:pt x="177" y="359"/>
                </a:cubicBezTo>
                <a:cubicBezTo>
                  <a:pt x="177" y="351"/>
                  <a:pt x="172" y="346"/>
                  <a:pt x="164" y="346"/>
                </a:cubicBezTo>
                <a:cubicBezTo>
                  <a:pt x="62" y="346"/>
                  <a:pt x="62" y="346"/>
                  <a:pt x="62" y="346"/>
                </a:cubicBezTo>
                <a:cubicBezTo>
                  <a:pt x="43" y="346"/>
                  <a:pt x="27" y="330"/>
                  <a:pt x="27" y="310"/>
                </a:cubicBezTo>
                <a:cubicBezTo>
                  <a:pt x="27" y="301"/>
                  <a:pt x="31" y="292"/>
                  <a:pt x="37" y="286"/>
                </a:cubicBezTo>
                <a:cubicBezTo>
                  <a:pt x="44" y="279"/>
                  <a:pt x="53" y="275"/>
                  <a:pt x="62" y="275"/>
                </a:cubicBezTo>
                <a:cubicBezTo>
                  <a:pt x="62" y="275"/>
                  <a:pt x="114" y="275"/>
                  <a:pt x="114" y="275"/>
                </a:cubicBezTo>
                <a:cubicBezTo>
                  <a:pt x="121" y="275"/>
                  <a:pt x="127" y="269"/>
                  <a:pt x="127" y="262"/>
                </a:cubicBezTo>
                <a:cubicBezTo>
                  <a:pt x="127" y="145"/>
                  <a:pt x="127" y="145"/>
                  <a:pt x="127" y="145"/>
                </a:cubicBezTo>
                <a:cubicBezTo>
                  <a:pt x="127" y="138"/>
                  <a:pt x="140" y="109"/>
                  <a:pt x="151" y="87"/>
                </a:cubicBezTo>
                <a:cubicBezTo>
                  <a:pt x="152" y="85"/>
                  <a:pt x="152" y="83"/>
                  <a:pt x="152" y="81"/>
                </a:cubicBezTo>
                <a:cubicBezTo>
                  <a:pt x="152" y="29"/>
                  <a:pt x="152" y="29"/>
                  <a:pt x="152" y="29"/>
                </a:cubicBezTo>
                <a:cubicBezTo>
                  <a:pt x="152" y="29"/>
                  <a:pt x="152" y="28"/>
                  <a:pt x="152" y="28"/>
                </a:cubicBezTo>
                <a:cubicBezTo>
                  <a:pt x="153" y="28"/>
                  <a:pt x="156" y="27"/>
                  <a:pt x="164" y="27"/>
                </a:cubicBezTo>
                <a:cubicBezTo>
                  <a:pt x="165" y="27"/>
                  <a:pt x="165" y="27"/>
                  <a:pt x="165" y="27"/>
                </a:cubicBezTo>
                <a:cubicBezTo>
                  <a:pt x="172" y="27"/>
                  <a:pt x="175" y="28"/>
                  <a:pt x="176" y="28"/>
                </a:cubicBezTo>
                <a:cubicBezTo>
                  <a:pt x="176" y="28"/>
                  <a:pt x="176" y="29"/>
                  <a:pt x="176" y="29"/>
                </a:cubicBezTo>
                <a:cubicBezTo>
                  <a:pt x="176" y="81"/>
                  <a:pt x="176" y="81"/>
                  <a:pt x="176" y="81"/>
                </a:cubicBezTo>
                <a:cubicBezTo>
                  <a:pt x="176" y="83"/>
                  <a:pt x="176" y="85"/>
                  <a:pt x="177" y="87"/>
                </a:cubicBezTo>
                <a:cubicBezTo>
                  <a:pt x="189" y="109"/>
                  <a:pt x="201" y="138"/>
                  <a:pt x="201" y="145"/>
                </a:cubicBezTo>
                <a:cubicBezTo>
                  <a:pt x="201" y="262"/>
                  <a:pt x="201" y="262"/>
                  <a:pt x="201" y="262"/>
                </a:cubicBezTo>
                <a:cubicBezTo>
                  <a:pt x="201" y="269"/>
                  <a:pt x="207" y="275"/>
                  <a:pt x="214" y="275"/>
                </a:cubicBezTo>
                <a:cubicBezTo>
                  <a:pt x="344" y="275"/>
                  <a:pt x="344" y="275"/>
                  <a:pt x="344" y="275"/>
                </a:cubicBezTo>
                <a:cubicBezTo>
                  <a:pt x="337" y="286"/>
                  <a:pt x="333" y="298"/>
                  <a:pt x="333" y="310"/>
                </a:cubicBezTo>
                <a:cubicBezTo>
                  <a:pt x="333" y="327"/>
                  <a:pt x="339" y="342"/>
                  <a:pt x="351" y="354"/>
                </a:cubicBezTo>
                <a:cubicBezTo>
                  <a:pt x="363" y="366"/>
                  <a:pt x="378" y="372"/>
                  <a:pt x="395" y="372"/>
                </a:cubicBezTo>
                <a:cubicBezTo>
                  <a:pt x="429" y="372"/>
                  <a:pt x="456" y="344"/>
                  <a:pt x="456" y="310"/>
                </a:cubicBezTo>
                <a:cubicBezTo>
                  <a:pt x="456" y="276"/>
                  <a:pt x="429" y="249"/>
                  <a:pt x="395" y="249"/>
                </a:cubicBezTo>
                <a:close/>
                <a:moveTo>
                  <a:pt x="395" y="346"/>
                </a:moveTo>
                <a:cubicBezTo>
                  <a:pt x="385" y="346"/>
                  <a:pt x="376" y="342"/>
                  <a:pt x="370" y="335"/>
                </a:cubicBezTo>
                <a:cubicBezTo>
                  <a:pt x="363" y="329"/>
                  <a:pt x="360" y="320"/>
                  <a:pt x="360" y="310"/>
                </a:cubicBezTo>
                <a:cubicBezTo>
                  <a:pt x="360" y="301"/>
                  <a:pt x="363" y="292"/>
                  <a:pt x="370" y="286"/>
                </a:cubicBezTo>
                <a:cubicBezTo>
                  <a:pt x="376" y="279"/>
                  <a:pt x="385" y="275"/>
                  <a:pt x="395" y="275"/>
                </a:cubicBezTo>
                <a:cubicBezTo>
                  <a:pt x="414" y="275"/>
                  <a:pt x="430" y="291"/>
                  <a:pt x="430" y="310"/>
                </a:cubicBezTo>
                <a:cubicBezTo>
                  <a:pt x="430" y="330"/>
                  <a:pt x="414" y="346"/>
                  <a:pt x="395" y="346"/>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66" name="Freeform 192"/>
          <p:cNvSpPr>
            <a:spLocks noChangeAspect="1" noEditPoints="1"/>
          </p:cNvSpPr>
          <p:nvPr userDrawn="1"/>
        </p:nvSpPr>
        <p:spPr bwMode="auto">
          <a:xfrm>
            <a:off x="6355972" y="1646520"/>
            <a:ext cx="295849" cy="294894"/>
          </a:xfrm>
          <a:custGeom>
            <a:avLst/>
            <a:gdLst/>
            <a:ahLst/>
            <a:cxnLst>
              <a:cxn ang="0">
                <a:pos x="113" y="371"/>
              </a:cxn>
              <a:cxn ang="0">
                <a:pos x="33" y="399"/>
              </a:cxn>
              <a:cxn ang="0">
                <a:pos x="0" y="326"/>
              </a:cxn>
              <a:cxn ang="0">
                <a:pos x="54" y="183"/>
              </a:cxn>
              <a:cxn ang="0">
                <a:pos x="120" y="174"/>
              </a:cxn>
              <a:cxn ang="0">
                <a:pos x="128" y="247"/>
              </a:cxn>
              <a:cxn ang="0">
                <a:pos x="158" y="223"/>
              </a:cxn>
              <a:cxn ang="0">
                <a:pos x="129" y="210"/>
              </a:cxn>
              <a:cxn ang="0">
                <a:pos x="153" y="155"/>
              </a:cxn>
              <a:cxn ang="0">
                <a:pos x="316" y="221"/>
              </a:cxn>
              <a:cxn ang="0">
                <a:pos x="340" y="242"/>
              </a:cxn>
              <a:cxn ang="0">
                <a:pos x="398" y="288"/>
              </a:cxn>
              <a:cxn ang="0">
                <a:pos x="402" y="371"/>
              </a:cxn>
              <a:cxn ang="0">
                <a:pos x="308" y="406"/>
              </a:cxn>
              <a:cxn ang="0">
                <a:pos x="262" y="332"/>
              </a:cxn>
              <a:cxn ang="0">
                <a:pos x="324" y="376"/>
              </a:cxn>
              <a:cxn ang="0">
                <a:pos x="376" y="356"/>
              </a:cxn>
              <a:cxn ang="0">
                <a:pos x="373" y="296"/>
              </a:cxn>
              <a:cxn ang="0">
                <a:pos x="330" y="267"/>
              </a:cxn>
              <a:cxn ang="0">
                <a:pos x="279" y="224"/>
              </a:cxn>
              <a:cxn ang="0">
                <a:pos x="158" y="196"/>
              </a:cxn>
              <a:cxn ang="0">
                <a:pos x="290" y="266"/>
              </a:cxn>
              <a:cxn ang="0">
                <a:pos x="128" y="274"/>
              </a:cxn>
              <a:cxn ang="0">
                <a:pos x="93" y="191"/>
              </a:cxn>
              <a:cxn ang="0">
                <a:pos x="28" y="317"/>
              </a:cxn>
              <a:cxn ang="0">
                <a:pos x="27" y="318"/>
              </a:cxn>
              <a:cxn ang="0">
                <a:pos x="29" y="347"/>
              </a:cxn>
              <a:cxn ang="0">
                <a:pos x="62" y="379"/>
              </a:cxn>
              <a:cxn ang="0">
                <a:pos x="103" y="345"/>
              </a:cxn>
              <a:cxn ang="0">
                <a:pos x="230" y="354"/>
              </a:cxn>
              <a:cxn ang="0">
                <a:pos x="242" y="379"/>
              </a:cxn>
              <a:cxn ang="0">
                <a:pos x="379" y="423"/>
              </a:cxn>
              <a:cxn ang="0">
                <a:pos x="410" y="259"/>
              </a:cxn>
              <a:cxn ang="0">
                <a:pos x="355" y="168"/>
              </a:cxn>
              <a:cxn ang="0">
                <a:pos x="358" y="167"/>
              </a:cxn>
              <a:cxn ang="0">
                <a:pos x="391" y="148"/>
              </a:cxn>
              <a:cxn ang="0">
                <a:pos x="396" y="95"/>
              </a:cxn>
              <a:cxn ang="0">
                <a:pos x="391" y="95"/>
              </a:cxn>
              <a:cxn ang="0">
                <a:pos x="377" y="32"/>
              </a:cxn>
              <a:cxn ang="0">
                <a:pos x="369" y="28"/>
              </a:cxn>
              <a:cxn ang="0">
                <a:pos x="364" y="90"/>
              </a:cxn>
              <a:cxn ang="0">
                <a:pos x="312" y="90"/>
              </a:cxn>
              <a:cxn ang="0">
                <a:pos x="306" y="28"/>
              </a:cxn>
              <a:cxn ang="0">
                <a:pos x="299" y="32"/>
              </a:cxn>
              <a:cxn ang="0">
                <a:pos x="284" y="95"/>
              </a:cxn>
              <a:cxn ang="0">
                <a:pos x="280" y="106"/>
              </a:cxn>
              <a:cxn ang="0">
                <a:pos x="282" y="145"/>
              </a:cxn>
              <a:cxn ang="0">
                <a:pos x="318" y="167"/>
              </a:cxn>
              <a:cxn ang="0">
                <a:pos x="269" y="172"/>
              </a:cxn>
              <a:cxn ang="0">
                <a:pos x="255" y="145"/>
              </a:cxn>
              <a:cxn ang="0">
                <a:pos x="253" y="94"/>
              </a:cxn>
              <a:cxn ang="0">
                <a:pos x="272" y="70"/>
              </a:cxn>
              <a:cxn ang="0">
                <a:pos x="304" y="0"/>
              </a:cxn>
              <a:cxn ang="0">
                <a:pos x="334" y="68"/>
              </a:cxn>
              <a:cxn ang="0">
                <a:pos x="351" y="9"/>
              </a:cxn>
              <a:cxn ang="0">
                <a:pos x="403" y="32"/>
              </a:cxn>
              <a:cxn ang="0">
                <a:pos x="422" y="95"/>
              </a:cxn>
              <a:cxn ang="0">
                <a:pos x="415" y="160"/>
              </a:cxn>
              <a:cxn ang="0">
                <a:pos x="384" y="185"/>
              </a:cxn>
              <a:cxn ang="0">
                <a:pos x="444" y="395"/>
              </a:cxn>
              <a:cxn ang="0">
                <a:pos x="331" y="459"/>
              </a:cxn>
              <a:cxn ang="0">
                <a:pos x="294" y="122"/>
              </a:cxn>
            </a:cxnLst>
            <a:rect l="0" t="0" r="r" b="b"/>
            <a:pathLst>
              <a:path w="460" h="459">
                <a:moveTo>
                  <a:pt x="271" y="444"/>
                </a:moveTo>
                <a:cubicBezTo>
                  <a:pt x="254" y="434"/>
                  <a:pt x="242" y="422"/>
                  <a:pt x="232" y="410"/>
                </a:cubicBezTo>
                <a:cubicBezTo>
                  <a:pt x="232" y="410"/>
                  <a:pt x="232" y="410"/>
                  <a:pt x="232" y="410"/>
                </a:cubicBezTo>
                <a:cubicBezTo>
                  <a:pt x="220" y="395"/>
                  <a:pt x="212" y="380"/>
                  <a:pt x="208" y="371"/>
                </a:cubicBezTo>
                <a:cubicBezTo>
                  <a:pt x="208" y="371"/>
                  <a:pt x="208" y="371"/>
                  <a:pt x="208" y="371"/>
                </a:cubicBezTo>
                <a:cubicBezTo>
                  <a:pt x="113" y="371"/>
                  <a:pt x="113" y="371"/>
                  <a:pt x="113" y="371"/>
                </a:cubicBezTo>
                <a:cubicBezTo>
                  <a:pt x="109" y="381"/>
                  <a:pt x="103" y="389"/>
                  <a:pt x="95" y="395"/>
                </a:cubicBezTo>
                <a:cubicBezTo>
                  <a:pt x="95" y="395"/>
                  <a:pt x="95" y="395"/>
                  <a:pt x="95" y="395"/>
                </a:cubicBezTo>
                <a:cubicBezTo>
                  <a:pt x="85" y="403"/>
                  <a:pt x="73" y="406"/>
                  <a:pt x="62" y="406"/>
                </a:cubicBezTo>
                <a:cubicBezTo>
                  <a:pt x="62" y="406"/>
                  <a:pt x="62" y="406"/>
                  <a:pt x="62" y="406"/>
                </a:cubicBezTo>
                <a:cubicBezTo>
                  <a:pt x="52" y="406"/>
                  <a:pt x="42" y="404"/>
                  <a:pt x="33" y="399"/>
                </a:cubicBezTo>
                <a:cubicBezTo>
                  <a:pt x="33" y="399"/>
                  <a:pt x="33" y="399"/>
                  <a:pt x="33" y="399"/>
                </a:cubicBezTo>
                <a:cubicBezTo>
                  <a:pt x="25" y="395"/>
                  <a:pt x="19" y="389"/>
                  <a:pt x="15" y="382"/>
                </a:cubicBezTo>
                <a:cubicBezTo>
                  <a:pt x="15" y="382"/>
                  <a:pt x="15" y="382"/>
                  <a:pt x="15" y="382"/>
                </a:cubicBezTo>
                <a:cubicBezTo>
                  <a:pt x="11" y="376"/>
                  <a:pt x="8" y="369"/>
                  <a:pt x="5" y="362"/>
                </a:cubicBezTo>
                <a:cubicBezTo>
                  <a:pt x="5" y="362"/>
                  <a:pt x="5" y="362"/>
                  <a:pt x="5" y="362"/>
                </a:cubicBezTo>
                <a:cubicBezTo>
                  <a:pt x="1" y="349"/>
                  <a:pt x="1" y="335"/>
                  <a:pt x="0" y="326"/>
                </a:cubicBezTo>
                <a:cubicBezTo>
                  <a:pt x="0" y="326"/>
                  <a:pt x="0" y="326"/>
                  <a:pt x="0" y="326"/>
                </a:cubicBezTo>
                <a:cubicBezTo>
                  <a:pt x="0" y="321"/>
                  <a:pt x="1" y="317"/>
                  <a:pt x="1" y="315"/>
                </a:cubicBezTo>
                <a:cubicBezTo>
                  <a:pt x="1" y="315"/>
                  <a:pt x="1" y="315"/>
                  <a:pt x="1" y="315"/>
                </a:cubicBezTo>
                <a:cubicBezTo>
                  <a:pt x="3" y="280"/>
                  <a:pt x="9" y="252"/>
                  <a:pt x="19" y="230"/>
                </a:cubicBezTo>
                <a:cubicBezTo>
                  <a:pt x="19" y="230"/>
                  <a:pt x="19" y="230"/>
                  <a:pt x="19" y="230"/>
                </a:cubicBezTo>
                <a:cubicBezTo>
                  <a:pt x="29" y="209"/>
                  <a:pt x="41" y="193"/>
                  <a:pt x="54" y="183"/>
                </a:cubicBezTo>
                <a:cubicBezTo>
                  <a:pt x="54" y="183"/>
                  <a:pt x="54" y="183"/>
                  <a:pt x="54" y="183"/>
                </a:cubicBezTo>
                <a:cubicBezTo>
                  <a:pt x="79" y="162"/>
                  <a:pt x="104" y="161"/>
                  <a:pt x="106" y="160"/>
                </a:cubicBezTo>
                <a:cubicBezTo>
                  <a:pt x="106" y="160"/>
                  <a:pt x="106" y="160"/>
                  <a:pt x="106" y="160"/>
                </a:cubicBezTo>
                <a:cubicBezTo>
                  <a:pt x="109" y="160"/>
                  <a:pt x="113" y="162"/>
                  <a:pt x="115" y="164"/>
                </a:cubicBezTo>
                <a:cubicBezTo>
                  <a:pt x="115" y="164"/>
                  <a:pt x="115" y="164"/>
                  <a:pt x="115" y="164"/>
                </a:cubicBezTo>
                <a:cubicBezTo>
                  <a:pt x="118" y="167"/>
                  <a:pt x="120" y="170"/>
                  <a:pt x="120" y="174"/>
                </a:cubicBezTo>
                <a:cubicBezTo>
                  <a:pt x="120" y="174"/>
                  <a:pt x="120" y="174"/>
                  <a:pt x="120" y="174"/>
                </a:cubicBezTo>
                <a:cubicBezTo>
                  <a:pt x="120" y="182"/>
                  <a:pt x="119" y="233"/>
                  <a:pt x="119" y="239"/>
                </a:cubicBezTo>
                <a:cubicBezTo>
                  <a:pt x="119" y="239"/>
                  <a:pt x="119" y="239"/>
                  <a:pt x="119" y="239"/>
                </a:cubicBezTo>
                <a:cubicBezTo>
                  <a:pt x="119" y="240"/>
                  <a:pt x="120" y="243"/>
                  <a:pt x="122" y="245"/>
                </a:cubicBezTo>
                <a:cubicBezTo>
                  <a:pt x="122" y="245"/>
                  <a:pt x="122" y="245"/>
                  <a:pt x="122" y="245"/>
                </a:cubicBezTo>
                <a:cubicBezTo>
                  <a:pt x="124" y="246"/>
                  <a:pt x="126" y="247"/>
                  <a:pt x="128" y="247"/>
                </a:cubicBezTo>
                <a:cubicBezTo>
                  <a:pt x="128" y="247"/>
                  <a:pt x="128" y="247"/>
                  <a:pt x="128" y="247"/>
                </a:cubicBezTo>
                <a:cubicBezTo>
                  <a:pt x="136" y="247"/>
                  <a:pt x="199" y="248"/>
                  <a:pt x="240" y="248"/>
                </a:cubicBezTo>
                <a:cubicBezTo>
                  <a:pt x="240" y="248"/>
                  <a:pt x="240" y="248"/>
                  <a:pt x="240" y="248"/>
                </a:cubicBezTo>
                <a:cubicBezTo>
                  <a:pt x="228" y="240"/>
                  <a:pt x="217" y="235"/>
                  <a:pt x="206" y="231"/>
                </a:cubicBezTo>
                <a:cubicBezTo>
                  <a:pt x="206" y="231"/>
                  <a:pt x="206" y="231"/>
                  <a:pt x="206" y="231"/>
                </a:cubicBezTo>
                <a:cubicBezTo>
                  <a:pt x="186" y="224"/>
                  <a:pt x="169" y="223"/>
                  <a:pt x="158" y="223"/>
                </a:cubicBezTo>
                <a:cubicBezTo>
                  <a:pt x="158" y="223"/>
                  <a:pt x="158" y="223"/>
                  <a:pt x="158" y="223"/>
                </a:cubicBezTo>
                <a:cubicBezTo>
                  <a:pt x="150" y="223"/>
                  <a:pt x="146" y="223"/>
                  <a:pt x="145" y="224"/>
                </a:cubicBezTo>
                <a:cubicBezTo>
                  <a:pt x="145" y="224"/>
                  <a:pt x="145" y="224"/>
                  <a:pt x="145" y="224"/>
                </a:cubicBezTo>
                <a:cubicBezTo>
                  <a:pt x="145" y="224"/>
                  <a:pt x="145" y="224"/>
                  <a:pt x="145" y="224"/>
                </a:cubicBezTo>
                <a:cubicBezTo>
                  <a:pt x="141" y="224"/>
                  <a:pt x="137" y="223"/>
                  <a:pt x="134" y="221"/>
                </a:cubicBezTo>
                <a:cubicBezTo>
                  <a:pt x="134" y="221"/>
                  <a:pt x="134" y="221"/>
                  <a:pt x="134" y="221"/>
                </a:cubicBezTo>
                <a:cubicBezTo>
                  <a:pt x="131" y="218"/>
                  <a:pt x="129" y="214"/>
                  <a:pt x="129" y="210"/>
                </a:cubicBezTo>
                <a:cubicBezTo>
                  <a:pt x="129" y="210"/>
                  <a:pt x="129" y="210"/>
                  <a:pt x="129" y="210"/>
                </a:cubicBezTo>
                <a:cubicBezTo>
                  <a:pt x="129" y="169"/>
                  <a:pt x="129" y="169"/>
                  <a:pt x="129" y="169"/>
                </a:cubicBezTo>
                <a:cubicBezTo>
                  <a:pt x="129" y="162"/>
                  <a:pt x="135" y="156"/>
                  <a:pt x="142" y="155"/>
                </a:cubicBezTo>
                <a:cubicBezTo>
                  <a:pt x="142" y="155"/>
                  <a:pt x="142" y="155"/>
                  <a:pt x="142" y="155"/>
                </a:cubicBezTo>
                <a:cubicBezTo>
                  <a:pt x="146" y="155"/>
                  <a:pt x="150" y="155"/>
                  <a:pt x="153" y="155"/>
                </a:cubicBezTo>
                <a:cubicBezTo>
                  <a:pt x="153" y="155"/>
                  <a:pt x="153" y="155"/>
                  <a:pt x="153" y="155"/>
                </a:cubicBezTo>
                <a:cubicBezTo>
                  <a:pt x="183" y="155"/>
                  <a:pt x="212" y="162"/>
                  <a:pt x="236" y="171"/>
                </a:cubicBezTo>
                <a:cubicBezTo>
                  <a:pt x="236" y="171"/>
                  <a:pt x="236" y="171"/>
                  <a:pt x="236" y="171"/>
                </a:cubicBezTo>
                <a:cubicBezTo>
                  <a:pt x="261" y="180"/>
                  <a:pt x="282" y="192"/>
                  <a:pt x="296" y="203"/>
                </a:cubicBezTo>
                <a:cubicBezTo>
                  <a:pt x="296" y="203"/>
                  <a:pt x="296" y="203"/>
                  <a:pt x="296" y="203"/>
                </a:cubicBezTo>
                <a:cubicBezTo>
                  <a:pt x="302" y="208"/>
                  <a:pt x="309" y="214"/>
                  <a:pt x="316" y="221"/>
                </a:cubicBezTo>
                <a:cubicBezTo>
                  <a:pt x="316" y="221"/>
                  <a:pt x="316" y="221"/>
                  <a:pt x="316" y="221"/>
                </a:cubicBezTo>
                <a:cubicBezTo>
                  <a:pt x="322" y="227"/>
                  <a:pt x="329" y="233"/>
                  <a:pt x="334" y="237"/>
                </a:cubicBezTo>
                <a:cubicBezTo>
                  <a:pt x="334" y="237"/>
                  <a:pt x="334" y="237"/>
                  <a:pt x="334" y="237"/>
                </a:cubicBezTo>
                <a:cubicBezTo>
                  <a:pt x="337" y="240"/>
                  <a:pt x="340" y="242"/>
                  <a:pt x="340" y="242"/>
                </a:cubicBezTo>
                <a:cubicBezTo>
                  <a:pt x="340" y="242"/>
                  <a:pt x="340" y="242"/>
                  <a:pt x="340" y="242"/>
                </a:cubicBezTo>
                <a:cubicBezTo>
                  <a:pt x="340" y="242"/>
                  <a:pt x="340" y="242"/>
                  <a:pt x="340" y="242"/>
                </a:cubicBezTo>
                <a:cubicBezTo>
                  <a:pt x="340" y="242"/>
                  <a:pt x="340" y="242"/>
                  <a:pt x="340" y="242"/>
                </a:cubicBezTo>
                <a:cubicBezTo>
                  <a:pt x="343" y="243"/>
                  <a:pt x="351" y="246"/>
                  <a:pt x="359" y="249"/>
                </a:cubicBezTo>
                <a:cubicBezTo>
                  <a:pt x="359" y="249"/>
                  <a:pt x="359" y="249"/>
                  <a:pt x="359" y="249"/>
                </a:cubicBezTo>
                <a:cubicBezTo>
                  <a:pt x="367" y="253"/>
                  <a:pt x="377" y="259"/>
                  <a:pt x="385" y="267"/>
                </a:cubicBezTo>
                <a:cubicBezTo>
                  <a:pt x="385" y="267"/>
                  <a:pt x="385" y="267"/>
                  <a:pt x="385" y="267"/>
                </a:cubicBezTo>
                <a:cubicBezTo>
                  <a:pt x="390" y="272"/>
                  <a:pt x="395" y="279"/>
                  <a:pt x="398" y="288"/>
                </a:cubicBezTo>
                <a:cubicBezTo>
                  <a:pt x="398" y="288"/>
                  <a:pt x="398" y="288"/>
                  <a:pt x="398" y="288"/>
                </a:cubicBezTo>
                <a:cubicBezTo>
                  <a:pt x="400" y="295"/>
                  <a:pt x="402" y="303"/>
                  <a:pt x="402" y="311"/>
                </a:cubicBezTo>
                <a:cubicBezTo>
                  <a:pt x="402" y="311"/>
                  <a:pt x="402" y="311"/>
                  <a:pt x="402" y="311"/>
                </a:cubicBezTo>
                <a:cubicBezTo>
                  <a:pt x="403" y="319"/>
                  <a:pt x="404" y="327"/>
                  <a:pt x="404" y="335"/>
                </a:cubicBezTo>
                <a:cubicBezTo>
                  <a:pt x="404" y="335"/>
                  <a:pt x="404" y="335"/>
                  <a:pt x="404" y="335"/>
                </a:cubicBezTo>
                <a:cubicBezTo>
                  <a:pt x="404" y="354"/>
                  <a:pt x="402" y="371"/>
                  <a:pt x="402" y="371"/>
                </a:cubicBezTo>
                <a:cubicBezTo>
                  <a:pt x="402" y="371"/>
                  <a:pt x="402" y="371"/>
                  <a:pt x="402" y="371"/>
                </a:cubicBezTo>
                <a:cubicBezTo>
                  <a:pt x="401" y="378"/>
                  <a:pt x="395" y="383"/>
                  <a:pt x="389" y="383"/>
                </a:cubicBezTo>
                <a:cubicBezTo>
                  <a:pt x="389" y="383"/>
                  <a:pt x="389" y="383"/>
                  <a:pt x="389" y="383"/>
                </a:cubicBezTo>
                <a:cubicBezTo>
                  <a:pt x="355" y="383"/>
                  <a:pt x="355" y="383"/>
                  <a:pt x="355" y="383"/>
                </a:cubicBezTo>
                <a:cubicBezTo>
                  <a:pt x="349" y="391"/>
                  <a:pt x="342" y="396"/>
                  <a:pt x="335" y="400"/>
                </a:cubicBezTo>
                <a:cubicBezTo>
                  <a:pt x="335" y="400"/>
                  <a:pt x="335" y="400"/>
                  <a:pt x="335" y="400"/>
                </a:cubicBezTo>
                <a:cubicBezTo>
                  <a:pt x="326" y="404"/>
                  <a:pt x="316" y="406"/>
                  <a:pt x="308" y="406"/>
                </a:cubicBezTo>
                <a:cubicBezTo>
                  <a:pt x="308" y="406"/>
                  <a:pt x="308" y="406"/>
                  <a:pt x="308" y="406"/>
                </a:cubicBezTo>
                <a:cubicBezTo>
                  <a:pt x="292" y="406"/>
                  <a:pt x="278" y="398"/>
                  <a:pt x="268" y="388"/>
                </a:cubicBezTo>
                <a:cubicBezTo>
                  <a:pt x="268" y="388"/>
                  <a:pt x="268" y="388"/>
                  <a:pt x="268" y="388"/>
                </a:cubicBezTo>
                <a:cubicBezTo>
                  <a:pt x="258" y="378"/>
                  <a:pt x="252" y="364"/>
                  <a:pt x="252" y="349"/>
                </a:cubicBezTo>
                <a:cubicBezTo>
                  <a:pt x="252" y="349"/>
                  <a:pt x="252" y="349"/>
                  <a:pt x="252" y="349"/>
                </a:cubicBezTo>
                <a:cubicBezTo>
                  <a:pt x="251" y="338"/>
                  <a:pt x="256" y="332"/>
                  <a:pt x="262" y="332"/>
                </a:cubicBezTo>
                <a:cubicBezTo>
                  <a:pt x="274" y="331"/>
                  <a:pt x="277" y="339"/>
                  <a:pt x="280" y="356"/>
                </a:cubicBezTo>
                <a:cubicBezTo>
                  <a:pt x="281" y="362"/>
                  <a:pt x="283" y="366"/>
                  <a:pt x="287" y="370"/>
                </a:cubicBezTo>
                <a:cubicBezTo>
                  <a:pt x="287" y="370"/>
                  <a:pt x="287" y="370"/>
                  <a:pt x="287" y="370"/>
                </a:cubicBezTo>
                <a:cubicBezTo>
                  <a:pt x="293" y="376"/>
                  <a:pt x="300" y="379"/>
                  <a:pt x="308" y="379"/>
                </a:cubicBezTo>
                <a:cubicBezTo>
                  <a:pt x="308" y="379"/>
                  <a:pt x="308" y="379"/>
                  <a:pt x="308" y="379"/>
                </a:cubicBezTo>
                <a:cubicBezTo>
                  <a:pt x="313" y="379"/>
                  <a:pt x="319" y="378"/>
                  <a:pt x="324" y="376"/>
                </a:cubicBezTo>
                <a:cubicBezTo>
                  <a:pt x="324" y="376"/>
                  <a:pt x="324" y="376"/>
                  <a:pt x="324" y="376"/>
                </a:cubicBezTo>
                <a:cubicBezTo>
                  <a:pt x="328" y="373"/>
                  <a:pt x="332" y="370"/>
                  <a:pt x="336" y="364"/>
                </a:cubicBezTo>
                <a:cubicBezTo>
                  <a:pt x="336" y="364"/>
                  <a:pt x="336" y="364"/>
                  <a:pt x="336" y="364"/>
                </a:cubicBezTo>
                <a:cubicBezTo>
                  <a:pt x="338" y="359"/>
                  <a:pt x="342" y="357"/>
                  <a:pt x="347" y="357"/>
                </a:cubicBezTo>
                <a:cubicBezTo>
                  <a:pt x="347" y="357"/>
                  <a:pt x="347" y="357"/>
                  <a:pt x="347" y="357"/>
                </a:cubicBezTo>
                <a:cubicBezTo>
                  <a:pt x="376" y="356"/>
                  <a:pt x="376" y="356"/>
                  <a:pt x="376" y="356"/>
                </a:cubicBezTo>
                <a:cubicBezTo>
                  <a:pt x="377" y="351"/>
                  <a:pt x="377" y="343"/>
                  <a:pt x="377" y="335"/>
                </a:cubicBezTo>
                <a:cubicBezTo>
                  <a:pt x="377" y="335"/>
                  <a:pt x="377" y="335"/>
                  <a:pt x="377" y="335"/>
                </a:cubicBezTo>
                <a:cubicBezTo>
                  <a:pt x="377" y="328"/>
                  <a:pt x="377" y="320"/>
                  <a:pt x="376" y="313"/>
                </a:cubicBezTo>
                <a:cubicBezTo>
                  <a:pt x="376" y="313"/>
                  <a:pt x="376" y="313"/>
                  <a:pt x="376" y="313"/>
                </a:cubicBezTo>
                <a:cubicBezTo>
                  <a:pt x="375" y="307"/>
                  <a:pt x="374" y="300"/>
                  <a:pt x="373" y="296"/>
                </a:cubicBezTo>
                <a:cubicBezTo>
                  <a:pt x="373" y="296"/>
                  <a:pt x="373" y="296"/>
                  <a:pt x="373" y="296"/>
                </a:cubicBezTo>
                <a:cubicBezTo>
                  <a:pt x="371" y="290"/>
                  <a:pt x="366" y="285"/>
                  <a:pt x="360" y="281"/>
                </a:cubicBezTo>
                <a:cubicBezTo>
                  <a:pt x="360" y="281"/>
                  <a:pt x="360" y="281"/>
                  <a:pt x="360" y="281"/>
                </a:cubicBezTo>
                <a:cubicBezTo>
                  <a:pt x="354" y="277"/>
                  <a:pt x="347" y="273"/>
                  <a:pt x="341" y="271"/>
                </a:cubicBezTo>
                <a:cubicBezTo>
                  <a:pt x="341" y="271"/>
                  <a:pt x="341" y="271"/>
                  <a:pt x="341" y="271"/>
                </a:cubicBezTo>
                <a:cubicBezTo>
                  <a:pt x="337" y="269"/>
                  <a:pt x="333" y="268"/>
                  <a:pt x="330" y="267"/>
                </a:cubicBezTo>
                <a:cubicBezTo>
                  <a:pt x="330" y="267"/>
                  <a:pt x="330" y="267"/>
                  <a:pt x="330" y="267"/>
                </a:cubicBezTo>
                <a:cubicBezTo>
                  <a:pt x="325" y="265"/>
                  <a:pt x="322" y="262"/>
                  <a:pt x="317" y="258"/>
                </a:cubicBezTo>
                <a:cubicBezTo>
                  <a:pt x="317" y="258"/>
                  <a:pt x="317" y="258"/>
                  <a:pt x="317" y="258"/>
                </a:cubicBezTo>
                <a:cubicBezTo>
                  <a:pt x="313" y="255"/>
                  <a:pt x="309" y="251"/>
                  <a:pt x="305" y="247"/>
                </a:cubicBezTo>
                <a:cubicBezTo>
                  <a:pt x="305" y="247"/>
                  <a:pt x="305" y="247"/>
                  <a:pt x="305" y="247"/>
                </a:cubicBezTo>
                <a:cubicBezTo>
                  <a:pt x="296" y="238"/>
                  <a:pt x="287" y="229"/>
                  <a:pt x="279" y="224"/>
                </a:cubicBezTo>
                <a:cubicBezTo>
                  <a:pt x="279" y="224"/>
                  <a:pt x="279" y="224"/>
                  <a:pt x="279" y="224"/>
                </a:cubicBezTo>
                <a:cubicBezTo>
                  <a:pt x="268" y="215"/>
                  <a:pt x="249" y="204"/>
                  <a:pt x="227" y="196"/>
                </a:cubicBezTo>
                <a:cubicBezTo>
                  <a:pt x="227" y="196"/>
                  <a:pt x="227" y="196"/>
                  <a:pt x="227" y="196"/>
                </a:cubicBezTo>
                <a:cubicBezTo>
                  <a:pt x="205" y="188"/>
                  <a:pt x="180" y="182"/>
                  <a:pt x="156" y="182"/>
                </a:cubicBezTo>
                <a:cubicBezTo>
                  <a:pt x="156" y="182"/>
                  <a:pt x="156" y="182"/>
                  <a:pt x="156" y="182"/>
                </a:cubicBezTo>
                <a:cubicBezTo>
                  <a:pt x="156" y="196"/>
                  <a:pt x="156" y="196"/>
                  <a:pt x="156" y="196"/>
                </a:cubicBezTo>
                <a:cubicBezTo>
                  <a:pt x="157" y="196"/>
                  <a:pt x="157" y="196"/>
                  <a:pt x="158" y="196"/>
                </a:cubicBezTo>
                <a:cubicBezTo>
                  <a:pt x="158" y="196"/>
                  <a:pt x="158" y="196"/>
                  <a:pt x="158" y="196"/>
                </a:cubicBezTo>
                <a:cubicBezTo>
                  <a:pt x="171" y="196"/>
                  <a:pt x="191" y="198"/>
                  <a:pt x="214" y="206"/>
                </a:cubicBezTo>
                <a:cubicBezTo>
                  <a:pt x="214" y="206"/>
                  <a:pt x="214" y="206"/>
                  <a:pt x="214" y="206"/>
                </a:cubicBezTo>
                <a:cubicBezTo>
                  <a:pt x="237" y="213"/>
                  <a:pt x="263" y="227"/>
                  <a:pt x="287" y="252"/>
                </a:cubicBezTo>
                <a:cubicBezTo>
                  <a:pt x="287" y="252"/>
                  <a:pt x="287" y="252"/>
                  <a:pt x="287" y="252"/>
                </a:cubicBezTo>
                <a:cubicBezTo>
                  <a:pt x="291" y="255"/>
                  <a:pt x="292" y="261"/>
                  <a:pt x="290" y="266"/>
                </a:cubicBezTo>
                <a:cubicBezTo>
                  <a:pt x="290" y="266"/>
                  <a:pt x="290" y="266"/>
                  <a:pt x="290" y="266"/>
                </a:cubicBezTo>
                <a:cubicBezTo>
                  <a:pt x="288" y="271"/>
                  <a:pt x="283" y="274"/>
                  <a:pt x="278" y="274"/>
                </a:cubicBezTo>
                <a:cubicBezTo>
                  <a:pt x="278" y="274"/>
                  <a:pt x="278" y="274"/>
                  <a:pt x="278" y="274"/>
                </a:cubicBezTo>
                <a:cubicBezTo>
                  <a:pt x="278" y="274"/>
                  <a:pt x="243" y="274"/>
                  <a:pt x="207" y="274"/>
                </a:cubicBezTo>
                <a:cubicBezTo>
                  <a:pt x="207" y="274"/>
                  <a:pt x="207" y="274"/>
                  <a:pt x="207" y="274"/>
                </a:cubicBezTo>
                <a:cubicBezTo>
                  <a:pt x="172" y="274"/>
                  <a:pt x="134" y="274"/>
                  <a:pt x="128" y="274"/>
                </a:cubicBezTo>
                <a:cubicBezTo>
                  <a:pt x="128" y="274"/>
                  <a:pt x="128" y="274"/>
                  <a:pt x="128" y="274"/>
                </a:cubicBezTo>
                <a:cubicBezTo>
                  <a:pt x="118" y="274"/>
                  <a:pt x="109" y="269"/>
                  <a:pt x="103" y="263"/>
                </a:cubicBezTo>
                <a:cubicBezTo>
                  <a:pt x="103" y="263"/>
                  <a:pt x="103" y="263"/>
                  <a:pt x="103" y="263"/>
                </a:cubicBezTo>
                <a:cubicBezTo>
                  <a:pt x="97" y="257"/>
                  <a:pt x="93" y="249"/>
                  <a:pt x="93" y="239"/>
                </a:cubicBezTo>
                <a:cubicBezTo>
                  <a:pt x="93" y="239"/>
                  <a:pt x="93" y="239"/>
                  <a:pt x="93" y="239"/>
                </a:cubicBezTo>
                <a:cubicBezTo>
                  <a:pt x="93" y="235"/>
                  <a:pt x="93" y="209"/>
                  <a:pt x="93" y="191"/>
                </a:cubicBezTo>
                <a:cubicBezTo>
                  <a:pt x="93" y="191"/>
                  <a:pt x="93" y="191"/>
                  <a:pt x="93" y="191"/>
                </a:cubicBezTo>
                <a:cubicBezTo>
                  <a:pt x="90" y="192"/>
                  <a:pt x="88" y="193"/>
                  <a:pt x="85" y="194"/>
                </a:cubicBezTo>
                <a:cubicBezTo>
                  <a:pt x="85" y="194"/>
                  <a:pt x="85" y="194"/>
                  <a:pt x="85" y="194"/>
                </a:cubicBezTo>
                <a:cubicBezTo>
                  <a:pt x="72" y="201"/>
                  <a:pt x="56" y="214"/>
                  <a:pt x="43" y="241"/>
                </a:cubicBezTo>
                <a:cubicBezTo>
                  <a:pt x="43" y="241"/>
                  <a:pt x="43" y="241"/>
                  <a:pt x="43" y="241"/>
                </a:cubicBezTo>
                <a:cubicBezTo>
                  <a:pt x="35" y="259"/>
                  <a:pt x="29" y="284"/>
                  <a:pt x="28" y="317"/>
                </a:cubicBezTo>
                <a:cubicBezTo>
                  <a:pt x="28" y="317"/>
                  <a:pt x="28" y="317"/>
                  <a:pt x="28" y="317"/>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9"/>
                  <a:pt x="27" y="319"/>
                  <a:pt x="27" y="320"/>
                </a:cubicBezTo>
                <a:cubicBezTo>
                  <a:pt x="27" y="320"/>
                  <a:pt x="27" y="320"/>
                  <a:pt x="27" y="320"/>
                </a:cubicBezTo>
                <a:cubicBezTo>
                  <a:pt x="27" y="321"/>
                  <a:pt x="27" y="324"/>
                  <a:pt x="27" y="326"/>
                </a:cubicBezTo>
                <a:cubicBezTo>
                  <a:pt x="27" y="326"/>
                  <a:pt x="27" y="326"/>
                  <a:pt x="27" y="326"/>
                </a:cubicBezTo>
                <a:cubicBezTo>
                  <a:pt x="27" y="332"/>
                  <a:pt x="28" y="339"/>
                  <a:pt x="29" y="347"/>
                </a:cubicBezTo>
                <a:cubicBezTo>
                  <a:pt x="29" y="347"/>
                  <a:pt x="29" y="347"/>
                  <a:pt x="29" y="347"/>
                </a:cubicBezTo>
                <a:cubicBezTo>
                  <a:pt x="31" y="354"/>
                  <a:pt x="33" y="362"/>
                  <a:pt x="37" y="367"/>
                </a:cubicBezTo>
                <a:cubicBezTo>
                  <a:pt x="37" y="367"/>
                  <a:pt x="37" y="367"/>
                  <a:pt x="37" y="367"/>
                </a:cubicBezTo>
                <a:cubicBezTo>
                  <a:pt x="39" y="371"/>
                  <a:pt x="42" y="374"/>
                  <a:pt x="46" y="376"/>
                </a:cubicBezTo>
                <a:cubicBezTo>
                  <a:pt x="46" y="376"/>
                  <a:pt x="46" y="376"/>
                  <a:pt x="46" y="376"/>
                </a:cubicBezTo>
                <a:cubicBezTo>
                  <a:pt x="50" y="378"/>
                  <a:pt x="56" y="379"/>
                  <a:pt x="62" y="379"/>
                </a:cubicBezTo>
                <a:cubicBezTo>
                  <a:pt x="62" y="379"/>
                  <a:pt x="62" y="379"/>
                  <a:pt x="62" y="379"/>
                </a:cubicBezTo>
                <a:cubicBezTo>
                  <a:pt x="68" y="379"/>
                  <a:pt x="74" y="378"/>
                  <a:pt x="79" y="374"/>
                </a:cubicBezTo>
                <a:cubicBezTo>
                  <a:pt x="79" y="374"/>
                  <a:pt x="79" y="374"/>
                  <a:pt x="79" y="374"/>
                </a:cubicBezTo>
                <a:cubicBezTo>
                  <a:pt x="84" y="370"/>
                  <a:pt x="88" y="364"/>
                  <a:pt x="90" y="355"/>
                </a:cubicBezTo>
                <a:cubicBezTo>
                  <a:pt x="90" y="355"/>
                  <a:pt x="90" y="355"/>
                  <a:pt x="90" y="355"/>
                </a:cubicBezTo>
                <a:cubicBezTo>
                  <a:pt x="92" y="349"/>
                  <a:pt x="97" y="345"/>
                  <a:pt x="103" y="345"/>
                </a:cubicBezTo>
                <a:cubicBezTo>
                  <a:pt x="103" y="345"/>
                  <a:pt x="103" y="345"/>
                  <a:pt x="103" y="345"/>
                </a:cubicBezTo>
                <a:cubicBezTo>
                  <a:pt x="217" y="345"/>
                  <a:pt x="217" y="345"/>
                  <a:pt x="217" y="345"/>
                </a:cubicBezTo>
                <a:cubicBezTo>
                  <a:pt x="223" y="345"/>
                  <a:pt x="228" y="348"/>
                  <a:pt x="230" y="354"/>
                </a:cubicBezTo>
                <a:cubicBezTo>
                  <a:pt x="230" y="354"/>
                  <a:pt x="230" y="354"/>
                  <a:pt x="230" y="354"/>
                </a:cubicBezTo>
                <a:cubicBezTo>
                  <a:pt x="230" y="354"/>
                  <a:pt x="230" y="354"/>
                  <a:pt x="230" y="354"/>
                </a:cubicBezTo>
                <a:cubicBezTo>
                  <a:pt x="230" y="354"/>
                  <a:pt x="230" y="354"/>
                  <a:pt x="230" y="354"/>
                </a:cubicBezTo>
                <a:cubicBezTo>
                  <a:pt x="230" y="354"/>
                  <a:pt x="230" y="354"/>
                  <a:pt x="230" y="354"/>
                </a:cubicBezTo>
                <a:cubicBezTo>
                  <a:pt x="230" y="354"/>
                  <a:pt x="230" y="355"/>
                  <a:pt x="230" y="355"/>
                </a:cubicBezTo>
                <a:cubicBezTo>
                  <a:pt x="230" y="355"/>
                  <a:pt x="230" y="355"/>
                  <a:pt x="230" y="355"/>
                </a:cubicBezTo>
                <a:cubicBezTo>
                  <a:pt x="231" y="357"/>
                  <a:pt x="232" y="358"/>
                  <a:pt x="233" y="361"/>
                </a:cubicBezTo>
                <a:cubicBezTo>
                  <a:pt x="233" y="361"/>
                  <a:pt x="233" y="361"/>
                  <a:pt x="233" y="361"/>
                </a:cubicBezTo>
                <a:cubicBezTo>
                  <a:pt x="235" y="365"/>
                  <a:pt x="238" y="372"/>
                  <a:pt x="242" y="379"/>
                </a:cubicBezTo>
                <a:cubicBezTo>
                  <a:pt x="242" y="379"/>
                  <a:pt x="242" y="379"/>
                  <a:pt x="242" y="379"/>
                </a:cubicBezTo>
                <a:cubicBezTo>
                  <a:pt x="251" y="393"/>
                  <a:pt x="265" y="410"/>
                  <a:pt x="284" y="420"/>
                </a:cubicBezTo>
                <a:cubicBezTo>
                  <a:pt x="284" y="420"/>
                  <a:pt x="284" y="420"/>
                  <a:pt x="284" y="420"/>
                </a:cubicBezTo>
                <a:cubicBezTo>
                  <a:pt x="297" y="428"/>
                  <a:pt x="312" y="432"/>
                  <a:pt x="331" y="432"/>
                </a:cubicBezTo>
                <a:cubicBezTo>
                  <a:pt x="331" y="432"/>
                  <a:pt x="331" y="432"/>
                  <a:pt x="331" y="432"/>
                </a:cubicBezTo>
                <a:cubicBezTo>
                  <a:pt x="350" y="432"/>
                  <a:pt x="366" y="429"/>
                  <a:pt x="379" y="423"/>
                </a:cubicBezTo>
                <a:cubicBezTo>
                  <a:pt x="379" y="423"/>
                  <a:pt x="379" y="423"/>
                  <a:pt x="379" y="423"/>
                </a:cubicBezTo>
                <a:cubicBezTo>
                  <a:pt x="392" y="416"/>
                  <a:pt x="402" y="408"/>
                  <a:pt x="410" y="398"/>
                </a:cubicBezTo>
                <a:cubicBezTo>
                  <a:pt x="410" y="398"/>
                  <a:pt x="410" y="398"/>
                  <a:pt x="410" y="398"/>
                </a:cubicBezTo>
                <a:cubicBezTo>
                  <a:pt x="426" y="378"/>
                  <a:pt x="434" y="352"/>
                  <a:pt x="434" y="330"/>
                </a:cubicBezTo>
                <a:cubicBezTo>
                  <a:pt x="434" y="330"/>
                  <a:pt x="434" y="330"/>
                  <a:pt x="434" y="330"/>
                </a:cubicBezTo>
                <a:cubicBezTo>
                  <a:pt x="434" y="309"/>
                  <a:pt x="425" y="284"/>
                  <a:pt x="410" y="259"/>
                </a:cubicBezTo>
                <a:cubicBezTo>
                  <a:pt x="410" y="259"/>
                  <a:pt x="410" y="259"/>
                  <a:pt x="410" y="259"/>
                </a:cubicBezTo>
                <a:cubicBezTo>
                  <a:pt x="395" y="235"/>
                  <a:pt x="374" y="211"/>
                  <a:pt x="351" y="191"/>
                </a:cubicBezTo>
                <a:cubicBezTo>
                  <a:pt x="351" y="191"/>
                  <a:pt x="351" y="191"/>
                  <a:pt x="351" y="191"/>
                </a:cubicBezTo>
                <a:cubicBezTo>
                  <a:pt x="347" y="188"/>
                  <a:pt x="345" y="183"/>
                  <a:pt x="346" y="179"/>
                </a:cubicBezTo>
                <a:cubicBezTo>
                  <a:pt x="346" y="179"/>
                  <a:pt x="346" y="179"/>
                  <a:pt x="346" y="179"/>
                </a:cubicBezTo>
                <a:cubicBezTo>
                  <a:pt x="347" y="174"/>
                  <a:pt x="350" y="170"/>
                  <a:pt x="355" y="168"/>
                </a:cubicBezTo>
                <a:cubicBezTo>
                  <a:pt x="355" y="168"/>
                  <a:pt x="355" y="168"/>
                  <a:pt x="355" y="168"/>
                </a:cubicBezTo>
                <a:cubicBezTo>
                  <a:pt x="355" y="168"/>
                  <a:pt x="355" y="168"/>
                  <a:pt x="355" y="168"/>
                </a:cubicBezTo>
                <a:cubicBezTo>
                  <a:pt x="355" y="168"/>
                  <a:pt x="355" y="168"/>
                  <a:pt x="355" y="168"/>
                </a:cubicBezTo>
                <a:cubicBezTo>
                  <a:pt x="355" y="168"/>
                  <a:pt x="355" y="168"/>
                  <a:pt x="356" y="168"/>
                </a:cubicBezTo>
                <a:cubicBezTo>
                  <a:pt x="356" y="168"/>
                  <a:pt x="356" y="168"/>
                  <a:pt x="356" y="168"/>
                </a:cubicBezTo>
                <a:cubicBezTo>
                  <a:pt x="356" y="168"/>
                  <a:pt x="357" y="168"/>
                  <a:pt x="358" y="167"/>
                </a:cubicBezTo>
                <a:cubicBezTo>
                  <a:pt x="358" y="167"/>
                  <a:pt x="358" y="167"/>
                  <a:pt x="358" y="167"/>
                </a:cubicBezTo>
                <a:cubicBezTo>
                  <a:pt x="360" y="167"/>
                  <a:pt x="363" y="165"/>
                  <a:pt x="366" y="164"/>
                </a:cubicBezTo>
                <a:cubicBezTo>
                  <a:pt x="366" y="164"/>
                  <a:pt x="366" y="164"/>
                  <a:pt x="366" y="164"/>
                </a:cubicBezTo>
                <a:cubicBezTo>
                  <a:pt x="372" y="161"/>
                  <a:pt x="380" y="157"/>
                  <a:pt x="385" y="153"/>
                </a:cubicBezTo>
                <a:cubicBezTo>
                  <a:pt x="385" y="153"/>
                  <a:pt x="385" y="153"/>
                  <a:pt x="385" y="153"/>
                </a:cubicBezTo>
                <a:cubicBezTo>
                  <a:pt x="389" y="151"/>
                  <a:pt x="391" y="148"/>
                  <a:pt x="391" y="148"/>
                </a:cubicBezTo>
                <a:cubicBezTo>
                  <a:pt x="391" y="148"/>
                  <a:pt x="391" y="148"/>
                  <a:pt x="391" y="148"/>
                </a:cubicBezTo>
                <a:cubicBezTo>
                  <a:pt x="392" y="145"/>
                  <a:pt x="394" y="139"/>
                  <a:pt x="395" y="132"/>
                </a:cubicBezTo>
                <a:cubicBezTo>
                  <a:pt x="395" y="132"/>
                  <a:pt x="395" y="132"/>
                  <a:pt x="395" y="132"/>
                </a:cubicBezTo>
                <a:cubicBezTo>
                  <a:pt x="396" y="125"/>
                  <a:pt x="396" y="118"/>
                  <a:pt x="396" y="111"/>
                </a:cubicBezTo>
                <a:cubicBezTo>
                  <a:pt x="396" y="111"/>
                  <a:pt x="396" y="111"/>
                  <a:pt x="396" y="111"/>
                </a:cubicBezTo>
                <a:cubicBezTo>
                  <a:pt x="396" y="104"/>
                  <a:pt x="396" y="99"/>
                  <a:pt x="396" y="95"/>
                </a:cubicBezTo>
                <a:cubicBezTo>
                  <a:pt x="396" y="95"/>
                  <a:pt x="396" y="95"/>
                  <a:pt x="396" y="95"/>
                </a:cubicBezTo>
                <a:cubicBezTo>
                  <a:pt x="395" y="95"/>
                  <a:pt x="393" y="95"/>
                  <a:pt x="392" y="95"/>
                </a:cubicBezTo>
                <a:cubicBezTo>
                  <a:pt x="392" y="95"/>
                  <a:pt x="392" y="95"/>
                  <a:pt x="392"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87" y="95"/>
                  <a:pt x="384" y="94"/>
                  <a:pt x="381" y="91"/>
                </a:cubicBezTo>
                <a:cubicBezTo>
                  <a:pt x="381" y="91"/>
                  <a:pt x="381" y="91"/>
                  <a:pt x="381" y="91"/>
                </a:cubicBezTo>
                <a:cubicBezTo>
                  <a:pt x="378" y="89"/>
                  <a:pt x="377" y="85"/>
                  <a:pt x="377" y="81"/>
                </a:cubicBezTo>
                <a:cubicBezTo>
                  <a:pt x="377" y="81"/>
                  <a:pt x="377" y="81"/>
                  <a:pt x="377" y="81"/>
                </a:cubicBezTo>
                <a:cubicBezTo>
                  <a:pt x="377" y="81"/>
                  <a:pt x="377" y="40"/>
                  <a:pt x="377" y="32"/>
                </a:cubicBezTo>
                <a:cubicBezTo>
                  <a:pt x="377" y="32"/>
                  <a:pt x="377" y="32"/>
                  <a:pt x="377" y="32"/>
                </a:cubicBezTo>
                <a:cubicBezTo>
                  <a:pt x="377" y="30"/>
                  <a:pt x="376" y="28"/>
                  <a:pt x="375" y="28"/>
                </a:cubicBezTo>
                <a:cubicBezTo>
                  <a:pt x="375" y="28"/>
                  <a:pt x="375" y="28"/>
                  <a:pt x="375" y="28"/>
                </a:cubicBezTo>
                <a:cubicBezTo>
                  <a:pt x="375" y="27"/>
                  <a:pt x="374" y="27"/>
                  <a:pt x="373" y="27"/>
                </a:cubicBezTo>
                <a:cubicBezTo>
                  <a:pt x="373" y="27"/>
                  <a:pt x="373" y="27"/>
                  <a:pt x="373" y="27"/>
                </a:cubicBezTo>
                <a:cubicBezTo>
                  <a:pt x="371" y="27"/>
                  <a:pt x="370" y="27"/>
                  <a:pt x="369" y="28"/>
                </a:cubicBezTo>
                <a:cubicBezTo>
                  <a:pt x="369" y="28"/>
                  <a:pt x="369" y="28"/>
                  <a:pt x="369" y="28"/>
                </a:cubicBezTo>
                <a:cubicBezTo>
                  <a:pt x="369" y="28"/>
                  <a:pt x="368" y="29"/>
                  <a:pt x="368" y="32"/>
                </a:cubicBezTo>
                <a:cubicBezTo>
                  <a:pt x="368" y="32"/>
                  <a:pt x="368" y="32"/>
                  <a:pt x="368" y="32"/>
                </a:cubicBezTo>
                <a:cubicBezTo>
                  <a:pt x="368" y="41"/>
                  <a:pt x="368" y="76"/>
                  <a:pt x="368" y="81"/>
                </a:cubicBezTo>
                <a:cubicBezTo>
                  <a:pt x="368" y="81"/>
                  <a:pt x="368" y="81"/>
                  <a:pt x="368" y="81"/>
                </a:cubicBezTo>
                <a:cubicBezTo>
                  <a:pt x="368" y="85"/>
                  <a:pt x="367" y="88"/>
                  <a:pt x="364" y="90"/>
                </a:cubicBezTo>
                <a:cubicBezTo>
                  <a:pt x="364" y="90"/>
                  <a:pt x="364" y="90"/>
                  <a:pt x="364" y="90"/>
                </a:cubicBezTo>
                <a:cubicBezTo>
                  <a:pt x="362" y="93"/>
                  <a:pt x="358" y="94"/>
                  <a:pt x="355" y="94"/>
                </a:cubicBezTo>
                <a:cubicBezTo>
                  <a:pt x="355" y="94"/>
                  <a:pt x="355" y="94"/>
                  <a:pt x="355" y="94"/>
                </a:cubicBezTo>
                <a:cubicBezTo>
                  <a:pt x="321" y="94"/>
                  <a:pt x="321" y="94"/>
                  <a:pt x="321" y="94"/>
                </a:cubicBezTo>
                <a:cubicBezTo>
                  <a:pt x="317" y="94"/>
                  <a:pt x="314" y="93"/>
                  <a:pt x="312" y="90"/>
                </a:cubicBezTo>
                <a:cubicBezTo>
                  <a:pt x="312" y="90"/>
                  <a:pt x="312" y="90"/>
                  <a:pt x="312" y="90"/>
                </a:cubicBezTo>
                <a:cubicBezTo>
                  <a:pt x="309" y="88"/>
                  <a:pt x="308" y="85"/>
                  <a:pt x="308" y="81"/>
                </a:cubicBezTo>
                <a:cubicBezTo>
                  <a:pt x="308" y="81"/>
                  <a:pt x="308" y="81"/>
                  <a:pt x="308" y="81"/>
                </a:cubicBezTo>
                <a:cubicBezTo>
                  <a:pt x="308" y="81"/>
                  <a:pt x="308" y="42"/>
                  <a:pt x="308" y="32"/>
                </a:cubicBezTo>
                <a:cubicBezTo>
                  <a:pt x="308" y="32"/>
                  <a:pt x="308" y="32"/>
                  <a:pt x="308" y="32"/>
                </a:cubicBezTo>
                <a:cubicBezTo>
                  <a:pt x="308" y="29"/>
                  <a:pt x="307" y="28"/>
                  <a:pt x="306" y="28"/>
                </a:cubicBezTo>
                <a:cubicBezTo>
                  <a:pt x="306" y="28"/>
                  <a:pt x="306" y="28"/>
                  <a:pt x="306" y="28"/>
                </a:cubicBezTo>
                <a:cubicBezTo>
                  <a:pt x="306" y="27"/>
                  <a:pt x="305" y="27"/>
                  <a:pt x="304" y="27"/>
                </a:cubicBezTo>
                <a:cubicBezTo>
                  <a:pt x="304" y="27"/>
                  <a:pt x="304" y="27"/>
                  <a:pt x="304" y="27"/>
                </a:cubicBezTo>
                <a:cubicBezTo>
                  <a:pt x="302" y="27"/>
                  <a:pt x="301" y="27"/>
                  <a:pt x="300" y="28"/>
                </a:cubicBezTo>
                <a:cubicBezTo>
                  <a:pt x="300" y="28"/>
                  <a:pt x="300" y="28"/>
                  <a:pt x="300" y="28"/>
                </a:cubicBezTo>
                <a:cubicBezTo>
                  <a:pt x="300" y="28"/>
                  <a:pt x="299" y="29"/>
                  <a:pt x="299" y="32"/>
                </a:cubicBezTo>
                <a:cubicBezTo>
                  <a:pt x="299" y="32"/>
                  <a:pt x="299" y="32"/>
                  <a:pt x="299" y="32"/>
                </a:cubicBezTo>
                <a:cubicBezTo>
                  <a:pt x="299" y="41"/>
                  <a:pt x="299" y="74"/>
                  <a:pt x="299" y="82"/>
                </a:cubicBezTo>
                <a:cubicBezTo>
                  <a:pt x="299" y="82"/>
                  <a:pt x="299" y="82"/>
                  <a:pt x="299" y="82"/>
                </a:cubicBezTo>
                <a:cubicBezTo>
                  <a:pt x="299" y="86"/>
                  <a:pt x="297" y="89"/>
                  <a:pt x="294" y="92"/>
                </a:cubicBezTo>
                <a:cubicBezTo>
                  <a:pt x="294" y="92"/>
                  <a:pt x="294" y="92"/>
                  <a:pt x="294" y="92"/>
                </a:cubicBezTo>
                <a:cubicBezTo>
                  <a:pt x="291" y="94"/>
                  <a:pt x="288" y="95"/>
                  <a:pt x="284" y="95"/>
                </a:cubicBezTo>
                <a:cubicBezTo>
                  <a:pt x="284" y="95"/>
                  <a:pt x="284" y="95"/>
                  <a:pt x="284" y="95"/>
                </a:cubicBezTo>
                <a:cubicBezTo>
                  <a:pt x="284" y="95"/>
                  <a:pt x="284" y="95"/>
                  <a:pt x="284" y="95"/>
                </a:cubicBezTo>
                <a:cubicBezTo>
                  <a:pt x="284" y="95"/>
                  <a:pt x="283" y="95"/>
                  <a:pt x="283" y="95"/>
                </a:cubicBezTo>
                <a:cubicBezTo>
                  <a:pt x="283" y="95"/>
                  <a:pt x="283" y="95"/>
                  <a:pt x="283" y="95"/>
                </a:cubicBezTo>
                <a:cubicBezTo>
                  <a:pt x="282" y="95"/>
                  <a:pt x="281" y="95"/>
                  <a:pt x="280" y="95"/>
                </a:cubicBezTo>
                <a:cubicBezTo>
                  <a:pt x="280" y="95"/>
                  <a:pt x="280" y="95"/>
                  <a:pt x="280" y="95"/>
                </a:cubicBezTo>
                <a:cubicBezTo>
                  <a:pt x="280" y="98"/>
                  <a:pt x="280" y="102"/>
                  <a:pt x="280" y="106"/>
                </a:cubicBezTo>
                <a:cubicBezTo>
                  <a:pt x="280" y="106"/>
                  <a:pt x="280" y="106"/>
                  <a:pt x="280" y="106"/>
                </a:cubicBezTo>
                <a:cubicBezTo>
                  <a:pt x="280" y="116"/>
                  <a:pt x="280" y="130"/>
                  <a:pt x="281" y="139"/>
                </a:cubicBezTo>
                <a:cubicBezTo>
                  <a:pt x="281" y="139"/>
                  <a:pt x="281" y="139"/>
                  <a:pt x="281" y="139"/>
                </a:cubicBezTo>
                <a:cubicBezTo>
                  <a:pt x="281" y="142"/>
                  <a:pt x="282" y="144"/>
                  <a:pt x="282" y="145"/>
                </a:cubicBezTo>
                <a:cubicBezTo>
                  <a:pt x="282" y="145"/>
                  <a:pt x="282" y="145"/>
                  <a:pt x="282" y="145"/>
                </a:cubicBezTo>
                <a:cubicBezTo>
                  <a:pt x="282" y="145"/>
                  <a:pt x="282" y="145"/>
                  <a:pt x="282" y="145"/>
                </a:cubicBezTo>
                <a:cubicBezTo>
                  <a:pt x="282" y="145"/>
                  <a:pt x="282" y="145"/>
                  <a:pt x="282" y="145"/>
                </a:cubicBezTo>
                <a:cubicBezTo>
                  <a:pt x="283" y="148"/>
                  <a:pt x="285" y="150"/>
                  <a:pt x="287" y="152"/>
                </a:cubicBezTo>
                <a:cubicBezTo>
                  <a:pt x="287" y="152"/>
                  <a:pt x="287" y="152"/>
                  <a:pt x="287" y="152"/>
                </a:cubicBezTo>
                <a:cubicBezTo>
                  <a:pt x="289" y="154"/>
                  <a:pt x="293" y="156"/>
                  <a:pt x="296" y="158"/>
                </a:cubicBezTo>
                <a:cubicBezTo>
                  <a:pt x="296" y="158"/>
                  <a:pt x="296" y="158"/>
                  <a:pt x="296" y="158"/>
                </a:cubicBezTo>
                <a:cubicBezTo>
                  <a:pt x="303" y="162"/>
                  <a:pt x="312" y="165"/>
                  <a:pt x="318" y="167"/>
                </a:cubicBezTo>
                <a:cubicBezTo>
                  <a:pt x="318" y="167"/>
                  <a:pt x="318" y="167"/>
                  <a:pt x="318" y="167"/>
                </a:cubicBezTo>
                <a:cubicBezTo>
                  <a:pt x="325" y="169"/>
                  <a:pt x="330" y="176"/>
                  <a:pt x="328" y="183"/>
                </a:cubicBezTo>
                <a:cubicBezTo>
                  <a:pt x="328" y="183"/>
                  <a:pt x="328" y="183"/>
                  <a:pt x="328" y="183"/>
                </a:cubicBezTo>
                <a:cubicBezTo>
                  <a:pt x="326" y="190"/>
                  <a:pt x="318" y="194"/>
                  <a:pt x="311" y="192"/>
                </a:cubicBezTo>
                <a:cubicBezTo>
                  <a:pt x="311" y="192"/>
                  <a:pt x="311" y="192"/>
                  <a:pt x="311" y="192"/>
                </a:cubicBezTo>
                <a:cubicBezTo>
                  <a:pt x="300" y="189"/>
                  <a:pt x="283" y="184"/>
                  <a:pt x="269" y="172"/>
                </a:cubicBezTo>
                <a:cubicBezTo>
                  <a:pt x="269" y="172"/>
                  <a:pt x="269" y="172"/>
                  <a:pt x="269" y="172"/>
                </a:cubicBezTo>
                <a:cubicBezTo>
                  <a:pt x="264" y="167"/>
                  <a:pt x="260" y="162"/>
                  <a:pt x="257" y="156"/>
                </a:cubicBezTo>
                <a:cubicBezTo>
                  <a:pt x="257" y="156"/>
                  <a:pt x="257" y="156"/>
                  <a:pt x="257" y="156"/>
                </a:cubicBezTo>
                <a:cubicBezTo>
                  <a:pt x="256" y="154"/>
                  <a:pt x="256" y="152"/>
                  <a:pt x="256" y="150"/>
                </a:cubicBezTo>
                <a:cubicBezTo>
                  <a:pt x="256" y="150"/>
                  <a:pt x="256" y="150"/>
                  <a:pt x="256" y="150"/>
                </a:cubicBezTo>
                <a:cubicBezTo>
                  <a:pt x="255" y="148"/>
                  <a:pt x="255" y="147"/>
                  <a:pt x="255" y="145"/>
                </a:cubicBezTo>
                <a:cubicBezTo>
                  <a:pt x="255" y="145"/>
                  <a:pt x="255" y="145"/>
                  <a:pt x="255" y="145"/>
                </a:cubicBezTo>
                <a:cubicBezTo>
                  <a:pt x="254" y="141"/>
                  <a:pt x="254" y="137"/>
                  <a:pt x="254" y="132"/>
                </a:cubicBezTo>
                <a:cubicBezTo>
                  <a:pt x="254" y="132"/>
                  <a:pt x="254" y="132"/>
                  <a:pt x="254" y="132"/>
                </a:cubicBezTo>
                <a:cubicBezTo>
                  <a:pt x="253" y="124"/>
                  <a:pt x="253" y="114"/>
                  <a:pt x="253" y="106"/>
                </a:cubicBezTo>
                <a:cubicBezTo>
                  <a:pt x="253" y="106"/>
                  <a:pt x="253" y="106"/>
                  <a:pt x="253" y="106"/>
                </a:cubicBezTo>
                <a:cubicBezTo>
                  <a:pt x="253" y="101"/>
                  <a:pt x="253" y="97"/>
                  <a:pt x="253" y="94"/>
                </a:cubicBezTo>
                <a:cubicBezTo>
                  <a:pt x="253" y="94"/>
                  <a:pt x="253" y="94"/>
                  <a:pt x="253" y="94"/>
                </a:cubicBezTo>
                <a:cubicBezTo>
                  <a:pt x="253" y="89"/>
                  <a:pt x="255" y="84"/>
                  <a:pt x="257" y="81"/>
                </a:cubicBezTo>
                <a:cubicBezTo>
                  <a:pt x="257" y="81"/>
                  <a:pt x="257" y="81"/>
                  <a:pt x="257" y="81"/>
                </a:cubicBezTo>
                <a:cubicBezTo>
                  <a:pt x="260" y="77"/>
                  <a:pt x="263" y="74"/>
                  <a:pt x="266" y="72"/>
                </a:cubicBezTo>
                <a:cubicBezTo>
                  <a:pt x="266" y="72"/>
                  <a:pt x="266" y="72"/>
                  <a:pt x="266" y="72"/>
                </a:cubicBezTo>
                <a:cubicBezTo>
                  <a:pt x="268" y="71"/>
                  <a:pt x="270" y="70"/>
                  <a:pt x="272" y="70"/>
                </a:cubicBezTo>
                <a:cubicBezTo>
                  <a:pt x="272" y="70"/>
                  <a:pt x="272" y="70"/>
                  <a:pt x="272" y="70"/>
                </a:cubicBezTo>
                <a:cubicBezTo>
                  <a:pt x="272" y="57"/>
                  <a:pt x="272" y="38"/>
                  <a:pt x="272" y="32"/>
                </a:cubicBezTo>
                <a:cubicBezTo>
                  <a:pt x="272" y="32"/>
                  <a:pt x="272" y="32"/>
                  <a:pt x="272" y="32"/>
                </a:cubicBezTo>
                <a:cubicBezTo>
                  <a:pt x="272" y="23"/>
                  <a:pt x="276" y="14"/>
                  <a:pt x="282" y="8"/>
                </a:cubicBezTo>
                <a:cubicBezTo>
                  <a:pt x="282" y="8"/>
                  <a:pt x="282" y="8"/>
                  <a:pt x="282" y="8"/>
                </a:cubicBezTo>
                <a:cubicBezTo>
                  <a:pt x="289" y="2"/>
                  <a:pt x="296" y="0"/>
                  <a:pt x="304" y="0"/>
                </a:cubicBezTo>
                <a:cubicBezTo>
                  <a:pt x="304" y="0"/>
                  <a:pt x="304" y="0"/>
                  <a:pt x="304" y="0"/>
                </a:cubicBezTo>
                <a:cubicBezTo>
                  <a:pt x="312" y="0"/>
                  <a:pt x="320" y="3"/>
                  <a:pt x="325" y="9"/>
                </a:cubicBezTo>
                <a:cubicBezTo>
                  <a:pt x="325" y="9"/>
                  <a:pt x="325" y="9"/>
                  <a:pt x="325" y="9"/>
                </a:cubicBezTo>
                <a:cubicBezTo>
                  <a:pt x="331" y="15"/>
                  <a:pt x="334" y="23"/>
                  <a:pt x="334" y="32"/>
                </a:cubicBezTo>
                <a:cubicBezTo>
                  <a:pt x="334" y="32"/>
                  <a:pt x="334" y="32"/>
                  <a:pt x="334" y="32"/>
                </a:cubicBezTo>
                <a:cubicBezTo>
                  <a:pt x="334" y="38"/>
                  <a:pt x="334" y="55"/>
                  <a:pt x="334" y="68"/>
                </a:cubicBezTo>
                <a:cubicBezTo>
                  <a:pt x="334" y="68"/>
                  <a:pt x="334" y="68"/>
                  <a:pt x="334" y="68"/>
                </a:cubicBezTo>
                <a:cubicBezTo>
                  <a:pt x="342" y="68"/>
                  <a:pt x="342" y="68"/>
                  <a:pt x="342" y="68"/>
                </a:cubicBezTo>
                <a:cubicBezTo>
                  <a:pt x="342" y="55"/>
                  <a:pt x="342" y="38"/>
                  <a:pt x="342" y="32"/>
                </a:cubicBezTo>
                <a:cubicBezTo>
                  <a:pt x="342" y="32"/>
                  <a:pt x="342" y="32"/>
                  <a:pt x="342" y="32"/>
                </a:cubicBezTo>
                <a:cubicBezTo>
                  <a:pt x="342" y="23"/>
                  <a:pt x="345" y="15"/>
                  <a:pt x="351" y="9"/>
                </a:cubicBezTo>
                <a:cubicBezTo>
                  <a:pt x="351" y="9"/>
                  <a:pt x="351" y="9"/>
                  <a:pt x="351" y="9"/>
                </a:cubicBezTo>
                <a:cubicBezTo>
                  <a:pt x="356" y="3"/>
                  <a:pt x="365" y="0"/>
                  <a:pt x="373" y="0"/>
                </a:cubicBezTo>
                <a:cubicBezTo>
                  <a:pt x="373" y="0"/>
                  <a:pt x="373" y="0"/>
                  <a:pt x="373" y="0"/>
                </a:cubicBezTo>
                <a:cubicBezTo>
                  <a:pt x="381" y="0"/>
                  <a:pt x="389" y="4"/>
                  <a:pt x="395" y="10"/>
                </a:cubicBezTo>
                <a:cubicBezTo>
                  <a:pt x="395" y="10"/>
                  <a:pt x="395" y="10"/>
                  <a:pt x="395" y="10"/>
                </a:cubicBezTo>
                <a:cubicBezTo>
                  <a:pt x="400" y="16"/>
                  <a:pt x="403" y="24"/>
                  <a:pt x="403" y="32"/>
                </a:cubicBezTo>
                <a:cubicBezTo>
                  <a:pt x="403" y="32"/>
                  <a:pt x="403" y="32"/>
                  <a:pt x="403" y="32"/>
                </a:cubicBezTo>
                <a:cubicBezTo>
                  <a:pt x="403" y="37"/>
                  <a:pt x="403" y="57"/>
                  <a:pt x="403" y="70"/>
                </a:cubicBezTo>
                <a:cubicBezTo>
                  <a:pt x="403" y="70"/>
                  <a:pt x="403" y="70"/>
                  <a:pt x="403" y="70"/>
                </a:cubicBezTo>
                <a:cubicBezTo>
                  <a:pt x="408" y="71"/>
                  <a:pt x="414" y="74"/>
                  <a:pt x="418" y="80"/>
                </a:cubicBezTo>
                <a:cubicBezTo>
                  <a:pt x="418" y="80"/>
                  <a:pt x="418" y="80"/>
                  <a:pt x="418" y="80"/>
                </a:cubicBezTo>
                <a:cubicBezTo>
                  <a:pt x="421" y="84"/>
                  <a:pt x="422" y="89"/>
                  <a:pt x="422" y="95"/>
                </a:cubicBezTo>
                <a:cubicBezTo>
                  <a:pt x="422" y="95"/>
                  <a:pt x="422" y="95"/>
                  <a:pt x="422" y="95"/>
                </a:cubicBezTo>
                <a:cubicBezTo>
                  <a:pt x="422" y="98"/>
                  <a:pt x="422" y="104"/>
                  <a:pt x="422" y="111"/>
                </a:cubicBezTo>
                <a:cubicBezTo>
                  <a:pt x="422" y="111"/>
                  <a:pt x="422" y="111"/>
                  <a:pt x="422" y="111"/>
                </a:cubicBezTo>
                <a:cubicBezTo>
                  <a:pt x="422" y="118"/>
                  <a:pt x="422" y="127"/>
                  <a:pt x="421" y="135"/>
                </a:cubicBezTo>
                <a:cubicBezTo>
                  <a:pt x="421" y="135"/>
                  <a:pt x="421" y="135"/>
                  <a:pt x="421" y="135"/>
                </a:cubicBezTo>
                <a:cubicBezTo>
                  <a:pt x="420" y="144"/>
                  <a:pt x="419" y="152"/>
                  <a:pt x="415" y="160"/>
                </a:cubicBezTo>
                <a:cubicBezTo>
                  <a:pt x="415" y="160"/>
                  <a:pt x="415" y="160"/>
                  <a:pt x="415" y="160"/>
                </a:cubicBezTo>
                <a:cubicBezTo>
                  <a:pt x="411" y="167"/>
                  <a:pt x="406" y="171"/>
                  <a:pt x="401" y="175"/>
                </a:cubicBezTo>
                <a:cubicBezTo>
                  <a:pt x="401" y="175"/>
                  <a:pt x="401" y="175"/>
                  <a:pt x="401" y="175"/>
                </a:cubicBezTo>
                <a:cubicBezTo>
                  <a:pt x="395" y="179"/>
                  <a:pt x="390" y="182"/>
                  <a:pt x="384" y="185"/>
                </a:cubicBezTo>
                <a:cubicBezTo>
                  <a:pt x="384" y="185"/>
                  <a:pt x="384" y="185"/>
                  <a:pt x="384" y="185"/>
                </a:cubicBezTo>
                <a:cubicBezTo>
                  <a:pt x="384" y="185"/>
                  <a:pt x="384" y="185"/>
                  <a:pt x="384" y="185"/>
                </a:cubicBezTo>
                <a:cubicBezTo>
                  <a:pt x="384" y="185"/>
                  <a:pt x="384" y="185"/>
                  <a:pt x="384" y="185"/>
                </a:cubicBezTo>
                <a:cubicBezTo>
                  <a:pt x="403" y="203"/>
                  <a:pt x="420" y="224"/>
                  <a:pt x="433" y="245"/>
                </a:cubicBezTo>
                <a:cubicBezTo>
                  <a:pt x="433" y="245"/>
                  <a:pt x="433" y="245"/>
                  <a:pt x="433" y="245"/>
                </a:cubicBezTo>
                <a:cubicBezTo>
                  <a:pt x="449" y="273"/>
                  <a:pt x="460" y="302"/>
                  <a:pt x="460" y="330"/>
                </a:cubicBezTo>
                <a:cubicBezTo>
                  <a:pt x="460" y="330"/>
                  <a:pt x="460" y="330"/>
                  <a:pt x="460" y="330"/>
                </a:cubicBezTo>
                <a:cubicBezTo>
                  <a:pt x="460" y="351"/>
                  <a:pt x="455" y="373"/>
                  <a:pt x="444" y="395"/>
                </a:cubicBezTo>
                <a:cubicBezTo>
                  <a:pt x="444" y="395"/>
                  <a:pt x="444" y="395"/>
                  <a:pt x="444" y="395"/>
                </a:cubicBezTo>
                <a:cubicBezTo>
                  <a:pt x="433" y="416"/>
                  <a:pt x="416" y="435"/>
                  <a:pt x="390" y="447"/>
                </a:cubicBezTo>
                <a:cubicBezTo>
                  <a:pt x="390" y="447"/>
                  <a:pt x="390" y="447"/>
                  <a:pt x="390" y="447"/>
                </a:cubicBezTo>
                <a:cubicBezTo>
                  <a:pt x="374" y="455"/>
                  <a:pt x="354" y="459"/>
                  <a:pt x="331" y="459"/>
                </a:cubicBezTo>
                <a:cubicBezTo>
                  <a:pt x="331" y="459"/>
                  <a:pt x="331" y="459"/>
                  <a:pt x="331" y="459"/>
                </a:cubicBezTo>
                <a:cubicBezTo>
                  <a:pt x="331" y="459"/>
                  <a:pt x="331" y="459"/>
                  <a:pt x="331" y="459"/>
                </a:cubicBezTo>
                <a:cubicBezTo>
                  <a:pt x="331" y="459"/>
                  <a:pt x="331" y="459"/>
                  <a:pt x="331" y="459"/>
                </a:cubicBezTo>
                <a:cubicBezTo>
                  <a:pt x="307" y="459"/>
                  <a:pt x="287" y="453"/>
                  <a:pt x="271" y="444"/>
                </a:cubicBezTo>
                <a:close/>
                <a:moveTo>
                  <a:pt x="294" y="122"/>
                </a:moveTo>
                <a:cubicBezTo>
                  <a:pt x="294" y="122"/>
                  <a:pt x="294" y="122"/>
                  <a:pt x="294" y="122"/>
                </a:cubicBezTo>
                <a:cubicBezTo>
                  <a:pt x="294" y="122"/>
                  <a:pt x="294" y="122"/>
                  <a:pt x="294" y="122"/>
                </a:cubicBezTo>
                <a:cubicBezTo>
                  <a:pt x="294" y="122"/>
                  <a:pt x="294" y="122"/>
                  <a:pt x="294" y="122"/>
                </a:cubicBezTo>
                <a:cubicBezTo>
                  <a:pt x="294" y="122"/>
                  <a:pt x="294" y="122"/>
                  <a:pt x="294" y="122"/>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67" name="Freeform 200"/>
          <p:cNvSpPr>
            <a:spLocks noChangeAspect="1"/>
          </p:cNvSpPr>
          <p:nvPr userDrawn="1"/>
        </p:nvSpPr>
        <p:spPr bwMode="auto">
          <a:xfrm>
            <a:off x="7136532" y="1646520"/>
            <a:ext cx="204821" cy="294894"/>
          </a:xfrm>
          <a:custGeom>
            <a:avLst/>
            <a:gdLst/>
            <a:ahLst/>
            <a:cxnLst>
              <a:cxn ang="0">
                <a:pos x="0" y="62"/>
              </a:cxn>
              <a:cxn ang="0">
                <a:pos x="0" y="101"/>
              </a:cxn>
              <a:cxn ang="0">
                <a:pos x="8" y="140"/>
              </a:cxn>
              <a:cxn ang="0">
                <a:pos x="9" y="143"/>
              </a:cxn>
              <a:cxn ang="0">
                <a:pos x="10" y="143"/>
              </a:cxn>
              <a:cxn ang="0">
                <a:pos x="31" y="193"/>
              </a:cxn>
              <a:cxn ang="0">
                <a:pos x="48" y="231"/>
              </a:cxn>
              <a:cxn ang="0">
                <a:pos x="90" y="263"/>
              </a:cxn>
              <a:cxn ang="0">
                <a:pos x="119" y="263"/>
              </a:cxn>
              <a:cxn ang="0">
                <a:pos x="68" y="367"/>
              </a:cxn>
              <a:cxn ang="0">
                <a:pos x="230" y="425"/>
              </a:cxn>
              <a:cxn ang="0">
                <a:pos x="168" y="373"/>
              </a:cxn>
              <a:cxn ang="0">
                <a:pos x="149" y="367"/>
              </a:cxn>
              <a:cxn ang="0">
                <a:pos x="200" y="315"/>
              </a:cxn>
              <a:cxn ang="0">
                <a:pos x="187" y="237"/>
              </a:cxn>
              <a:cxn ang="0">
                <a:pos x="174" y="315"/>
              </a:cxn>
              <a:cxn ang="0">
                <a:pos x="122" y="367"/>
              </a:cxn>
              <a:cxn ang="0">
                <a:pos x="188" y="390"/>
              </a:cxn>
              <a:cxn ang="0">
                <a:pos x="210" y="408"/>
              </a:cxn>
              <a:cxn ang="0">
                <a:pos x="114" y="413"/>
              </a:cxn>
              <a:cxn ang="0">
                <a:pos x="137" y="306"/>
              </a:cxn>
              <a:cxn ang="0">
                <a:pos x="146" y="250"/>
              </a:cxn>
              <a:cxn ang="0">
                <a:pos x="89" y="237"/>
              </a:cxn>
              <a:cxn ang="0">
                <a:pos x="72" y="220"/>
              </a:cxn>
              <a:cxn ang="0">
                <a:pos x="56" y="183"/>
              </a:cxn>
              <a:cxn ang="0">
                <a:pos x="36" y="137"/>
              </a:cxn>
              <a:cxn ang="0">
                <a:pos x="33" y="131"/>
              </a:cxn>
              <a:cxn ang="0">
                <a:pos x="26" y="63"/>
              </a:cxn>
              <a:cxn ang="0">
                <a:pos x="61" y="27"/>
              </a:cxn>
              <a:cxn ang="0">
                <a:pos x="259" y="27"/>
              </a:cxn>
              <a:cxn ang="0">
                <a:pos x="290" y="61"/>
              </a:cxn>
              <a:cxn ang="0">
                <a:pos x="283" y="132"/>
              </a:cxn>
              <a:cxn ang="0">
                <a:pos x="227" y="260"/>
              </a:cxn>
              <a:cxn ang="0">
                <a:pos x="307" y="143"/>
              </a:cxn>
              <a:cxn ang="0">
                <a:pos x="317" y="61"/>
              </a:cxn>
              <a:cxn ang="0">
                <a:pos x="258" y="0"/>
              </a:cxn>
              <a:cxn ang="0">
                <a:pos x="61" y="0"/>
              </a:cxn>
            </a:cxnLst>
            <a:rect l="0" t="0" r="r" b="b"/>
            <a:pathLst>
              <a:path w="317" h="458">
                <a:moveTo>
                  <a:pt x="61" y="0"/>
                </a:moveTo>
                <a:cubicBezTo>
                  <a:pt x="14" y="0"/>
                  <a:pt x="0" y="41"/>
                  <a:pt x="0" y="62"/>
                </a:cubicBezTo>
                <a:cubicBezTo>
                  <a:pt x="0" y="62"/>
                  <a:pt x="0" y="63"/>
                  <a:pt x="0" y="63"/>
                </a:cubicBezTo>
                <a:cubicBezTo>
                  <a:pt x="0" y="101"/>
                  <a:pt x="0" y="101"/>
                  <a:pt x="0" y="101"/>
                </a:cubicBezTo>
                <a:cubicBezTo>
                  <a:pt x="0" y="115"/>
                  <a:pt x="6" y="133"/>
                  <a:pt x="8" y="140"/>
                </a:cubicBezTo>
                <a:cubicBezTo>
                  <a:pt x="8" y="140"/>
                  <a:pt x="8" y="140"/>
                  <a:pt x="8" y="140"/>
                </a:cubicBezTo>
                <a:cubicBezTo>
                  <a:pt x="9" y="143"/>
                  <a:pt x="9" y="143"/>
                  <a:pt x="9" y="143"/>
                </a:cubicBezTo>
                <a:cubicBezTo>
                  <a:pt x="9" y="143"/>
                  <a:pt x="9" y="143"/>
                  <a:pt x="9" y="143"/>
                </a:cubicBezTo>
                <a:cubicBezTo>
                  <a:pt x="9" y="143"/>
                  <a:pt x="9" y="143"/>
                  <a:pt x="9" y="143"/>
                </a:cubicBezTo>
                <a:cubicBezTo>
                  <a:pt x="10" y="143"/>
                  <a:pt x="10" y="143"/>
                  <a:pt x="10" y="143"/>
                </a:cubicBezTo>
                <a:cubicBezTo>
                  <a:pt x="11" y="145"/>
                  <a:pt x="11" y="147"/>
                  <a:pt x="11" y="147"/>
                </a:cubicBezTo>
                <a:cubicBezTo>
                  <a:pt x="16" y="158"/>
                  <a:pt x="24" y="177"/>
                  <a:pt x="31" y="193"/>
                </a:cubicBezTo>
                <a:cubicBezTo>
                  <a:pt x="32" y="195"/>
                  <a:pt x="33" y="198"/>
                  <a:pt x="36" y="203"/>
                </a:cubicBezTo>
                <a:cubicBezTo>
                  <a:pt x="39" y="211"/>
                  <a:pt x="44" y="220"/>
                  <a:pt x="48" y="231"/>
                </a:cubicBezTo>
                <a:cubicBezTo>
                  <a:pt x="48" y="231"/>
                  <a:pt x="48" y="231"/>
                  <a:pt x="48" y="231"/>
                </a:cubicBezTo>
                <a:cubicBezTo>
                  <a:pt x="64" y="264"/>
                  <a:pt x="87" y="263"/>
                  <a:pt x="90" y="263"/>
                </a:cubicBezTo>
                <a:cubicBezTo>
                  <a:pt x="90" y="263"/>
                  <a:pt x="89" y="263"/>
                  <a:pt x="89" y="263"/>
                </a:cubicBezTo>
                <a:cubicBezTo>
                  <a:pt x="89" y="263"/>
                  <a:pt x="106" y="263"/>
                  <a:pt x="119" y="263"/>
                </a:cubicBezTo>
                <a:cubicBezTo>
                  <a:pt x="119" y="272"/>
                  <a:pt x="119" y="278"/>
                  <a:pt x="119" y="284"/>
                </a:cubicBezTo>
                <a:cubicBezTo>
                  <a:pt x="88" y="300"/>
                  <a:pt x="68" y="332"/>
                  <a:pt x="68" y="367"/>
                </a:cubicBezTo>
                <a:cubicBezTo>
                  <a:pt x="68" y="417"/>
                  <a:pt x="109" y="458"/>
                  <a:pt x="160" y="458"/>
                </a:cubicBezTo>
                <a:cubicBezTo>
                  <a:pt x="187" y="458"/>
                  <a:pt x="213" y="446"/>
                  <a:pt x="230" y="425"/>
                </a:cubicBezTo>
                <a:cubicBezTo>
                  <a:pt x="245" y="408"/>
                  <a:pt x="242" y="382"/>
                  <a:pt x="225" y="368"/>
                </a:cubicBezTo>
                <a:cubicBezTo>
                  <a:pt x="208" y="354"/>
                  <a:pt x="182" y="356"/>
                  <a:pt x="168" y="373"/>
                </a:cubicBezTo>
                <a:cubicBezTo>
                  <a:pt x="166" y="376"/>
                  <a:pt x="163" y="377"/>
                  <a:pt x="160" y="377"/>
                </a:cubicBezTo>
                <a:cubicBezTo>
                  <a:pt x="154" y="377"/>
                  <a:pt x="149" y="372"/>
                  <a:pt x="149" y="367"/>
                </a:cubicBezTo>
                <a:cubicBezTo>
                  <a:pt x="149" y="361"/>
                  <a:pt x="154" y="356"/>
                  <a:pt x="160" y="356"/>
                </a:cubicBezTo>
                <a:cubicBezTo>
                  <a:pt x="182" y="356"/>
                  <a:pt x="200" y="338"/>
                  <a:pt x="200" y="315"/>
                </a:cubicBezTo>
                <a:cubicBezTo>
                  <a:pt x="200" y="250"/>
                  <a:pt x="200" y="250"/>
                  <a:pt x="200" y="250"/>
                </a:cubicBezTo>
                <a:cubicBezTo>
                  <a:pt x="200" y="242"/>
                  <a:pt x="194" y="237"/>
                  <a:pt x="187" y="237"/>
                </a:cubicBezTo>
                <a:cubicBezTo>
                  <a:pt x="179" y="237"/>
                  <a:pt x="173" y="243"/>
                  <a:pt x="173" y="250"/>
                </a:cubicBezTo>
                <a:cubicBezTo>
                  <a:pt x="174" y="315"/>
                  <a:pt x="174" y="315"/>
                  <a:pt x="174" y="315"/>
                </a:cubicBezTo>
                <a:cubicBezTo>
                  <a:pt x="174" y="323"/>
                  <a:pt x="167" y="329"/>
                  <a:pt x="160" y="329"/>
                </a:cubicBezTo>
                <a:cubicBezTo>
                  <a:pt x="139" y="329"/>
                  <a:pt x="122" y="346"/>
                  <a:pt x="122" y="367"/>
                </a:cubicBezTo>
                <a:cubicBezTo>
                  <a:pt x="122" y="387"/>
                  <a:pt x="139" y="404"/>
                  <a:pt x="160" y="404"/>
                </a:cubicBezTo>
                <a:cubicBezTo>
                  <a:pt x="171" y="404"/>
                  <a:pt x="181" y="399"/>
                  <a:pt x="188" y="390"/>
                </a:cubicBezTo>
                <a:cubicBezTo>
                  <a:pt x="193" y="384"/>
                  <a:pt x="202" y="384"/>
                  <a:pt x="208" y="388"/>
                </a:cubicBezTo>
                <a:cubicBezTo>
                  <a:pt x="214" y="393"/>
                  <a:pt x="215" y="402"/>
                  <a:pt x="210" y="408"/>
                </a:cubicBezTo>
                <a:cubicBezTo>
                  <a:pt x="197" y="423"/>
                  <a:pt x="179" y="432"/>
                  <a:pt x="160" y="432"/>
                </a:cubicBezTo>
                <a:cubicBezTo>
                  <a:pt x="142" y="432"/>
                  <a:pt x="126" y="425"/>
                  <a:pt x="114" y="413"/>
                </a:cubicBezTo>
                <a:cubicBezTo>
                  <a:pt x="101" y="400"/>
                  <a:pt x="94" y="384"/>
                  <a:pt x="94" y="367"/>
                </a:cubicBezTo>
                <a:cubicBezTo>
                  <a:pt x="94" y="340"/>
                  <a:pt x="112" y="315"/>
                  <a:pt x="137" y="306"/>
                </a:cubicBezTo>
                <a:cubicBezTo>
                  <a:pt x="142" y="304"/>
                  <a:pt x="146" y="299"/>
                  <a:pt x="146" y="293"/>
                </a:cubicBezTo>
                <a:cubicBezTo>
                  <a:pt x="146" y="250"/>
                  <a:pt x="146" y="250"/>
                  <a:pt x="146" y="250"/>
                </a:cubicBezTo>
                <a:cubicBezTo>
                  <a:pt x="146" y="243"/>
                  <a:pt x="140" y="237"/>
                  <a:pt x="132" y="237"/>
                </a:cubicBezTo>
                <a:cubicBezTo>
                  <a:pt x="132" y="237"/>
                  <a:pt x="89" y="237"/>
                  <a:pt x="89" y="237"/>
                </a:cubicBezTo>
                <a:cubicBezTo>
                  <a:pt x="89" y="237"/>
                  <a:pt x="89" y="237"/>
                  <a:pt x="89" y="237"/>
                </a:cubicBezTo>
                <a:cubicBezTo>
                  <a:pt x="88" y="236"/>
                  <a:pt x="80" y="236"/>
                  <a:pt x="72" y="220"/>
                </a:cubicBezTo>
                <a:cubicBezTo>
                  <a:pt x="68" y="209"/>
                  <a:pt x="63" y="199"/>
                  <a:pt x="60" y="192"/>
                </a:cubicBezTo>
                <a:cubicBezTo>
                  <a:pt x="58" y="188"/>
                  <a:pt x="56" y="184"/>
                  <a:pt x="56" y="183"/>
                </a:cubicBezTo>
                <a:cubicBezTo>
                  <a:pt x="56" y="182"/>
                  <a:pt x="55" y="182"/>
                  <a:pt x="55" y="182"/>
                </a:cubicBezTo>
                <a:cubicBezTo>
                  <a:pt x="49" y="167"/>
                  <a:pt x="40" y="147"/>
                  <a:pt x="36" y="137"/>
                </a:cubicBezTo>
                <a:cubicBezTo>
                  <a:pt x="34" y="131"/>
                  <a:pt x="34" y="131"/>
                  <a:pt x="34" y="131"/>
                </a:cubicBezTo>
                <a:cubicBezTo>
                  <a:pt x="34" y="131"/>
                  <a:pt x="34" y="131"/>
                  <a:pt x="33" y="131"/>
                </a:cubicBezTo>
                <a:cubicBezTo>
                  <a:pt x="31" y="124"/>
                  <a:pt x="26" y="110"/>
                  <a:pt x="26" y="101"/>
                </a:cubicBezTo>
                <a:cubicBezTo>
                  <a:pt x="26" y="101"/>
                  <a:pt x="26" y="64"/>
                  <a:pt x="26" y="63"/>
                </a:cubicBezTo>
                <a:cubicBezTo>
                  <a:pt x="26" y="62"/>
                  <a:pt x="27" y="53"/>
                  <a:pt x="32" y="44"/>
                </a:cubicBezTo>
                <a:cubicBezTo>
                  <a:pt x="38" y="32"/>
                  <a:pt x="47" y="27"/>
                  <a:pt x="61" y="27"/>
                </a:cubicBezTo>
                <a:cubicBezTo>
                  <a:pt x="258" y="27"/>
                  <a:pt x="258" y="27"/>
                  <a:pt x="258" y="27"/>
                </a:cubicBezTo>
                <a:cubicBezTo>
                  <a:pt x="258" y="27"/>
                  <a:pt x="259" y="27"/>
                  <a:pt x="259" y="27"/>
                </a:cubicBezTo>
                <a:cubicBezTo>
                  <a:pt x="259" y="27"/>
                  <a:pt x="273" y="27"/>
                  <a:pt x="282" y="36"/>
                </a:cubicBezTo>
                <a:cubicBezTo>
                  <a:pt x="288" y="41"/>
                  <a:pt x="290" y="50"/>
                  <a:pt x="290" y="61"/>
                </a:cubicBezTo>
                <a:cubicBezTo>
                  <a:pt x="290" y="101"/>
                  <a:pt x="290" y="101"/>
                  <a:pt x="290" y="101"/>
                </a:cubicBezTo>
                <a:cubicBezTo>
                  <a:pt x="290" y="113"/>
                  <a:pt x="289" y="119"/>
                  <a:pt x="283" y="132"/>
                </a:cubicBezTo>
                <a:cubicBezTo>
                  <a:pt x="281" y="137"/>
                  <a:pt x="245" y="200"/>
                  <a:pt x="222" y="242"/>
                </a:cubicBezTo>
                <a:cubicBezTo>
                  <a:pt x="219" y="248"/>
                  <a:pt x="221" y="256"/>
                  <a:pt x="227" y="260"/>
                </a:cubicBezTo>
                <a:cubicBezTo>
                  <a:pt x="234" y="264"/>
                  <a:pt x="242" y="261"/>
                  <a:pt x="246" y="255"/>
                </a:cubicBezTo>
                <a:cubicBezTo>
                  <a:pt x="255" y="237"/>
                  <a:pt x="304" y="150"/>
                  <a:pt x="307" y="143"/>
                </a:cubicBezTo>
                <a:cubicBezTo>
                  <a:pt x="315" y="127"/>
                  <a:pt x="317" y="117"/>
                  <a:pt x="317" y="101"/>
                </a:cubicBezTo>
                <a:cubicBezTo>
                  <a:pt x="317" y="61"/>
                  <a:pt x="317" y="61"/>
                  <a:pt x="317" y="61"/>
                </a:cubicBezTo>
                <a:cubicBezTo>
                  <a:pt x="317" y="42"/>
                  <a:pt x="311" y="27"/>
                  <a:pt x="300" y="16"/>
                </a:cubicBezTo>
                <a:cubicBezTo>
                  <a:pt x="283" y="0"/>
                  <a:pt x="260" y="0"/>
                  <a:pt x="258" y="0"/>
                </a:cubicBezTo>
                <a:cubicBezTo>
                  <a:pt x="258" y="0"/>
                  <a:pt x="258" y="0"/>
                  <a:pt x="258" y="0"/>
                </a:cubicBezTo>
                <a:cubicBezTo>
                  <a:pt x="61" y="0"/>
                  <a:pt x="61" y="0"/>
                  <a:pt x="61" y="0"/>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68" name="Freeform 204"/>
          <p:cNvSpPr>
            <a:spLocks noChangeAspect="1"/>
          </p:cNvSpPr>
          <p:nvPr userDrawn="1"/>
        </p:nvSpPr>
        <p:spPr bwMode="auto">
          <a:xfrm>
            <a:off x="5705963" y="2250071"/>
            <a:ext cx="173789" cy="294894"/>
          </a:xfrm>
          <a:custGeom>
            <a:avLst/>
            <a:gdLst/>
            <a:ahLst/>
            <a:cxnLst>
              <a:cxn ang="0">
                <a:pos x="128" y="136"/>
              </a:cxn>
              <a:cxn ang="0">
                <a:pos x="128" y="188"/>
              </a:cxn>
              <a:cxn ang="0">
                <a:pos x="141" y="201"/>
              </a:cxn>
              <a:cxn ang="0">
                <a:pos x="237" y="201"/>
              </a:cxn>
              <a:cxn ang="0">
                <a:pos x="251" y="188"/>
              </a:cxn>
              <a:cxn ang="0">
                <a:pos x="251" y="13"/>
              </a:cxn>
              <a:cxn ang="0">
                <a:pos x="237" y="0"/>
              </a:cxn>
              <a:cxn ang="0">
                <a:pos x="13" y="0"/>
              </a:cxn>
              <a:cxn ang="0">
                <a:pos x="0" y="13"/>
              </a:cxn>
              <a:cxn ang="0">
                <a:pos x="0" y="413"/>
              </a:cxn>
              <a:cxn ang="0">
                <a:pos x="13" y="427"/>
              </a:cxn>
              <a:cxn ang="0">
                <a:pos x="237" y="427"/>
              </a:cxn>
              <a:cxn ang="0">
                <a:pos x="251" y="413"/>
              </a:cxn>
              <a:cxn ang="0">
                <a:pos x="251" y="239"/>
              </a:cxn>
              <a:cxn ang="0">
                <a:pos x="237" y="226"/>
              </a:cxn>
              <a:cxn ang="0">
                <a:pos x="141" y="226"/>
              </a:cxn>
              <a:cxn ang="0">
                <a:pos x="128" y="239"/>
              </a:cxn>
              <a:cxn ang="0">
                <a:pos x="128" y="291"/>
              </a:cxn>
              <a:cxn ang="0">
                <a:pos x="141" y="304"/>
              </a:cxn>
              <a:cxn ang="0">
                <a:pos x="168" y="304"/>
              </a:cxn>
              <a:cxn ang="0">
                <a:pos x="128" y="354"/>
              </a:cxn>
              <a:cxn ang="0">
                <a:pos x="88" y="304"/>
              </a:cxn>
              <a:cxn ang="0">
                <a:pos x="104" y="304"/>
              </a:cxn>
              <a:cxn ang="0">
                <a:pos x="117" y="291"/>
              </a:cxn>
              <a:cxn ang="0">
                <a:pos x="104" y="278"/>
              </a:cxn>
              <a:cxn ang="0">
                <a:pos x="60" y="278"/>
              </a:cxn>
              <a:cxn ang="0">
                <a:pos x="48" y="285"/>
              </a:cxn>
              <a:cxn ang="0">
                <a:pos x="49" y="299"/>
              </a:cxn>
              <a:cxn ang="0">
                <a:pos x="117" y="384"/>
              </a:cxn>
              <a:cxn ang="0">
                <a:pos x="128" y="389"/>
              </a:cxn>
              <a:cxn ang="0">
                <a:pos x="138" y="384"/>
              </a:cxn>
              <a:cxn ang="0">
                <a:pos x="206" y="299"/>
              </a:cxn>
              <a:cxn ang="0">
                <a:pos x="208" y="285"/>
              </a:cxn>
              <a:cxn ang="0">
                <a:pos x="196" y="278"/>
              </a:cxn>
              <a:cxn ang="0">
                <a:pos x="155" y="278"/>
              </a:cxn>
              <a:cxn ang="0">
                <a:pos x="155" y="252"/>
              </a:cxn>
              <a:cxn ang="0">
                <a:pos x="224" y="252"/>
              </a:cxn>
              <a:cxn ang="0">
                <a:pos x="224" y="400"/>
              </a:cxn>
              <a:cxn ang="0">
                <a:pos x="27" y="400"/>
              </a:cxn>
              <a:cxn ang="0">
                <a:pos x="27" y="27"/>
              </a:cxn>
              <a:cxn ang="0">
                <a:pos x="224" y="27"/>
              </a:cxn>
              <a:cxn ang="0">
                <a:pos x="224" y="174"/>
              </a:cxn>
              <a:cxn ang="0">
                <a:pos x="155" y="174"/>
              </a:cxn>
              <a:cxn ang="0">
                <a:pos x="155" y="149"/>
              </a:cxn>
              <a:cxn ang="0">
                <a:pos x="196" y="149"/>
              </a:cxn>
              <a:cxn ang="0">
                <a:pos x="208" y="142"/>
              </a:cxn>
              <a:cxn ang="0">
                <a:pos x="206" y="127"/>
              </a:cxn>
              <a:cxn ang="0">
                <a:pos x="138" y="43"/>
              </a:cxn>
              <a:cxn ang="0">
                <a:pos x="128" y="38"/>
              </a:cxn>
              <a:cxn ang="0">
                <a:pos x="117" y="43"/>
              </a:cxn>
              <a:cxn ang="0">
                <a:pos x="49" y="127"/>
              </a:cxn>
              <a:cxn ang="0">
                <a:pos x="48" y="142"/>
              </a:cxn>
              <a:cxn ang="0">
                <a:pos x="60" y="149"/>
              </a:cxn>
              <a:cxn ang="0">
                <a:pos x="104" y="149"/>
              </a:cxn>
              <a:cxn ang="0">
                <a:pos x="117" y="136"/>
              </a:cxn>
              <a:cxn ang="0">
                <a:pos x="104" y="122"/>
              </a:cxn>
              <a:cxn ang="0">
                <a:pos x="88" y="122"/>
              </a:cxn>
              <a:cxn ang="0">
                <a:pos x="128" y="72"/>
              </a:cxn>
              <a:cxn ang="0">
                <a:pos x="168" y="122"/>
              </a:cxn>
              <a:cxn ang="0">
                <a:pos x="141" y="122"/>
              </a:cxn>
              <a:cxn ang="0">
                <a:pos x="128" y="136"/>
              </a:cxn>
            </a:cxnLst>
            <a:rect l="0" t="0" r="r" b="b"/>
            <a:pathLst>
              <a:path w="251" h="427">
                <a:moveTo>
                  <a:pt x="128" y="136"/>
                </a:moveTo>
                <a:cubicBezTo>
                  <a:pt x="128" y="188"/>
                  <a:pt x="128" y="188"/>
                  <a:pt x="128" y="188"/>
                </a:cubicBezTo>
                <a:cubicBezTo>
                  <a:pt x="128" y="195"/>
                  <a:pt x="134" y="201"/>
                  <a:pt x="141" y="201"/>
                </a:cubicBezTo>
                <a:cubicBezTo>
                  <a:pt x="237" y="201"/>
                  <a:pt x="237" y="201"/>
                  <a:pt x="237" y="201"/>
                </a:cubicBezTo>
                <a:cubicBezTo>
                  <a:pt x="245" y="201"/>
                  <a:pt x="251" y="195"/>
                  <a:pt x="251" y="188"/>
                </a:cubicBezTo>
                <a:cubicBezTo>
                  <a:pt x="251" y="13"/>
                  <a:pt x="251" y="13"/>
                  <a:pt x="251" y="13"/>
                </a:cubicBezTo>
                <a:cubicBezTo>
                  <a:pt x="251" y="6"/>
                  <a:pt x="245" y="0"/>
                  <a:pt x="237" y="0"/>
                </a:cubicBezTo>
                <a:cubicBezTo>
                  <a:pt x="13" y="0"/>
                  <a:pt x="13" y="0"/>
                  <a:pt x="13" y="0"/>
                </a:cubicBezTo>
                <a:cubicBezTo>
                  <a:pt x="6" y="0"/>
                  <a:pt x="0" y="6"/>
                  <a:pt x="0" y="13"/>
                </a:cubicBezTo>
                <a:cubicBezTo>
                  <a:pt x="0" y="413"/>
                  <a:pt x="0" y="413"/>
                  <a:pt x="0" y="413"/>
                </a:cubicBezTo>
                <a:cubicBezTo>
                  <a:pt x="0" y="421"/>
                  <a:pt x="6" y="427"/>
                  <a:pt x="13" y="427"/>
                </a:cubicBezTo>
                <a:cubicBezTo>
                  <a:pt x="237" y="427"/>
                  <a:pt x="237" y="427"/>
                  <a:pt x="237" y="427"/>
                </a:cubicBezTo>
                <a:cubicBezTo>
                  <a:pt x="245" y="427"/>
                  <a:pt x="251" y="421"/>
                  <a:pt x="251" y="413"/>
                </a:cubicBezTo>
                <a:cubicBezTo>
                  <a:pt x="251" y="239"/>
                  <a:pt x="251" y="239"/>
                  <a:pt x="251" y="239"/>
                </a:cubicBezTo>
                <a:cubicBezTo>
                  <a:pt x="251" y="232"/>
                  <a:pt x="245" y="226"/>
                  <a:pt x="237" y="226"/>
                </a:cubicBezTo>
                <a:cubicBezTo>
                  <a:pt x="141" y="226"/>
                  <a:pt x="141" y="226"/>
                  <a:pt x="141" y="226"/>
                </a:cubicBezTo>
                <a:cubicBezTo>
                  <a:pt x="134" y="226"/>
                  <a:pt x="128" y="232"/>
                  <a:pt x="128" y="239"/>
                </a:cubicBezTo>
                <a:cubicBezTo>
                  <a:pt x="128" y="291"/>
                  <a:pt x="128" y="291"/>
                  <a:pt x="128" y="291"/>
                </a:cubicBezTo>
                <a:cubicBezTo>
                  <a:pt x="128" y="298"/>
                  <a:pt x="134" y="304"/>
                  <a:pt x="141" y="304"/>
                </a:cubicBezTo>
                <a:cubicBezTo>
                  <a:pt x="168" y="304"/>
                  <a:pt x="168" y="304"/>
                  <a:pt x="168" y="304"/>
                </a:cubicBezTo>
                <a:cubicBezTo>
                  <a:pt x="128" y="354"/>
                  <a:pt x="128" y="354"/>
                  <a:pt x="128" y="354"/>
                </a:cubicBezTo>
                <a:cubicBezTo>
                  <a:pt x="88" y="304"/>
                  <a:pt x="88" y="304"/>
                  <a:pt x="88" y="304"/>
                </a:cubicBezTo>
                <a:cubicBezTo>
                  <a:pt x="104" y="304"/>
                  <a:pt x="104" y="304"/>
                  <a:pt x="104" y="304"/>
                </a:cubicBezTo>
                <a:cubicBezTo>
                  <a:pt x="111" y="304"/>
                  <a:pt x="117" y="298"/>
                  <a:pt x="117" y="291"/>
                </a:cubicBezTo>
                <a:cubicBezTo>
                  <a:pt x="117" y="283"/>
                  <a:pt x="111" y="278"/>
                  <a:pt x="104" y="278"/>
                </a:cubicBezTo>
                <a:cubicBezTo>
                  <a:pt x="60" y="278"/>
                  <a:pt x="60" y="278"/>
                  <a:pt x="60" y="278"/>
                </a:cubicBezTo>
                <a:cubicBezTo>
                  <a:pt x="55" y="278"/>
                  <a:pt x="50" y="280"/>
                  <a:pt x="48" y="285"/>
                </a:cubicBezTo>
                <a:cubicBezTo>
                  <a:pt x="46" y="290"/>
                  <a:pt x="46" y="295"/>
                  <a:pt x="49" y="299"/>
                </a:cubicBezTo>
                <a:cubicBezTo>
                  <a:pt x="117" y="384"/>
                  <a:pt x="117" y="384"/>
                  <a:pt x="117" y="384"/>
                </a:cubicBezTo>
                <a:cubicBezTo>
                  <a:pt x="120" y="387"/>
                  <a:pt x="124" y="389"/>
                  <a:pt x="128" y="389"/>
                </a:cubicBezTo>
                <a:cubicBezTo>
                  <a:pt x="132" y="389"/>
                  <a:pt x="136" y="387"/>
                  <a:pt x="138" y="384"/>
                </a:cubicBezTo>
                <a:cubicBezTo>
                  <a:pt x="206" y="299"/>
                  <a:pt x="206" y="299"/>
                  <a:pt x="206" y="299"/>
                </a:cubicBezTo>
                <a:cubicBezTo>
                  <a:pt x="209" y="295"/>
                  <a:pt x="210" y="290"/>
                  <a:pt x="208" y="285"/>
                </a:cubicBezTo>
                <a:cubicBezTo>
                  <a:pt x="206" y="280"/>
                  <a:pt x="201" y="278"/>
                  <a:pt x="196" y="278"/>
                </a:cubicBezTo>
                <a:cubicBezTo>
                  <a:pt x="155" y="278"/>
                  <a:pt x="155" y="278"/>
                  <a:pt x="155" y="278"/>
                </a:cubicBezTo>
                <a:cubicBezTo>
                  <a:pt x="155" y="252"/>
                  <a:pt x="155" y="252"/>
                  <a:pt x="155" y="252"/>
                </a:cubicBezTo>
                <a:cubicBezTo>
                  <a:pt x="224" y="252"/>
                  <a:pt x="224" y="252"/>
                  <a:pt x="224" y="252"/>
                </a:cubicBezTo>
                <a:cubicBezTo>
                  <a:pt x="224" y="400"/>
                  <a:pt x="224" y="400"/>
                  <a:pt x="224" y="400"/>
                </a:cubicBezTo>
                <a:cubicBezTo>
                  <a:pt x="27" y="400"/>
                  <a:pt x="27" y="400"/>
                  <a:pt x="27" y="400"/>
                </a:cubicBezTo>
                <a:cubicBezTo>
                  <a:pt x="27" y="27"/>
                  <a:pt x="27" y="27"/>
                  <a:pt x="27" y="27"/>
                </a:cubicBezTo>
                <a:cubicBezTo>
                  <a:pt x="224" y="27"/>
                  <a:pt x="224" y="27"/>
                  <a:pt x="224" y="27"/>
                </a:cubicBezTo>
                <a:cubicBezTo>
                  <a:pt x="224" y="174"/>
                  <a:pt x="224" y="174"/>
                  <a:pt x="224" y="174"/>
                </a:cubicBezTo>
                <a:cubicBezTo>
                  <a:pt x="155" y="174"/>
                  <a:pt x="155" y="174"/>
                  <a:pt x="155" y="174"/>
                </a:cubicBezTo>
                <a:cubicBezTo>
                  <a:pt x="155" y="149"/>
                  <a:pt x="155" y="149"/>
                  <a:pt x="155" y="149"/>
                </a:cubicBezTo>
                <a:cubicBezTo>
                  <a:pt x="196" y="149"/>
                  <a:pt x="196" y="149"/>
                  <a:pt x="196" y="149"/>
                </a:cubicBezTo>
                <a:cubicBezTo>
                  <a:pt x="201" y="149"/>
                  <a:pt x="206" y="146"/>
                  <a:pt x="208" y="142"/>
                </a:cubicBezTo>
                <a:cubicBezTo>
                  <a:pt x="210" y="137"/>
                  <a:pt x="209" y="131"/>
                  <a:pt x="206" y="127"/>
                </a:cubicBezTo>
                <a:cubicBezTo>
                  <a:pt x="138" y="43"/>
                  <a:pt x="138" y="43"/>
                  <a:pt x="138" y="43"/>
                </a:cubicBezTo>
                <a:cubicBezTo>
                  <a:pt x="136" y="39"/>
                  <a:pt x="132" y="38"/>
                  <a:pt x="128" y="38"/>
                </a:cubicBezTo>
                <a:cubicBezTo>
                  <a:pt x="124" y="38"/>
                  <a:pt x="120" y="39"/>
                  <a:pt x="117" y="43"/>
                </a:cubicBezTo>
                <a:cubicBezTo>
                  <a:pt x="49" y="127"/>
                  <a:pt x="49" y="127"/>
                  <a:pt x="49" y="127"/>
                </a:cubicBezTo>
                <a:cubicBezTo>
                  <a:pt x="46" y="131"/>
                  <a:pt x="46" y="137"/>
                  <a:pt x="48" y="142"/>
                </a:cubicBezTo>
                <a:cubicBezTo>
                  <a:pt x="50" y="146"/>
                  <a:pt x="55" y="149"/>
                  <a:pt x="60" y="149"/>
                </a:cubicBezTo>
                <a:cubicBezTo>
                  <a:pt x="104" y="149"/>
                  <a:pt x="104" y="149"/>
                  <a:pt x="104" y="149"/>
                </a:cubicBezTo>
                <a:cubicBezTo>
                  <a:pt x="111" y="149"/>
                  <a:pt x="117" y="143"/>
                  <a:pt x="117" y="136"/>
                </a:cubicBezTo>
                <a:cubicBezTo>
                  <a:pt x="117" y="128"/>
                  <a:pt x="111" y="122"/>
                  <a:pt x="104" y="122"/>
                </a:cubicBezTo>
                <a:cubicBezTo>
                  <a:pt x="88" y="122"/>
                  <a:pt x="88" y="122"/>
                  <a:pt x="88" y="122"/>
                </a:cubicBezTo>
                <a:cubicBezTo>
                  <a:pt x="128" y="72"/>
                  <a:pt x="128" y="72"/>
                  <a:pt x="128" y="72"/>
                </a:cubicBezTo>
                <a:cubicBezTo>
                  <a:pt x="168" y="122"/>
                  <a:pt x="168" y="122"/>
                  <a:pt x="168" y="122"/>
                </a:cubicBezTo>
                <a:cubicBezTo>
                  <a:pt x="141" y="122"/>
                  <a:pt x="141" y="122"/>
                  <a:pt x="141" y="122"/>
                </a:cubicBezTo>
                <a:cubicBezTo>
                  <a:pt x="134" y="122"/>
                  <a:pt x="128" y="128"/>
                  <a:pt x="128" y="136"/>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69" name="Freeform 212"/>
          <p:cNvSpPr>
            <a:spLocks noChangeAspect="1"/>
          </p:cNvSpPr>
          <p:nvPr userDrawn="1"/>
        </p:nvSpPr>
        <p:spPr bwMode="auto">
          <a:xfrm>
            <a:off x="6433820" y="2878689"/>
            <a:ext cx="151150" cy="303271"/>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70" name="Freeform 228"/>
          <p:cNvSpPr>
            <a:spLocks noChangeAspect="1"/>
          </p:cNvSpPr>
          <p:nvPr userDrawn="1"/>
        </p:nvSpPr>
        <p:spPr bwMode="auto">
          <a:xfrm>
            <a:off x="7097841" y="2250071"/>
            <a:ext cx="278812" cy="294894"/>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chemeClr val="bg1"/>
            </a:solidFill>
            <a:prstDash val="solid"/>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71" name="Freeform 208"/>
          <p:cNvSpPr>
            <a:spLocks noChangeAspect="1"/>
          </p:cNvSpPr>
          <p:nvPr userDrawn="1"/>
        </p:nvSpPr>
        <p:spPr bwMode="auto">
          <a:xfrm>
            <a:off x="6432457" y="2206117"/>
            <a:ext cx="190781" cy="338848"/>
          </a:xfrm>
          <a:custGeom>
            <a:avLst/>
            <a:gdLst/>
            <a:ahLst/>
            <a:cxnLst>
              <a:cxn ang="0">
                <a:pos x="0" y="128"/>
              </a:cxn>
              <a:cxn ang="0">
                <a:pos x="23" y="202"/>
              </a:cxn>
              <a:cxn ang="0">
                <a:pos x="24" y="202"/>
              </a:cxn>
              <a:cxn ang="0">
                <a:pos x="32" y="212"/>
              </a:cxn>
              <a:cxn ang="0">
                <a:pos x="32" y="213"/>
              </a:cxn>
              <a:cxn ang="0">
                <a:pos x="62" y="284"/>
              </a:cxn>
              <a:cxn ang="0">
                <a:pos x="77" y="296"/>
              </a:cxn>
              <a:cxn ang="0">
                <a:pos x="89" y="283"/>
              </a:cxn>
              <a:cxn ang="0">
                <a:pos x="89" y="281"/>
              </a:cxn>
              <a:cxn ang="0">
                <a:pos x="51" y="194"/>
              </a:cxn>
              <a:cxn ang="0">
                <a:pos x="45" y="186"/>
              </a:cxn>
              <a:cxn ang="0">
                <a:pos x="27" y="128"/>
              </a:cxn>
              <a:cxn ang="0">
                <a:pos x="128" y="27"/>
              </a:cxn>
              <a:cxn ang="0">
                <a:pos x="230" y="128"/>
              </a:cxn>
              <a:cxn ang="0">
                <a:pos x="207" y="192"/>
              </a:cxn>
              <a:cxn ang="0">
                <a:pos x="201" y="199"/>
              </a:cxn>
              <a:cxn ang="0">
                <a:pos x="169" y="275"/>
              </a:cxn>
              <a:cxn ang="0">
                <a:pos x="170" y="285"/>
              </a:cxn>
              <a:cxn ang="0">
                <a:pos x="170" y="297"/>
              </a:cxn>
              <a:cxn ang="0">
                <a:pos x="170" y="301"/>
              </a:cxn>
              <a:cxn ang="0">
                <a:pos x="166" y="301"/>
              </a:cxn>
              <a:cxn ang="0">
                <a:pos x="165" y="301"/>
              </a:cxn>
              <a:cxn ang="0">
                <a:pos x="155" y="301"/>
              </a:cxn>
              <a:cxn ang="0">
                <a:pos x="98" y="301"/>
              </a:cxn>
              <a:cxn ang="0">
                <a:pos x="69" y="310"/>
              </a:cxn>
              <a:cxn ang="0">
                <a:pos x="59" y="333"/>
              </a:cxn>
              <a:cxn ang="0">
                <a:pos x="94" y="367"/>
              </a:cxn>
              <a:cxn ang="0">
                <a:pos x="159" y="367"/>
              </a:cxn>
              <a:cxn ang="0">
                <a:pos x="170" y="370"/>
              </a:cxn>
              <a:cxn ang="0">
                <a:pos x="171" y="373"/>
              </a:cxn>
              <a:cxn ang="0">
                <a:pos x="162" y="380"/>
              </a:cxn>
              <a:cxn ang="0">
                <a:pos x="121" y="379"/>
              </a:cxn>
              <a:cxn ang="0">
                <a:pos x="66" y="400"/>
              </a:cxn>
              <a:cxn ang="0">
                <a:pos x="80" y="438"/>
              </a:cxn>
              <a:cxn ang="0">
                <a:pos x="133" y="449"/>
              </a:cxn>
              <a:cxn ang="0">
                <a:pos x="144" y="434"/>
              </a:cxn>
              <a:cxn ang="0">
                <a:pos x="128" y="423"/>
              </a:cxn>
              <a:cxn ang="0">
                <a:pos x="99" y="418"/>
              </a:cxn>
              <a:cxn ang="0">
                <a:pos x="93" y="408"/>
              </a:cxn>
              <a:cxn ang="0">
                <a:pos x="161" y="406"/>
              </a:cxn>
              <a:cxn ang="0">
                <a:pos x="162" y="406"/>
              </a:cxn>
              <a:cxn ang="0">
                <a:pos x="162" y="406"/>
              </a:cxn>
              <a:cxn ang="0">
                <a:pos x="198" y="373"/>
              </a:cxn>
              <a:cxn ang="0">
                <a:pos x="187" y="349"/>
              </a:cxn>
              <a:cxn ang="0">
                <a:pos x="159" y="340"/>
              </a:cxn>
              <a:cxn ang="0">
                <a:pos x="94" y="340"/>
              </a:cxn>
              <a:cxn ang="0">
                <a:pos x="85" y="333"/>
              </a:cxn>
              <a:cxn ang="0">
                <a:pos x="87" y="330"/>
              </a:cxn>
              <a:cxn ang="0">
                <a:pos x="98" y="328"/>
              </a:cxn>
              <a:cxn ang="0">
                <a:pos x="155" y="327"/>
              </a:cxn>
              <a:cxn ang="0">
                <a:pos x="162" y="327"/>
              </a:cxn>
              <a:cxn ang="0">
                <a:pos x="164" y="328"/>
              </a:cxn>
              <a:cxn ang="0">
                <a:pos x="189" y="322"/>
              </a:cxn>
              <a:cxn ang="0">
                <a:pos x="196" y="283"/>
              </a:cxn>
              <a:cxn ang="0">
                <a:pos x="222" y="216"/>
              </a:cxn>
              <a:cxn ang="0">
                <a:pos x="228" y="209"/>
              </a:cxn>
              <a:cxn ang="0">
                <a:pos x="256" y="128"/>
              </a:cxn>
              <a:cxn ang="0">
                <a:pos x="128" y="0"/>
              </a:cxn>
              <a:cxn ang="0">
                <a:pos x="0" y="128"/>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72" name="Freeform 152"/>
          <p:cNvSpPr>
            <a:spLocks noChangeAspect="1"/>
          </p:cNvSpPr>
          <p:nvPr userDrawn="1"/>
        </p:nvSpPr>
        <p:spPr bwMode="auto">
          <a:xfrm>
            <a:off x="5605359" y="3542302"/>
            <a:ext cx="440127" cy="263478"/>
          </a:xfrm>
          <a:custGeom>
            <a:avLst/>
            <a:gdLst/>
            <a:ahLst/>
            <a:cxnLst>
              <a:cxn ang="0">
                <a:pos x="230" y="1"/>
              </a:cxn>
              <a:cxn ang="0">
                <a:pos x="218" y="11"/>
              </a:cxn>
              <a:cxn ang="0">
                <a:pos x="169" y="208"/>
              </a:cxn>
              <a:cxn ang="0">
                <a:pos x="118" y="25"/>
              </a:cxn>
              <a:cxn ang="0">
                <a:pos x="105" y="15"/>
              </a:cxn>
              <a:cxn ang="0">
                <a:pos x="92" y="26"/>
              </a:cxn>
              <a:cxn ang="0">
                <a:pos x="65" y="188"/>
              </a:cxn>
              <a:cxn ang="0">
                <a:pos x="60" y="178"/>
              </a:cxn>
              <a:cxn ang="0">
                <a:pos x="11" y="116"/>
              </a:cxn>
              <a:cxn ang="0">
                <a:pos x="0" y="129"/>
              </a:cxn>
              <a:cxn ang="0">
                <a:pos x="1" y="132"/>
              </a:cxn>
              <a:cxn ang="0">
                <a:pos x="11" y="142"/>
              </a:cxn>
              <a:cxn ang="0">
                <a:pos x="57" y="244"/>
              </a:cxn>
              <a:cxn ang="0">
                <a:pos x="70" y="253"/>
              </a:cxn>
              <a:cxn ang="0">
                <a:pos x="83" y="242"/>
              </a:cxn>
              <a:cxn ang="0">
                <a:pos x="108" y="90"/>
              </a:cxn>
              <a:cxn ang="0">
                <a:pos x="124" y="147"/>
              </a:cxn>
              <a:cxn ang="0">
                <a:pos x="146" y="226"/>
              </a:cxn>
              <a:cxn ang="0">
                <a:pos x="154" y="252"/>
              </a:cxn>
              <a:cxn ang="0">
                <a:pos x="156" y="260"/>
              </a:cxn>
              <a:cxn ang="0">
                <a:pos x="170" y="272"/>
              </a:cxn>
              <a:cxn ang="0">
                <a:pos x="183" y="262"/>
              </a:cxn>
              <a:cxn ang="0">
                <a:pos x="234" y="58"/>
              </a:cxn>
              <a:cxn ang="0">
                <a:pos x="265" y="139"/>
              </a:cxn>
              <a:cxn ang="0">
                <a:pos x="277" y="147"/>
              </a:cxn>
              <a:cxn ang="0">
                <a:pos x="441" y="147"/>
              </a:cxn>
              <a:cxn ang="0">
                <a:pos x="454" y="134"/>
              </a:cxn>
              <a:cxn ang="0">
                <a:pos x="441" y="121"/>
              </a:cxn>
              <a:cxn ang="0">
                <a:pos x="286" y="121"/>
              </a:cxn>
              <a:cxn ang="0">
                <a:pos x="244" y="9"/>
              </a:cxn>
              <a:cxn ang="0">
                <a:pos x="230" y="1"/>
              </a:cxn>
            </a:cxnLst>
            <a:rect l="0" t="0" r="r" b="b"/>
            <a:pathLst>
              <a:path w="454" h="272">
                <a:moveTo>
                  <a:pt x="230" y="1"/>
                </a:moveTo>
                <a:cubicBezTo>
                  <a:pt x="224" y="1"/>
                  <a:pt x="220" y="5"/>
                  <a:pt x="218" y="11"/>
                </a:cubicBezTo>
                <a:cubicBezTo>
                  <a:pt x="218" y="11"/>
                  <a:pt x="184" y="146"/>
                  <a:pt x="169" y="208"/>
                </a:cubicBezTo>
                <a:cubicBezTo>
                  <a:pt x="155" y="159"/>
                  <a:pt x="134" y="82"/>
                  <a:pt x="118" y="25"/>
                </a:cubicBezTo>
                <a:cubicBezTo>
                  <a:pt x="116" y="18"/>
                  <a:pt x="111" y="14"/>
                  <a:pt x="105" y="15"/>
                </a:cubicBezTo>
                <a:cubicBezTo>
                  <a:pt x="98" y="15"/>
                  <a:pt x="93" y="20"/>
                  <a:pt x="92" y="26"/>
                </a:cubicBezTo>
                <a:cubicBezTo>
                  <a:pt x="92" y="26"/>
                  <a:pt x="74" y="131"/>
                  <a:pt x="65" y="188"/>
                </a:cubicBezTo>
                <a:cubicBezTo>
                  <a:pt x="63" y="185"/>
                  <a:pt x="62" y="181"/>
                  <a:pt x="60" y="178"/>
                </a:cubicBezTo>
                <a:cubicBezTo>
                  <a:pt x="40" y="129"/>
                  <a:pt x="27" y="113"/>
                  <a:pt x="11" y="116"/>
                </a:cubicBezTo>
                <a:cubicBezTo>
                  <a:pt x="5" y="117"/>
                  <a:pt x="0" y="123"/>
                  <a:pt x="0" y="129"/>
                </a:cubicBezTo>
                <a:cubicBezTo>
                  <a:pt x="0" y="130"/>
                  <a:pt x="0" y="131"/>
                  <a:pt x="1" y="132"/>
                </a:cubicBezTo>
                <a:cubicBezTo>
                  <a:pt x="2" y="137"/>
                  <a:pt x="6" y="141"/>
                  <a:pt x="11" y="142"/>
                </a:cubicBezTo>
                <a:cubicBezTo>
                  <a:pt x="20" y="151"/>
                  <a:pt x="40" y="196"/>
                  <a:pt x="57" y="244"/>
                </a:cubicBezTo>
                <a:cubicBezTo>
                  <a:pt x="59" y="250"/>
                  <a:pt x="64" y="253"/>
                  <a:pt x="70" y="253"/>
                </a:cubicBezTo>
                <a:cubicBezTo>
                  <a:pt x="77" y="252"/>
                  <a:pt x="82" y="248"/>
                  <a:pt x="83" y="242"/>
                </a:cubicBezTo>
                <a:cubicBezTo>
                  <a:pt x="83" y="242"/>
                  <a:pt x="98" y="151"/>
                  <a:pt x="108" y="90"/>
                </a:cubicBezTo>
                <a:cubicBezTo>
                  <a:pt x="116" y="118"/>
                  <a:pt x="124" y="147"/>
                  <a:pt x="124" y="147"/>
                </a:cubicBezTo>
                <a:cubicBezTo>
                  <a:pt x="146" y="226"/>
                  <a:pt x="146" y="226"/>
                  <a:pt x="146" y="226"/>
                </a:cubicBezTo>
                <a:cubicBezTo>
                  <a:pt x="154" y="252"/>
                  <a:pt x="154" y="252"/>
                  <a:pt x="154" y="252"/>
                </a:cubicBezTo>
                <a:cubicBezTo>
                  <a:pt x="156" y="260"/>
                  <a:pt x="156" y="260"/>
                  <a:pt x="156" y="260"/>
                </a:cubicBezTo>
                <a:cubicBezTo>
                  <a:pt x="157" y="263"/>
                  <a:pt x="160" y="272"/>
                  <a:pt x="170" y="272"/>
                </a:cubicBezTo>
                <a:cubicBezTo>
                  <a:pt x="176" y="272"/>
                  <a:pt x="181" y="268"/>
                  <a:pt x="183" y="262"/>
                </a:cubicBezTo>
                <a:cubicBezTo>
                  <a:pt x="183" y="262"/>
                  <a:pt x="219" y="115"/>
                  <a:pt x="234" y="58"/>
                </a:cubicBezTo>
                <a:cubicBezTo>
                  <a:pt x="247" y="94"/>
                  <a:pt x="265" y="139"/>
                  <a:pt x="265" y="139"/>
                </a:cubicBezTo>
                <a:cubicBezTo>
                  <a:pt x="267" y="144"/>
                  <a:pt x="272" y="147"/>
                  <a:pt x="277" y="147"/>
                </a:cubicBezTo>
                <a:cubicBezTo>
                  <a:pt x="441" y="147"/>
                  <a:pt x="441" y="147"/>
                  <a:pt x="441" y="147"/>
                </a:cubicBezTo>
                <a:cubicBezTo>
                  <a:pt x="448" y="147"/>
                  <a:pt x="454" y="141"/>
                  <a:pt x="454" y="134"/>
                </a:cubicBezTo>
                <a:cubicBezTo>
                  <a:pt x="454" y="127"/>
                  <a:pt x="448" y="121"/>
                  <a:pt x="441" y="121"/>
                </a:cubicBezTo>
                <a:cubicBezTo>
                  <a:pt x="441" y="121"/>
                  <a:pt x="303" y="121"/>
                  <a:pt x="286" y="121"/>
                </a:cubicBezTo>
                <a:cubicBezTo>
                  <a:pt x="281" y="106"/>
                  <a:pt x="244" y="9"/>
                  <a:pt x="244" y="9"/>
                </a:cubicBezTo>
                <a:cubicBezTo>
                  <a:pt x="241" y="4"/>
                  <a:pt x="236" y="0"/>
                  <a:pt x="230" y="1"/>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73" name="Freeform 176"/>
          <p:cNvSpPr>
            <a:spLocks noChangeAspect="1"/>
          </p:cNvSpPr>
          <p:nvPr userDrawn="1"/>
        </p:nvSpPr>
        <p:spPr bwMode="auto">
          <a:xfrm>
            <a:off x="8512025" y="1646520"/>
            <a:ext cx="288034" cy="294894"/>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74" name="Freeform 140"/>
          <p:cNvSpPr>
            <a:spLocks noChangeAspect="1"/>
          </p:cNvSpPr>
          <p:nvPr userDrawn="1"/>
        </p:nvSpPr>
        <p:spPr bwMode="auto">
          <a:xfrm>
            <a:off x="7764798" y="2887066"/>
            <a:ext cx="294972" cy="294894"/>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75" name="Freeform 172"/>
          <p:cNvSpPr>
            <a:spLocks noChangeAspect="1"/>
          </p:cNvSpPr>
          <p:nvPr userDrawn="1"/>
        </p:nvSpPr>
        <p:spPr bwMode="auto">
          <a:xfrm>
            <a:off x="8507466" y="2877541"/>
            <a:ext cx="296751" cy="294894"/>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76" name="Freeform 48"/>
          <p:cNvSpPr>
            <a:spLocks noChangeAspect="1"/>
          </p:cNvSpPr>
          <p:nvPr userDrawn="1"/>
        </p:nvSpPr>
        <p:spPr bwMode="auto">
          <a:xfrm>
            <a:off x="2568930" y="889164"/>
            <a:ext cx="207777" cy="294894"/>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77" name="TextBox 276"/>
          <p:cNvSpPr txBox="1"/>
          <p:nvPr userDrawn="1"/>
        </p:nvSpPr>
        <p:spPr>
          <a:xfrm>
            <a:off x="2358092" y="1251884"/>
            <a:ext cx="607700"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Energy &amp;</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infrastructure</a:t>
            </a:r>
          </a:p>
        </p:txBody>
      </p:sp>
      <p:sp>
        <p:nvSpPr>
          <p:cNvPr id="278" name="Freeform 52"/>
          <p:cNvSpPr>
            <a:spLocks noChangeAspect="1"/>
          </p:cNvSpPr>
          <p:nvPr userDrawn="1"/>
        </p:nvSpPr>
        <p:spPr bwMode="auto">
          <a:xfrm>
            <a:off x="3228732" y="889164"/>
            <a:ext cx="285516" cy="294894"/>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279" name="TextBox 278"/>
          <p:cNvSpPr txBox="1"/>
          <p:nvPr userDrawn="1"/>
        </p:nvSpPr>
        <p:spPr>
          <a:xfrm>
            <a:off x="3148518" y="1251884"/>
            <a:ext cx="442785" cy="92333"/>
          </a:xfrm>
          <a:prstGeom prst="rect">
            <a:avLst/>
          </a:prstGeom>
          <a:noFill/>
        </p:spPr>
        <p:txBody>
          <a:bodyPr wrap="square" lIns="0" tIns="0" rIns="0" bIns="0" rtlCol="0" anchor="t" anchorCtr="0">
            <a:spAutoFit/>
          </a:bodyPr>
          <a:lstStyle/>
          <a:p>
            <a:pPr algn="ctr"/>
            <a:r>
              <a:rPr lang="en-US" sz="600" b="1" dirty="0">
                <a:solidFill>
                  <a:schemeClr val="bg1"/>
                </a:solidFill>
                <a:latin typeface="Arial" pitchFamily="34" charset="0"/>
                <a:cs typeface="Arial" pitchFamily="34" charset="0"/>
              </a:rPr>
              <a:t>Industry</a:t>
            </a:r>
          </a:p>
        </p:txBody>
      </p:sp>
      <p:sp>
        <p:nvSpPr>
          <p:cNvPr id="280" name="Freeform 68"/>
          <p:cNvSpPr>
            <a:spLocks noChangeAspect="1"/>
          </p:cNvSpPr>
          <p:nvPr userDrawn="1"/>
        </p:nvSpPr>
        <p:spPr bwMode="auto">
          <a:xfrm>
            <a:off x="1079030" y="889164"/>
            <a:ext cx="336552" cy="294894"/>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281" name="TextBox 280"/>
          <p:cNvSpPr txBox="1"/>
          <p:nvPr userDrawn="1"/>
        </p:nvSpPr>
        <p:spPr>
          <a:xfrm>
            <a:off x="1006989" y="1251884"/>
            <a:ext cx="489685" cy="92333"/>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Buildings</a:t>
            </a:r>
          </a:p>
        </p:txBody>
      </p:sp>
      <p:sp>
        <p:nvSpPr>
          <p:cNvPr id="282" name="Freeform 60"/>
          <p:cNvSpPr>
            <a:spLocks noChangeAspect="1"/>
          </p:cNvSpPr>
          <p:nvPr userDrawn="1"/>
        </p:nvSpPr>
        <p:spPr bwMode="auto">
          <a:xfrm>
            <a:off x="1738465" y="916548"/>
            <a:ext cx="370578" cy="265115"/>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283" name="TextBox 282"/>
          <p:cNvSpPr txBox="1"/>
          <p:nvPr userDrawn="1"/>
        </p:nvSpPr>
        <p:spPr>
          <a:xfrm>
            <a:off x="1715223" y="1251884"/>
            <a:ext cx="485836"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Data centres </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amp; networks</a:t>
            </a:r>
          </a:p>
        </p:txBody>
      </p:sp>
      <p:sp>
        <p:nvSpPr>
          <p:cNvPr id="284" name="Freeform 64"/>
          <p:cNvSpPr>
            <a:spLocks noChangeAspect="1"/>
          </p:cNvSpPr>
          <p:nvPr userDrawn="1"/>
        </p:nvSpPr>
        <p:spPr bwMode="auto">
          <a:xfrm>
            <a:off x="3944734" y="889164"/>
            <a:ext cx="269267" cy="294894"/>
          </a:xfrm>
          <a:custGeom>
            <a:avLst/>
            <a:gdLst/>
            <a:ahLst/>
            <a:cxnLst>
              <a:cxn ang="0">
                <a:pos x="146" y="5"/>
              </a:cxn>
              <a:cxn ang="0">
                <a:pos x="6" y="132"/>
              </a:cxn>
              <a:cxn ang="0">
                <a:pos x="5" y="151"/>
              </a:cxn>
              <a:cxn ang="0">
                <a:pos x="23" y="152"/>
              </a:cxn>
              <a:cxn ang="0">
                <a:pos x="155" y="33"/>
              </a:cxn>
              <a:cxn ang="0">
                <a:pos x="283" y="149"/>
              </a:cxn>
              <a:cxn ang="0">
                <a:pos x="283" y="313"/>
              </a:cxn>
              <a:cxn ang="0">
                <a:pos x="45" y="313"/>
              </a:cxn>
              <a:cxn ang="0">
                <a:pos x="45" y="228"/>
              </a:cxn>
              <a:cxn ang="0">
                <a:pos x="56" y="202"/>
              </a:cxn>
              <a:cxn ang="0">
                <a:pos x="100" y="187"/>
              </a:cxn>
              <a:cxn ang="0">
                <a:pos x="152" y="229"/>
              </a:cxn>
              <a:cxn ang="0">
                <a:pos x="152" y="272"/>
              </a:cxn>
              <a:cxn ang="0">
                <a:pos x="165" y="285"/>
              </a:cxn>
              <a:cxn ang="0">
                <a:pos x="178" y="272"/>
              </a:cxn>
              <a:cxn ang="0">
                <a:pos x="178" y="229"/>
              </a:cxn>
              <a:cxn ang="0">
                <a:pos x="159" y="182"/>
              </a:cxn>
              <a:cxn ang="0">
                <a:pos x="100" y="161"/>
              </a:cxn>
              <a:cxn ang="0">
                <a:pos x="36" y="184"/>
              </a:cxn>
              <a:cxn ang="0">
                <a:pos x="18" y="229"/>
              </a:cxn>
              <a:cxn ang="0">
                <a:pos x="18" y="229"/>
              </a:cxn>
              <a:cxn ang="0">
                <a:pos x="18" y="326"/>
              </a:cxn>
              <a:cxn ang="0">
                <a:pos x="22" y="335"/>
              </a:cxn>
              <a:cxn ang="0">
                <a:pos x="32" y="339"/>
              </a:cxn>
              <a:cxn ang="0">
                <a:pos x="296" y="339"/>
              </a:cxn>
              <a:cxn ang="0">
                <a:pos x="309" y="326"/>
              </a:cxn>
              <a:cxn ang="0">
                <a:pos x="309" y="143"/>
              </a:cxn>
              <a:cxn ang="0">
                <a:pos x="305" y="133"/>
              </a:cxn>
              <a:cxn ang="0">
                <a:pos x="164" y="5"/>
              </a:cxn>
              <a:cxn ang="0">
                <a:pos x="146" y="5"/>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285" name="TextBox 284"/>
          <p:cNvSpPr txBox="1"/>
          <p:nvPr userDrawn="1"/>
        </p:nvSpPr>
        <p:spPr>
          <a:xfrm>
            <a:off x="3869605" y="1251884"/>
            <a:ext cx="412481" cy="92333"/>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Residential</a:t>
            </a:r>
          </a:p>
        </p:txBody>
      </p:sp>
      <p:sp>
        <p:nvSpPr>
          <p:cNvPr id="286" name="Freeform 148"/>
          <p:cNvSpPr>
            <a:spLocks noChangeAspect="1"/>
          </p:cNvSpPr>
          <p:nvPr userDrawn="1"/>
        </p:nvSpPr>
        <p:spPr bwMode="auto">
          <a:xfrm>
            <a:off x="7076024" y="945634"/>
            <a:ext cx="335219" cy="255080"/>
          </a:xfrm>
          <a:custGeom>
            <a:avLst/>
            <a:gdLst/>
            <a:ahLst/>
            <a:cxnLst>
              <a:cxn ang="0">
                <a:pos x="84" y="0"/>
              </a:cxn>
              <a:cxn ang="0">
                <a:pos x="0" y="91"/>
              </a:cxn>
              <a:cxn ang="0">
                <a:pos x="12" y="103"/>
              </a:cxn>
              <a:cxn ang="0">
                <a:pos x="36" y="127"/>
              </a:cxn>
              <a:cxn ang="0">
                <a:pos x="12" y="151"/>
              </a:cxn>
              <a:cxn ang="0">
                <a:pos x="0" y="163"/>
              </a:cxn>
              <a:cxn ang="0">
                <a:pos x="84" y="255"/>
              </a:cxn>
              <a:cxn ang="0">
                <a:pos x="180" y="255"/>
              </a:cxn>
              <a:cxn ang="0">
                <a:pos x="192" y="243"/>
              </a:cxn>
              <a:cxn ang="0">
                <a:pos x="192" y="209"/>
              </a:cxn>
              <a:cxn ang="0">
                <a:pos x="300" y="209"/>
              </a:cxn>
              <a:cxn ang="0">
                <a:pos x="301" y="209"/>
              </a:cxn>
              <a:cxn ang="0">
                <a:pos x="335" y="175"/>
              </a:cxn>
              <a:cxn ang="0">
                <a:pos x="302" y="142"/>
              </a:cxn>
              <a:cxn ang="0">
                <a:pos x="300" y="142"/>
              </a:cxn>
              <a:cxn ang="0">
                <a:pos x="184" y="142"/>
              </a:cxn>
              <a:cxn ang="0">
                <a:pos x="172" y="154"/>
              </a:cxn>
              <a:cxn ang="0">
                <a:pos x="184" y="166"/>
              </a:cxn>
              <a:cxn ang="0">
                <a:pos x="300" y="166"/>
              </a:cxn>
              <a:cxn ang="0">
                <a:pos x="301" y="166"/>
              </a:cxn>
              <a:cxn ang="0">
                <a:pos x="311" y="175"/>
              </a:cxn>
              <a:cxn ang="0">
                <a:pos x="302" y="184"/>
              </a:cxn>
              <a:cxn ang="0">
                <a:pos x="300" y="184"/>
              </a:cxn>
              <a:cxn ang="0">
                <a:pos x="180" y="184"/>
              </a:cxn>
              <a:cxn ang="0">
                <a:pos x="167" y="196"/>
              </a:cxn>
              <a:cxn ang="0">
                <a:pos x="167" y="230"/>
              </a:cxn>
              <a:cxn ang="0">
                <a:pos x="84" y="230"/>
              </a:cxn>
              <a:cxn ang="0">
                <a:pos x="25" y="174"/>
              </a:cxn>
              <a:cxn ang="0">
                <a:pos x="60" y="127"/>
              </a:cxn>
              <a:cxn ang="0">
                <a:pos x="25" y="81"/>
              </a:cxn>
              <a:cxn ang="0">
                <a:pos x="84" y="24"/>
              </a:cxn>
              <a:cxn ang="0">
                <a:pos x="167" y="24"/>
              </a:cxn>
              <a:cxn ang="0">
                <a:pos x="167" y="58"/>
              </a:cxn>
              <a:cxn ang="0">
                <a:pos x="180" y="71"/>
              </a:cxn>
              <a:cxn ang="0">
                <a:pos x="300" y="71"/>
              </a:cxn>
              <a:cxn ang="0">
                <a:pos x="302" y="71"/>
              </a:cxn>
              <a:cxn ang="0">
                <a:pos x="311" y="79"/>
              </a:cxn>
              <a:cxn ang="0">
                <a:pos x="302" y="88"/>
              </a:cxn>
              <a:cxn ang="0">
                <a:pos x="300" y="88"/>
              </a:cxn>
              <a:cxn ang="0">
                <a:pos x="184" y="88"/>
              </a:cxn>
              <a:cxn ang="0">
                <a:pos x="172" y="101"/>
              </a:cxn>
              <a:cxn ang="0">
                <a:pos x="184" y="113"/>
              </a:cxn>
              <a:cxn ang="0">
                <a:pos x="300" y="113"/>
              </a:cxn>
              <a:cxn ang="0">
                <a:pos x="302" y="113"/>
              </a:cxn>
              <a:cxn ang="0">
                <a:pos x="335" y="79"/>
              </a:cxn>
              <a:cxn ang="0">
                <a:pos x="302" y="46"/>
              </a:cxn>
              <a:cxn ang="0">
                <a:pos x="300" y="46"/>
              </a:cxn>
              <a:cxn ang="0">
                <a:pos x="192" y="46"/>
              </a:cxn>
              <a:cxn ang="0">
                <a:pos x="192" y="12"/>
              </a:cxn>
              <a:cxn ang="0">
                <a:pos x="180" y="0"/>
              </a:cxn>
              <a:cxn ang="0">
                <a:pos x="84" y="0"/>
              </a:cxn>
            </a:cxnLst>
            <a:rect l="0" t="0" r="r" b="b"/>
            <a:pathLst>
              <a:path w="335" h="255">
                <a:moveTo>
                  <a:pt x="84" y="0"/>
                </a:moveTo>
                <a:cubicBezTo>
                  <a:pt x="31" y="0"/>
                  <a:pt x="0" y="34"/>
                  <a:pt x="0" y="91"/>
                </a:cubicBezTo>
                <a:cubicBezTo>
                  <a:pt x="0" y="98"/>
                  <a:pt x="5" y="103"/>
                  <a:pt x="12" y="103"/>
                </a:cubicBezTo>
                <a:cubicBezTo>
                  <a:pt x="25" y="103"/>
                  <a:pt x="36" y="114"/>
                  <a:pt x="36" y="127"/>
                </a:cubicBezTo>
                <a:cubicBezTo>
                  <a:pt x="36" y="140"/>
                  <a:pt x="25" y="151"/>
                  <a:pt x="12" y="151"/>
                </a:cubicBezTo>
                <a:cubicBezTo>
                  <a:pt x="5" y="151"/>
                  <a:pt x="0" y="157"/>
                  <a:pt x="0" y="163"/>
                </a:cubicBezTo>
                <a:cubicBezTo>
                  <a:pt x="0" y="221"/>
                  <a:pt x="31" y="255"/>
                  <a:pt x="84" y="255"/>
                </a:cubicBezTo>
                <a:cubicBezTo>
                  <a:pt x="180" y="255"/>
                  <a:pt x="180" y="255"/>
                  <a:pt x="180" y="255"/>
                </a:cubicBezTo>
                <a:cubicBezTo>
                  <a:pt x="186" y="255"/>
                  <a:pt x="192" y="249"/>
                  <a:pt x="192" y="243"/>
                </a:cubicBezTo>
                <a:cubicBezTo>
                  <a:pt x="192" y="243"/>
                  <a:pt x="192" y="222"/>
                  <a:pt x="192" y="209"/>
                </a:cubicBezTo>
                <a:cubicBezTo>
                  <a:pt x="212" y="209"/>
                  <a:pt x="300" y="209"/>
                  <a:pt x="300" y="209"/>
                </a:cubicBezTo>
                <a:cubicBezTo>
                  <a:pt x="300" y="209"/>
                  <a:pt x="301" y="209"/>
                  <a:pt x="301" y="209"/>
                </a:cubicBezTo>
                <a:cubicBezTo>
                  <a:pt x="320" y="209"/>
                  <a:pt x="335" y="194"/>
                  <a:pt x="335" y="175"/>
                </a:cubicBezTo>
                <a:cubicBezTo>
                  <a:pt x="335" y="157"/>
                  <a:pt x="320" y="142"/>
                  <a:pt x="302" y="142"/>
                </a:cubicBezTo>
                <a:cubicBezTo>
                  <a:pt x="302" y="142"/>
                  <a:pt x="300" y="142"/>
                  <a:pt x="300" y="142"/>
                </a:cubicBezTo>
                <a:cubicBezTo>
                  <a:pt x="184" y="142"/>
                  <a:pt x="184" y="142"/>
                  <a:pt x="184" y="142"/>
                </a:cubicBezTo>
                <a:cubicBezTo>
                  <a:pt x="177" y="142"/>
                  <a:pt x="172" y="147"/>
                  <a:pt x="172" y="154"/>
                </a:cubicBezTo>
                <a:cubicBezTo>
                  <a:pt x="172" y="161"/>
                  <a:pt x="177" y="166"/>
                  <a:pt x="184" y="166"/>
                </a:cubicBezTo>
                <a:cubicBezTo>
                  <a:pt x="184" y="166"/>
                  <a:pt x="300" y="166"/>
                  <a:pt x="300" y="166"/>
                </a:cubicBezTo>
                <a:cubicBezTo>
                  <a:pt x="301" y="166"/>
                  <a:pt x="301" y="166"/>
                  <a:pt x="301" y="166"/>
                </a:cubicBezTo>
                <a:cubicBezTo>
                  <a:pt x="307" y="166"/>
                  <a:pt x="311" y="170"/>
                  <a:pt x="311" y="175"/>
                </a:cubicBezTo>
                <a:cubicBezTo>
                  <a:pt x="311" y="180"/>
                  <a:pt x="307" y="184"/>
                  <a:pt x="302" y="184"/>
                </a:cubicBezTo>
                <a:cubicBezTo>
                  <a:pt x="302" y="184"/>
                  <a:pt x="300" y="184"/>
                  <a:pt x="300" y="184"/>
                </a:cubicBezTo>
                <a:cubicBezTo>
                  <a:pt x="180" y="184"/>
                  <a:pt x="180" y="184"/>
                  <a:pt x="180" y="184"/>
                </a:cubicBezTo>
                <a:cubicBezTo>
                  <a:pt x="173" y="184"/>
                  <a:pt x="167" y="190"/>
                  <a:pt x="167" y="196"/>
                </a:cubicBezTo>
                <a:cubicBezTo>
                  <a:pt x="167" y="196"/>
                  <a:pt x="167" y="217"/>
                  <a:pt x="167" y="230"/>
                </a:cubicBezTo>
                <a:cubicBezTo>
                  <a:pt x="149" y="230"/>
                  <a:pt x="84" y="230"/>
                  <a:pt x="84" y="230"/>
                </a:cubicBezTo>
                <a:cubicBezTo>
                  <a:pt x="40" y="230"/>
                  <a:pt x="27" y="202"/>
                  <a:pt x="25" y="174"/>
                </a:cubicBezTo>
                <a:cubicBezTo>
                  <a:pt x="45" y="168"/>
                  <a:pt x="60" y="150"/>
                  <a:pt x="60" y="127"/>
                </a:cubicBezTo>
                <a:cubicBezTo>
                  <a:pt x="60" y="105"/>
                  <a:pt x="45" y="86"/>
                  <a:pt x="25" y="81"/>
                </a:cubicBezTo>
                <a:cubicBezTo>
                  <a:pt x="27" y="53"/>
                  <a:pt x="40" y="24"/>
                  <a:pt x="84" y="24"/>
                </a:cubicBezTo>
                <a:cubicBezTo>
                  <a:pt x="84" y="24"/>
                  <a:pt x="149" y="24"/>
                  <a:pt x="167" y="24"/>
                </a:cubicBezTo>
                <a:cubicBezTo>
                  <a:pt x="167" y="38"/>
                  <a:pt x="167" y="58"/>
                  <a:pt x="167" y="58"/>
                </a:cubicBezTo>
                <a:cubicBezTo>
                  <a:pt x="167" y="65"/>
                  <a:pt x="173" y="71"/>
                  <a:pt x="180" y="71"/>
                </a:cubicBezTo>
                <a:cubicBezTo>
                  <a:pt x="300" y="71"/>
                  <a:pt x="300" y="71"/>
                  <a:pt x="300" y="71"/>
                </a:cubicBezTo>
                <a:cubicBezTo>
                  <a:pt x="300" y="71"/>
                  <a:pt x="302" y="71"/>
                  <a:pt x="302" y="71"/>
                </a:cubicBezTo>
                <a:cubicBezTo>
                  <a:pt x="307" y="71"/>
                  <a:pt x="311" y="75"/>
                  <a:pt x="311" y="79"/>
                </a:cubicBezTo>
                <a:cubicBezTo>
                  <a:pt x="311" y="84"/>
                  <a:pt x="307" y="88"/>
                  <a:pt x="302" y="88"/>
                </a:cubicBezTo>
                <a:cubicBezTo>
                  <a:pt x="301" y="88"/>
                  <a:pt x="300" y="88"/>
                  <a:pt x="300" y="88"/>
                </a:cubicBezTo>
                <a:cubicBezTo>
                  <a:pt x="184" y="88"/>
                  <a:pt x="184" y="88"/>
                  <a:pt x="184" y="88"/>
                </a:cubicBezTo>
                <a:cubicBezTo>
                  <a:pt x="177" y="88"/>
                  <a:pt x="172" y="94"/>
                  <a:pt x="172" y="101"/>
                </a:cubicBezTo>
                <a:cubicBezTo>
                  <a:pt x="172" y="107"/>
                  <a:pt x="177" y="113"/>
                  <a:pt x="184" y="113"/>
                </a:cubicBezTo>
                <a:cubicBezTo>
                  <a:pt x="300" y="113"/>
                  <a:pt x="300" y="113"/>
                  <a:pt x="300" y="113"/>
                </a:cubicBezTo>
                <a:cubicBezTo>
                  <a:pt x="300" y="113"/>
                  <a:pt x="302" y="113"/>
                  <a:pt x="302" y="113"/>
                </a:cubicBezTo>
                <a:cubicBezTo>
                  <a:pt x="320" y="113"/>
                  <a:pt x="335" y="98"/>
                  <a:pt x="335" y="79"/>
                </a:cubicBezTo>
                <a:cubicBezTo>
                  <a:pt x="335" y="61"/>
                  <a:pt x="320" y="46"/>
                  <a:pt x="302" y="46"/>
                </a:cubicBezTo>
                <a:cubicBezTo>
                  <a:pt x="301" y="46"/>
                  <a:pt x="300" y="46"/>
                  <a:pt x="300" y="46"/>
                </a:cubicBezTo>
                <a:cubicBezTo>
                  <a:pt x="300" y="46"/>
                  <a:pt x="212" y="46"/>
                  <a:pt x="192" y="46"/>
                </a:cubicBezTo>
                <a:cubicBezTo>
                  <a:pt x="192" y="33"/>
                  <a:pt x="192" y="12"/>
                  <a:pt x="192" y="12"/>
                </a:cubicBezTo>
                <a:cubicBezTo>
                  <a:pt x="192" y="5"/>
                  <a:pt x="186" y="0"/>
                  <a:pt x="180" y="0"/>
                </a:cubicBezTo>
                <a:lnTo>
                  <a:pt x="84" y="0"/>
                </a:ln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287" name="TextBox 286"/>
          <p:cNvSpPr txBox="1"/>
          <p:nvPr userDrawn="1"/>
        </p:nvSpPr>
        <p:spPr>
          <a:xfrm>
            <a:off x="6924262" y="1251884"/>
            <a:ext cx="638744"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Power management</a:t>
            </a:r>
          </a:p>
        </p:txBody>
      </p:sp>
      <p:sp>
        <p:nvSpPr>
          <p:cNvPr id="288" name="Freeform 184"/>
          <p:cNvSpPr>
            <a:spLocks noChangeAspect="1"/>
          </p:cNvSpPr>
          <p:nvPr userDrawn="1"/>
        </p:nvSpPr>
        <p:spPr bwMode="auto">
          <a:xfrm>
            <a:off x="6308507" y="905819"/>
            <a:ext cx="367542" cy="294894"/>
          </a:xfrm>
          <a:custGeom>
            <a:avLst/>
            <a:gdLst/>
            <a:ahLst/>
            <a:cxnLst>
              <a:cxn ang="0">
                <a:pos x="69" y="73"/>
              </a:cxn>
              <a:cxn ang="0">
                <a:pos x="95" y="73"/>
              </a:cxn>
              <a:cxn ang="0">
                <a:pos x="95" y="343"/>
              </a:cxn>
              <a:cxn ang="0">
                <a:pos x="0" y="343"/>
              </a:cxn>
              <a:cxn ang="0">
                <a:pos x="0" y="72"/>
              </a:cxn>
              <a:cxn ang="0">
                <a:pos x="31" y="72"/>
              </a:cxn>
              <a:cxn ang="0">
                <a:pos x="31" y="34"/>
              </a:cxn>
              <a:cxn ang="0">
                <a:pos x="82" y="0"/>
              </a:cxn>
              <a:cxn ang="0">
                <a:pos x="127" y="11"/>
              </a:cxn>
              <a:cxn ang="0">
                <a:pos x="139" y="48"/>
              </a:cxn>
              <a:cxn ang="0">
                <a:pos x="139" y="284"/>
              </a:cxn>
              <a:cxn ang="0">
                <a:pos x="207" y="284"/>
              </a:cxn>
              <a:cxn ang="0">
                <a:pos x="207" y="228"/>
              </a:cxn>
              <a:cxn ang="0">
                <a:pos x="181" y="207"/>
              </a:cxn>
              <a:cxn ang="0">
                <a:pos x="181" y="66"/>
              </a:cxn>
              <a:cxn ang="0">
                <a:pos x="278" y="67"/>
              </a:cxn>
              <a:cxn ang="0">
                <a:pos x="278" y="207"/>
              </a:cxn>
              <a:cxn ang="0">
                <a:pos x="254" y="229"/>
              </a:cxn>
              <a:cxn ang="0">
                <a:pos x="254" y="275"/>
              </a:cxn>
              <a:cxn ang="0">
                <a:pos x="254" y="283"/>
              </a:cxn>
              <a:cxn ang="0">
                <a:pos x="352" y="283"/>
              </a:cxn>
              <a:cxn ang="0">
                <a:pos x="316" y="340"/>
              </a:cxn>
              <a:cxn ang="0">
                <a:pos x="428" y="340"/>
              </a:cxn>
              <a:cxn ang="0">
                <a:pos x="385" y="281"/>
              </a:cxn>
              <a:cxn ang="0">
                <a:pos x="428" y="222"/>
              </a:cxn>
              <a:cxn ang="0">
                <a:pos x="316" y="222"/>
              </a:cxn>
              <a:cxn ang="0">
                <a:pos x="336" y="250"/>
              </a:cxn>
            </a:cxnLst>
            <a:rect l="0" t="0" r="r" b="b"/>
            <a:pathLst>
              <a:path w="428" h="343">
                <a:moveTo>
                  <a:pt x="69" y="73"/>
                </a:moveTo>
                <a:cubicBezTo>
                  <a:pt x="95" y="73"/>
                  <a:pt x="95" y="73"/>
                  <a:pt x="95" y="73"/>
                </a:cubicBezTo>
                <a:cubicBezTo>
                  <a:pt x="95" y="343"/>
                  <a:pt x="95" y="343"/>
                  <a:pt x="95" y="343"/>
                </a:cubicBezTo>
                <a:cubicBezTo>
                  <a:pt x="0" y="343"/>
                  <a:pt x="0" y="343"/>
                  <a:pt x="0" y="343"/>
                </a:cubicBezTo>
                <a:cubicBezTo>
                  <a:pt x="0" y="72"/>
                  <a:pt x="0" y="72"/>
                  <a:pt x="0" y="72"/>
                </a:cubicBezTo>
                <a:cubicBezTo>
                  <a:pt x="31" y="72"/>
                  <a:pt x="31" y="72"/>
                  <a:pt x="31" y="72"/>
                </a:cubicBezTo>
                <a:cubicBezTo>
                  <a:pt x="31" y="34"/>
                  <a:pt x="31" y="34"/>
                  <a:pt x="31" y="34"/>
                </a:cubicBezTo>
                <a:cubicBezTo>
                  <a:pt x="31" y="34"/>
                  <a:pt x="33" y="0"/>
                  <a:pt x="82" y="0"/>
                </a:cubicBezTo>
                <a:cubicBezTo>
                  <a:pt x="106" y="0"/>
                  <a:pt x="118" y="4"/>
                  <a:pt x="127" y="11"/>
                </a:cubicBezTo>
                <a:cubicBezTo>
                  <a:pt x="135" y="18"/>
                  <a:pt x="139" y="28"/>
                  <a:pt x="139" y="48"/>
                </a:cubicBezTo>
                <a:cubicBezTo>
                  <a:pt x="139" y="284"/>
                  <a:pt x="139" y="284"/>
                  <a:pt x="139" y="284"/>
                </a:cubicBezTo>
                <a:cubicBezTo>
                  <a:pt x="207" y="284"/>
                  <a:pt x="207" y="284"/>
                  <a:pt x="207" y="284"/>
                </a:cubicBezTo>
                <a:cubicBezTo>
                  <a:pt x="207" y="228"/>
                  <a:pt x="207" y="228"/>
                  <a:pt x="207" y="228"/>
                </a:cubicBezTo>
                <a:cubicBezTo>
                  <a:pt x="181" y="207"/>
                  <a:pt x="181" y="207"/>
                  <a:pt x="181" y="207"/>
                </a:cubicBezTo>
                <a:cubicBezTo>
                  <a:pt x="181" y="66"/>
                  <a:pt x="181" y="66"/>
                  <a:pt x="181" y="66"/>
                </a:cubicBezTo>
                <a:cubicBezTo>
                  <a:pt x="181" y="66"/>
                  <a:pt x="226" y="28"/>
                  <a:pt x="278" y="67"/>
                </a:cubicBezTo>
                <a:cubicBezTo>
                  <a:pt x="278" y="207"/>
                  <a:pt x="278" y="207"/>
                  <a:pt x="278" y="207"/>
                </a:cubicBezTo>
                <a:cubicBezTo>
                  <a:pt x="254" y="229"/>
                  <a:pt x="254" y="229"/>
                  <a:pt x="254" y="229"/>
                </a:cubicBezTo>
                <a:cubicBezTo>
                  <a:pt x="254" y="275"/>
                  <a:pt x="254" y="275"/>
                  <a:pt x="254" y="275"/>
                </a:cubicBezTo>
                <a:cubicBezTo>
                  <a:pt x="254" y="283"/>
                  <a:pt x="254" y="283"/>
                  <a:pt x="254" y="283"/>
                </a:cubicBezTo>
                <a:cubicBezTo>
                  <a:pt x="352" y="283"/>
                  <a:pt x="352" y="283"/>
                  <a:pt x="352" y="283"/>
                </a:cubicBezTo>
                <a:cubicBezTo>
                  <a:pt x="316" y="340"/>
                  <a:pt x="316" y="340"/>
                  <a:pt x="316" y="340"/>
                </a:cubicBezTo>
                <a:cubicBezTo>
                  <a:pt x="428" y="340"/>
                  <a:pt x="428" y="340"/>
                  <a:pt x="428" y="340"/>
                </a:cubicBezTo>
                <a:cubicBezTo>
                  <a:pt x="385" y="281"/>
                  <a:pt x="385" y="281"/>
                  <a:pt x="385" y="281"/>
                </a:cubicBezTo>
                <a:cubicBezTo>
                  <a:pt x="428" y="222"/>
                  <a:pt x="428" y="222"/>
                  <a:pt x="428" y="222"/>
                </a:cubicBezTo>
                <a:cubicBezTo>
                  <a:pt x="316" y="222"/>
                  <a:pt x="316" y="222"/>
                  <a:pt x="316" y="222"/>
                </a:cubicBezTo>
                <a:cubicBezTo>
                  <a:pt x="336" y="250"/>
                  <a:pt x="336" y="250"/>
                  <a:pt x="336" y="250"/>
                </a:cubicBezTo>
              </a:path>
            </a:pathLst>
          </a:custGeom>
          <a:noFill/>
          <a:ln w="30163" cap="rnd">
            <a:solidFill>
              <a:schemeClr val="bg1"/>
            </a:solidFill>
            <a:prstDash val="solid"/>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89" name="TextBox 288"/>
          <p:cNvSpPr txBox="1"/>
          <p:nvPr userDrawn="1"/>
        </p:nvSpPr>
        <p:spPr>
          <a:xfrm>
            <a:off x="5993206" y="1251884"/>
            <a:ext cx="1034934"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Process/machine management</a:t>
            </a:r>
          </a:p>
        </p:txBody>
      </p:sp>
      <p:sp>
        <p:nvSpPr>
          <p:cNvPr id="290" name="Freeform 132"/>
          <p:cNvSpPr>
            <a:spLocks noChangeAspect="1"/>
          </p:cNvSpPr>
          <p:nvPr userDrawn="1"/>
        </p:nvSpPr>
        <p:spPr bwMode="auto">
          <a:xfrm>
            <a:off x="5646697" y="905819"/>
            <a:ext cx="290258" cy="294894"/>
          </a:xfrm>
          <a:custGeom>
            <a:avLst/>
            <a:gdLst/>
            <a:ahLst/>
            <a:cxnLst>
              <a:cxn ang="0">
                <a:pos x="283" y="18"/>
              </a:cxn>
              <a:cxn ang="0">
                <a:pos x="255" y="0"/>
              </a:cxn>
              <a:cxn ang="0">
                <a:pos x="0" y="0"/>
              </a:cxn>
              <a:cxn ang="0">
                <a:pos x="0" y="277"/>
              </a:cxn>
              <a:cxn ang="0">
                <a:pos x="56" y="313"/>
              </a:cxn>
              <a:cxn ang="0">
                <a:pos x="56" y="45"/>
              </a:cxn>
              <a:cxn ang="0">
                <a:pos x="308" y="45"/>
              </a:cxn>
              <a:cxn ang="0">
                <a:pos x="308" y="313"/>
              </a:cxn>
              <a:cxn ang="0">
                <a:pos x="229" y="313"/>
              </a:cxn>
              <a:cxn ang="0">
                <a:pos x="229" y="267"/>
              </a:cxn>
              <a:cxn ang="0">
                <a:pos x="278" y="267"/>
              </a:cxn>
              <a:cxn ang="0">
                <a:pos x="278" y="172"/>
              </a:cxn>
              <a:cxn ang="0">
                <a:pos x="142" y="172"/>
              </a:cxn>
              <a:cxn ang="0">
                <a:pos x="142" y="267"/>
              </a:cxn>
              <a:cxn ang="0">
                <a:pos x="197" y="267"/>
              </a:cxn>
              <a:cxn ang="0">
                <a:pos x="172" y="313"/>
              </a:cxn>
              <a:cxn ang="0">
                <a:pos x="97" y="313"/>
              </a:cxn>
            </a:cxnLst>
            <a:rect l="0" t="0" r="r" b="b"/>
            <a:pathLst>
              <a:path w="308" h="313">
                <a:moveTo>
                  <a:pt x="283" y="18"/>
                </a:moveTo>
                <a:lnTo>
                  <a:pt x="255" y="0"/>
                </a:lnTo>
                <a:lnTo>
                  <a:pt x="0" y="0"/>
                </a:lnTo>
                <a:lnTo>
                  <a:pt x="0" y="277"/>
                </a:lnTo>
                <a:lnTo>
                  <a:pt x="56" y="313"/>
                </a:lnTo>
                <a:lnTo>
                  <a:pt x="56" y="45"/>
                </a:lnTo>
                <a:lnTo>
                  <a:pt x="308" y="45"/>
                </a:lnTo>
                <a:lnTo>
                  <a:pt x="308" y="313"/>
                </a:lnTo>
                <a:lnTo>
                  <a:pt x="229" y="313"/>
                </a:lnTo>
                <a:lnTo>
                  <a:pt x="229" y="267"/>
                </a:lnTo>
                <a:lnTo>
                  <a:pt x="278" y="267"/>
                </a:lnTo>
                <a:lnTo>
                  <a:pt x="278" y="172"/>
                </a:lnTo>
                <a:lnTo>
                  <a:pt x="142" y="172"/>
                </a:lnTo>
                <a:lnTo>
                  <a:pt x="142" y="267"/>
                </a:lnTo>
                <a:lnTo>
                  <a:pt x="197" y="267"/>
                </a:lnTo>
                <a:lnTo>
                  <a:pt x="172" y="313"/>
                </a:lnTo>
                <a:lnTo>
                  <a:pt x="97" y="313"/>
                </a:lnTo>
              </a:path>
            </a:pathLst>
          </a:custGeom>
          <a:noFill/>
          <a:ln w="31750" cap="rnd">
            <a:solidFill>
              <a:schemeClr val="bg1"/>
            </a:solidFill>
            <a:prstDash val="solid"/>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91" name="TextBox 290"/>
          <p:cNvSpPr txBox="1"/>
          <p:nvPr userDrawn="1"/>
        </p:nvSpPr>
        <p:spPr>
          <a:xfrm>
            <a:off x="5395359" y="1251884"/>
            <a:ext cx="802960"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IT room</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management</a:t>
            </a:r>
          </a:p>
        </p:txBody>
      </p:sp>
      <p:sp>
        <p:nvSpPr>
          <p:cNvPr id="292" name="Freeform 180"/>
          <p:cNvSpPr>
            <a:spLocks noChangeAspect="1"/>
          </p:cNvSpPr>
          <p:nvPr userDrawn="1"/>
        </p:nvSpPr>
        <p:spPr bwMode="auto">
          <a:xfrm>
            <a:off x="7756213" y="905819"/>
            <a:ext cx="262792" cy="294894"/>
          </a:xfrm>
          <a:custGeom>
            <a:avLst/>
            <a:gdLst/>
            <a:ahLst/>
            <a:cxnLst>
              <a:cxn ang="0">
                <a:pos x="192" y="296"/>
              </a:cxn>
              <a:cxn ang="0">
                <a:pos x="152" y="369"/>
              </a:cxn>
              <a:cxn ang="0">
                <a:pos x="0" y="336"/>
              </a:cxn>
              <a:cxn ang="0">
                <a:pos x="112" y="300"/>
              </a:cxn>
              <a:cxn ang="0">
                <a:pos x="132" y="219"/>
              </a:cxn>
              <a:cxn ang="0">
                <a:pos x="138" y="150"/>
              </a:cxn>
              <a:cxn ang="0">
                <a:pos x="113" y="189"/>
              </a:cxn>
              <a:cxn ang="0">
                <a:pos x="66" y="198"/>
              </a:cxn>
              <a:cxn ang="0">
                <a:pos x="57" y="152"/>
              </a:cxn>
              <a:cxn ang="0">
                <a:pos x="103" y="84"/>
              </a:cxn>
              <a:cxn ang="0">
                <a:pos x="114" y="82"/>
              </a:cxn>
              <a:cxn ang="0">
                <a:pos x="227" y="99"/>
              </a:cxn>
              <a:cxn ang="0">
                <a:pos x="116" y="108"/>
              </a:cxn>
              <a:cxn ang="0">
                <a:pos x="79" y="166"/>
              </a:cxn>
              <a:cxn ang="0">
                <a:pos x="81" y="176"/>
              </a:cxn>
              <a:cxn ang="0">
                <a:pos x="91" y="174"/>
              </a:cxn>
              <a:cxn ang="0">
                <a:pos x="116" y="134"/>
              </a:cxn>
              <a:cxn ang="0">
                <a:pos x="130" y="124"/>
              </a:cxn>
              <a:cxn ang="0">
                <a:pos x="138" y="123"/>
              </a:cxn>
              <a:cxn ang="0">
                <a:pos x="185" y="126"/>
              </a:cxn>
              <a:cxn ang="0">
                <a:pos x="196" y="145"/>
              </a:cxn>
              <a:cxn ang="0">
                <a:pos x="135" y="316"/>
              </a:cxn>
              <a:cxn ang="0">
                <a:pos x="34" y="329"/>
              </a:cxn>
              <a:cxn ang="0">
                <a:pos x="27" y="336"/>
              </a:cxn>
              <a:cxn ang="0">
                <a:pos x="143" y="343"/>
              </a:cxn>
              <a:cxn ang="0">
                <a:pos x="190" y="251"/>
              </a:cxn>
              <a:cxn ang="0">
                <a:pos x="280" y="414"/>
              </a:cxn>
              <a:cxn ang="0">
                <a:pos x="287" y="420"/>
              </a:cxn>
              <a:cxn ang="0">
                <a:pos x="294" y="413"/>
              </a:cxn>
              <a:cxn ang="0">
                <a:pos x="215" y="234"/>
              </a:cxn>
              <a:cxn ang="0">
                <a:pos x="244" y="165"/>
              </a:cxn>
              <a:cxn ang="0">
                <a:pos x="266" y="163"/>
              </a:cxn>
              <a:cxn ang="0">
                <a:pos x="299" y="199"/>
              </a:cxn>
              <a:cxn ang="0">
                <a:pos x="310" y="205"/>
              </a:cxn>
              <a:cxn ang="0">
                <a:pos x="369" y="202"/>
              </a:cxn>
              <a:cxn ang="0">
                <a:pos x="365" y="191"/>
              </a:cxn>
              <a:cxn ang="0">
                <a:pos x="323" y="191"/>
              </a:cxn>
              <a:cxn ang="0">
                <a:pos x="262" y="127"/>
              </a:cxn>
              <a:cxn ang="0">
                <a:pos x="250" y="100"/>
              </a:cxn>
              <a:cxn ang="0">
                <a:pos x="271" y="77"/>
              </a:cxn>
              <a:cxn ang="0">
                <a:pos x="297" y="51"/>
              </a:cxn>
              <a:cxn ang="0">
                <a:pos x="249" y="51"/>
              </a:cxn>
              <a:cxn ang="0">
                <a:pos x="253" y="65"/>
              </a:cxn>
              <a:cxn ang="0">
                <a:pos x="231" y="79"/>
              </a:cxn>
              <a:cxn ang="0">
                <a:pos x="273" y="0"/>
              </a:cxn>
              <a:cxn ang="0">
                <a:pos x="309" y="87"/>
              </a:cxn>
              <a:cxn ang="0">
                <a:pos x="278" y="105"/>
              </a:cxn>
              <a:cxn ang="0">
                <a:pos x="282" y="110"/>
              </a:cxn>
              <a:cxn ang="0">
                <a:pos x="365" y="164"/>
              </a:cxn>
              <a:cxn ang="0">
                <a:pos x="365" y="231"/>
              </a:cxn>
              <a:cxn ang="0">
                <a:pos x="292" y="227"/>
              </a:cxn>
              <a:cxn ang="0">
                <a:pos x="273" y="210"/>
              </a:cxn>
              <a:cxn ang="0">
                <a:pos x="259" y="195"/>
              </a:cxn>
              <a:cxn ang="0">
                <a:pos x="318" y="400"/>
              </a:cxn>
              <a:cxn ang="0">
                <a:pos x="321" y="413"/>
              </a:cxn>
              <a:cxn ang="0">
                <a:pos x="287" y="447"/>
              </a:cxn>
              <a:cxn ang="0">
                <a:pos x="256" y="426"/>
              </a:cxn>
            </a:cxnLst>
            <a:rect l="0" t="0" r="r" b="b"/>
            <a:pathLst>
              <a:path w="398" h="447">
                <a:moveTo>
                  <a:pt x="256" y="426"/>
                </a:moveTo>
                <a:cubicBezTo>
                  <a:pt x="192" y="296"/>
                  <a:pt x="192" y="296"/>
                  <a:pt x="192" y="296"/>
                </a:cubicBezTo>
                <a:cubicBezTo>
                  <a:pt x="164" y="361"/>
                  <a:pt x="164" y="361"/>
                  <a:pt x="164" y="361"/>
                </a:cubicBezTo>
                <a:cubicBezTo>
                  <a:pt x="162" y="366"/>
                  <a:pt x="157" y="369"/>
                  <a:pt x="152" y="369"/>
                </a:cubicBezTo>
                <a:cubicBezTo>
                  <a:pt x="34" y="370"/>
                  <a:pt x="34" y="370"/>
                  <a:pt x="34" y="370"/>
                </a:cubicBezTo>
                <a:cubicBezTo>
                  <a:pt x="15" y="370"/>
                  <a:pt x="0" y="355"/>
                  <a:pt x="0" y="336"/>
                </a:cubicBezTo>
                <a:cubicBezTo>
                  <a:pt x="0" y="318"/>
                  <a:pt x="15" y="303"/>
                  <a:pt x="34" y="303"/>
                </a:cubicBezTo>
                <a:cubicBezTo>
                  <a:pt x="112" y="300"/>
                  <a:pt x="112" y="300"/>
                  <a:pt x="112" y="300"/>
                </a:cubicBezTo>
                <a:cubicBezTo>
                  <a:pt x="131" y="221"/>
                  <a:pt x="131" y="221"/>
                  <a:pt x="131" y="221"/>
                </a:cubicBezTo>
                <a:cubicBezTo>
                  <a:pt x="131" y="220"/>
                  <a:pt x="132" y="220"/>
                  <a:pt x="132" y="219"/>
                </a:cubicBezTo>
                <a:cubicBezTo>
                  <a:pt x="164" y="151"/>
                  <a:pt x="164" y="151"/>
                  <a:pt x="164" y="151"/>
                </a:cubicBezTo>
                <a:cubicBezTo>
                  <a:pt x="138" y="150"/>
                  <a:pt x="138" y="150"/>
                  <a:pt x="138" y="150"/>
                </a:cubicBezTo>
                <a:cubicBezTo>
                  <a:pt x="113" y="189"/>
                  <a:pt x="113" y="189"/>
                  <a:pt x="113" y="189"/>
                </a:cubicBezTo>
                <a:cubicBezTo>
                  <a:pt x="113" y="189"/>
                  <a:pt x="113" y="189"/>
                  <a:pt x="113" y="189"/>
                </a:cubicBezTo>
                <a:cubicBezTo>
                  <a:pt x="106" y="199"/>
                  <a:pt x="96" y="204"/>
                  <a:pt x="85" y="204"/>
                </a:cubicBezTo>
                <a:cubicBezTo>
                  <a:pt x="79" y="204"/>
                  <a:pt x="72" y="202"/>
                  <a:pt x="66" y="198"/>
                </a:cubicBezTo>
                <a:cubicBezTo>
                  <a:pt x="57" y="192"/>
                  <a:pt x="51" y="181"/>
                  <a:pt x="51" y="170"/>
                </a:cubicBezTo>
                <a:cubicBezTo>
                  <a:pt x="51" y="164"/>
                  <a:pt x="53" y="157"/>
                  <a:pt x="57" y="152"/>
                </a:cubicBezTo>
                <a:cubicBezTo>
                  <a:pt x="95" y="92"/>
                  <a:pt x="95" y="92"/>
                  <a:pt x="95" y="92"/>
                </a:cubicBezTo>
                <a:cubicBezTo>
                  <a:pt x="97" y="89"/>
                  <a:pt x="100" y="86"/>
                  <a:pt x="103" y="84"/>
                </a:cubicBezTo>
                <a:cubicBezTo>
                  <a:pt x="106" y="83"/>
                  <a:pt x="110" y="82"/>
                  <a:pt x="113" y="82"/>
                </a:cubicBezTo>
                <a:cubicBezTo>
                  <a:pt x="114" y="82"/>
                  <a:pt x="114" y="82"/>
                  <a:pt x="114" y="82"/>
                </a:cubicBezTo>
                <a:cubicBezTo>
                  <a:pt x="215" y="85"/>
                  <a:pt x="215" y="85"/>
                  <a:pt x="215" y="85"/>
                </a:cubicBezTo>
                <a:cubicBezTo>
                  <a:pt x="222" y="85"/>
                  <a:pt x="228" y="91"/>
                  <a:pt x="227" y="99"/>
                </a:cubicBezTo>
                <a:cubicBezTo>
                  <a:pt x="227" y="106"/>
                  <a:pt x="221" y="112"/>
                  <a:pt x="214" y="112"/>
                </a:cubicBezTo>
                <a:cubicBezTo>
                  <a:pt x="116" y="108"/>
                  <a:pt x="116" y="108"/>
                  <a:pt x="116" y="108"/>
                </a:cubicBezTo>
                <a:cubicBezTo>
                  <a:pt x="79" y="166"/>
                  <a:pt x="79" y="166"/>
                  <a:pt x="79" y="166"/>
                </a:cubicBezTo>
                <a:cubicBezTo>
                  <a:pt x="79" y="166"/>
                  <a:pt x="79" y="166"/>
                  <a:pt x="79" y="166"/>
                </a:cubicBezTo>
                <a:cubicBezTo>
                  <a:pt x="78" y="168"/>
                  <a:pt x="78" y="169"/>
                  <a:pt x="78" y="170"/>
                </a:cubicBezTo>
                <a:cubicBezTo>
                  <a:pt x="78" y="173"/>
                  <a:pt x="79" y="175"/>
                  <a:pt x="81" y="176"/>
                </a:cubicBezTo>
                <a:cubicBezTo>
                  <a:pt x="82" y="177"/>
                  <a:pt x="84" y="177"/>
                  <a:pt x="85" y="177"/>
                </a:cubicBezTo>
                <a:cubicBezTo>
                  <a:pt x="87" y="177"/>
                  <a:pt x="89" y="176"/>
                  <a:pt x="91" y="174"/>
                </a:cubicBezTo>
                <a:cubicBezTo>
                  <a:pt x="116" y="134"/>
                  <a:pt x="116" y="134"/>
                  <a:pt x="116" y="134"/>
                </a:cubicBezTo>
                <a:cubicBezTo>
                  <a:pt x="116" y="134"/>
                  <a:pt x="116" y="134"/>
                  <a:pt x="116" y="134"/>
                </a:cubicBezTo>
                <a:cubicBezTo>
                  <a:pt x="117" y="132"/>
                  <a:pt x="118" y="131"/>
                  <a:pt x="120" y="128"/>
                </a:cubicBezTo>
                <a:cubicBezTo>
                  <a:pt x="123" y="126"/>
                  <a:pt x="126" y="124"/>
                  <a:pt x="130" y="124"/>
                </a:cubicBezTo>
                <a:cubicBezTo>
                  <a:pt x="132" y="123"/>
                  <a:pt x="134" y="123"/>
                  <a:pt x="136" y="123"/>
                </a:cubicBezTo>
                <a:cubicBezTo>
                  <a:pt x="137" y="123"/>
                  <a:pt x="137" y="123"/>
                  <a:pt x="138" y="123"/>
                </a:cubicBezTo>
                <a:cubicBezTo>
                  <a:pt x="138" y="123"/>
                  <a:pt x="138" y="123"/>
                  <a:pt x="138" y="123"/>
                </a:cubicBezTo>
                <a:cubicBezTo>
                  <a:pt x="185" y="126"/>
                  <a:pt x="185" y="126"/>
                  <a:pt x="185" y="126"/>
                </a:cubicBezTo>
                <a:cubicBezTo>
                  <a:pt x="190" y="126"/>
                  <a:pt x="194" y="129"/>
                  <a:pt x="196" y="133"/>
                </a:cubicBezTo>
                <a:cubicBezTo>
                  <a:pt x="198" y="137"/>
                  <a:pt x="198" y="141"/>
                  <a:pt x="196" y="145"/>
                </a:cubicBezTo>
                <a:cubicBezTo>
                  <a:pt x="157" y="229"/>
                  <a:pt x="157" y="229"/>
                  <a:pt x="157" y="229"/>
                </a:cubicBezTo>
                <a:cubicBezTo>
                  <a:pt x="135" y="316"/>
                  <a:pt x="135" y="316"/>
                  <a:pt x="135" y="316"/>
                </a:cubicBezTo>
                <a:cubicBezTo>
                  <a:pt x="134" y="322"/>
                  <a:pt x="129" y="326"/>
                  <a:pt x="123" y="326"/>
                </a:cubicBezTo>
                <a:cubicBezTo>
                  <a:pt x="34" y="329"/>
                  <a:pt x="34" y="329"/>
                  <a:pt x="34" y="329"/>
                </a:cubicBezTo>
                <a:cubicBezTo>
                  <a:pt x="34" y="329"/>
                  <a:pt x="34" y="329"/>
                  <a:pt x="34" y="329"/>
                </a:cubicBezTo>
                <a:cubicBezTo>
                  <a:pt x="30" y="329"/>
                  <a:pt x="27" y="332"/>
                  <a:pt x="27" y="336"/>
                </a:cubicBezTo>
                <a:cubicBezTo>
                  <a:pt x="27" y="340"/>
                  <a:pt x="30" y="343"/>
                  <a:pt x="34" y="343"/>
                </a:cubicBezTo>
                <a:cubicBezTo>
                  <a:pt x="143" y="343"/>
                  <a:pt x="143" y="343"/>
                  <a:pt x="143" y="343"/>
                </a:cubicBezTo>
                <a:cubicBezTo>
                  <a:pt x="178" y="259"/>
                  <a:pt x="178" y="259"/>
                  <a:pt x="178" y="259"/>
                </a:cubicBezTo>
                <a:cubicBezTo>
                  <a:pt x="180" y="255"/>
                  <a:pt x="185" y="251"/>
                  <a:pt x="190" y="251"/>
                </a:cubicBezTo>
                <a:cubicBezTo>
                  <a:pt x="195" y="251"/>
                  <a:pt x="200" y="254"/>
                  <a:pt x="203" y="259"/>
                </a:cubicBezTo>
                <a:cubicBezTo>
                  <a:pt x="280" y="414"/>
                  <a:pt x="280" y="414"/>
                  <a:pt x="280" y="414"/>
                </a:cubicBezTo>
                <a:cubicBezTo>
                  <a:pt x="281" y="416"/>
                  <a:pt x="281" y="416"/>
                  <a:pt x="281" y="416"/>
                </a:cubicBezTo>
                <a:cubicBezTo>
                  <a:pt x="282" y="418"/>
                  <a:pt x="284" y="420"/>
                  <a:pt x="287" y="420"/>
                </a:cubicBezTo>
                <a:cubicBezTo>
                  <a:pt x="288" y="420"/>
                  <a:pt x="289" y="420"/>
                  <a:pt x="290" y="419"/>
                </a:cubicBezTo>
                <a:cubicBezTo>
                  <a:pt x="292" y="418"/>
                  <a:pt x="294" y="416"/>
                  <a:pt x="294" y="413"/>
                </a:cubicBezTo>
                <a:cubicBezTo>
                  <a:pt x="294" y="412"/>
                  <a:pt x="294" y="411"/>
                  <a:pt x="293" y="411"/>
                </a:cubicBezTo>
                <a:cubicBezTo>
                  <a:pt x="215" y="234"/>
                  <a:pt x="215" y="234"/>
                  <a:pt x="215" y="234"/>
                </a:cubicBezTo>
                <a:cubicBezTo>
                  <a:pt x="213" y="230"/>
                  <a:pt x="213" y="226"/>
                  <a:pt x="215" y="222"/>
                </a:cubicBezTo>
                <a:cubicBezTo>
                  <a:pt x="244" y="165"/>
                  <a:pt x="244" y="165"/>
                  <a:pt x="244" y="165"/>
                </a:cubicBezTo>
                <a:cubicBezTo>
                  <a:pt x="246" y="162"/>
                  <a:pt x="250" y="159"/>
                  <a:pt x="254" y="158"/>
                </a:cubicBezTo>
                <a:cubicBezTo>
                  <a:pt x="259" y="158"/>
                  <a:pt x="263" y="159"/>
                  <a:pt x="266" y="163"/>
                </a:cubicBezTo>
                <a:cubicBezTo>
                  <a:pt x="266" y="163"/>
                  <a:pt x="283" y="181"/>
                  <a:pt x="292" y="192"/>
                </a:cubicBezTo>
                <a:cubicBezTo>
                  <a:pt x="296" y="195"/>
                  <a:pt x="298" y="198"/>
                  <a:pt x="299" y="199"/>
                </a:cubicBezTo>
                <a:cubicBezTo>
                  <a:pt x="300" y="200"/>
                  <a:pt x="302" y="202"/>
                  <a:pt x="304" y="203"/>
                </a:cubicBezTo>
                <a:cubicBezTo>
                  <a:pt x="306" y="204"/>
                  <a:pt x="308" y="205"/>
                  <a:pt x="310" y="205"/>
                </a:cubicBezTo>
                <a:cubicBezTo>
                  <a:pt x="365" y="205"/>
                  <a:pt x="365" y="205"/>
                  <a:pt x="365" y="205"/>
                </a:cubicBezTo>
                <a:cubicBezTo>
                  <a:pt x="366" y="205"/>
                  <a:pt x="368" y="204"/>
                  <a:pt x="369" y="202"/>
                </a:cubicBezTo>
                <a:cubicBezTo>
                  <a:pt x="371" y="201"/>
                  <a:pt x="372" y="199"/>
                  <a:pt x="372" y="198"/>
                </a:cubicBezTo>
                <a:cubicBezTo>
                  <a:pt x="372" y="194"/>
                  <a:pt x="368" y="191"/>
                  <a:pt x="365" y="191"/>
                </a:cubicBezTo>
                <a:cubicBezTo>
                  <a:pt x="358" y="191"/>
                  <a:pt x="348" y="191"/>
                  <a:pt x="339" y="191"/>
                </a:cubicBezTo>
                <a:cubicBezTo>
                  <a:pt x="331" y="191"/>
                  <a:pt x="324" y="191"/>
                  <a:pt x="323" y="191"/>
                </a:cubicBezTo>
                <a:cubicBezTo>
                  <a:pt x="320" y="191"/>
                  <a:pt x="316" y="189"/>
                  <a:pt x="313" y="186"/>
                </a:cubicBezTo>
                <a:cubicBezTo>
                  <a:pt x="262" y="127"/>
                  <a:pt x="262" y="127"/>
                  <a:pt x="262" y="127"/>
                </a:cubicBezTo>
                <a:cubicBezTo>
                  <a:pt x="252" y="116"/>
                  <a:pt x="252" y="116"/>
                  <a:pt x="252" y="116"/>
                </a:cubicBezTo>
                <a:cubicBezTo>
                  <a:pt x="248" y="111"/>
                  <a:pt x="247" y="105"/>
                  <a:pt x="250" y="100"/>
                </a:cubicBezTo>
                <a:cubicBezTo>
                  <a:pt x="261" y="83"/>
                  <a:pt x="261" y="83"/>
                  <a:pt x="261" y="83"/>
                </a:cubicBezTo>
                <a:cubicBezTo>
                  <a:pt x="263" y="79"/>
                  <a:pt x="267" y="77"/>
                  <a:pt x="271" y="77"/>
                </a:cubicBezTo>
                <a:cubicBezTo>
                  <a:pt x="278" y="76"/>
                  <a:pt x="285" y="73"/>
                  <a:pt x="290" y="68"/>
                </a:cubicBezTo>
                <a:cubicBezTo>
                  <a:pt x="295" y="63"/>
                  <a:pt x="297" y="58"/>
                  <a:pt x="297" y="51"/>
                </a:cubicBezTo>
                <a:cubicBezTo>
                  <a:pt x="297" y="38"/>
                  <a:pt x="286" y="27"/>
                  <a:pt x="273" y="27"/>
                </a:cubicBezTo>
                <a:cubicBezTo>
                  <a:pt x="260" y="27"/>
                  <a:pt x="249" y="38"/>
                  <a:pt x="249" y="51"/>
                </a:cubicBezTo>
                <a:cubicBezTo>
                  <a:pt x="249" y="56"/>
                  <a:pt x="250" y="61"/>
                  <a:pt x="253" y="65"/>
                </a:cubicBezTo>
                <a:cubicBezTo>
                  <a:pt x="253" y="65"/>
                  <a:pt x="253" y="65"/>
                  <a:pt x="253" y="65"/>
                </a:cubicBezTo>
                <a:cubicBezTo>
                  <a:pt x="257" y="71"/>
                  <a:pt x="255" y="79"/>
                  <a:pt x="249" y="83"/>
                </a:cubicBezTo>
                <a:cubicBezTo>
                  <a:pt x="243" y="87"/>
                  <a:pt x="235" y="86"/>
                  <a:pt x="231" y="79"/>
                </a:cubicBezTo>
                <a:cubicBezTo>
                  <a:pt x="225" y="71"/>
                  <a:pt x="222" y="61"/>
                  <a:pt x="222" y="51"/>
                </a:cubicBezTo>
                <a:cubicBezTo>
                  <a:pt x="222" y="23"/>
                  <a:pt x="245" y="0"/>
                  <a:pt x="273" y="0"/>
                </a:cubicBezTo>
                <a:cubicBezTo>
                  <a:pt x="301" y="0"/>
                  <a:pt x="324" y="23"/>
                  <a:pt x="324" y="51"/>
                </a:cubicBezTo>
                <a:cubicBezTo>
                  <a:pt x="324" y="65"/>
                  <a:pt x="318" y="78"/>
                  <a:pt x="309" y="87"/>
                </a:cubicBezTo>
                <a:cubicBezTo>
                  <a:pt x="301" y="94"/>
                  <a:pt x="291" y="100"/>
                  <a:pt x="280" y="102"/>
                </a:cubicBezTo>
                <a:cubicBezTo>
                  <a:pt x="278" y="105"/>
                  <a:pt x="278" y="105"/>
                  <a:pt x="278" y="105"/>
                </a:cubicBezTo>
                <a:cubicBezTo>
                  <a:pt x="282" y="109"/>
                  <a:pt x="282" y="109"/>
                  <a:pt x="282" y="109"/>
                </a:cubicBezTo>
                <a:cubicBezTo>
                  <a:pt x="282" y="110"/>
                  <a:pt x="282" y="110"/>
                  <a:pt x="282" y="110"/>
                </a:cubicBezTo>
                <a:cubicBezTo>
                  <a:pt x="330" y="164"/>
                  <a:pt x="330" y="164"/>
                  <a:pt x="330" y="164"/>
                </a:cubicBezTo>
                <a:cubicBezTo>
                  <a:pt x="339" y="164"/>
                  <a:pt x="356" y="164"/>
                  <a:pt x="365" y="164"/>
                </a:cubicBezTo>
                <a:cubicBezTo>
                  <a:pt x="383" y="164"/>
                  <a:pt x="398" y="179"/>
                  <a:pt x="398" y="198"/>
                </a:cubicBezTo>
                <a:cubicBezTo>
                  <a:pt x="398" y="216"/>
                  <a:pt x="383" y="231"/>
                  <a:pt x="365" y="231"/>
                </a:cubicBezTo>
                <a:cubicBezTo>
                  <a:pt x="310" y="231"/>
                  <a:pt x="310" y="231"/>
                  <a:pt x="310" y="231"/>
                </a:cubicBezTo>
                <a:cubicBezTo>
                  <a:pt x="303" y="231"/>
                  <a:pt x="297" y="229"/>
                  <a:pt x="292" y="227"/>
                </a:cubicBezTo>
                <a:cubicBezTo>
                  <a:pt x="287" y="224"/>
                  <a:pt x="283" y="221"/>
                  <a:pt x="279" y="217"/>
                </a:cubicBezTo>
                <a:cubicBezTo>
                  <a:pt x="278" y="216"/>
                  <a:pt x="276" y="213"/>
                  <a:pt x="273" y="210"/>
                </a:cubicBezTo>
                <a:cubicBezTo>
                  <a:pt x="269" y="206"/>
                  <a:pt x="265" y="202"/>
                  <a:pt x="261" y="197"/>
                </a:cubicBezTo>
                <a:cubicBezTo>
                  <a:pt x="261" y="197"/>
                  <a:pt x="260" y="196"/>
                  <a:pt x="259" y="195"/>
                </a:cubicBezTo>
                <a:cubicBezTo>
                  <a:pt x="242" y="229"/>
                  <a:pt x="242" y="229"/>
                  <a:pt x="242" y="229"/>
                </a:cubicBezTo>
                <a:cubicBezTo>
                  <a:pt x="318" y="400"/>
                  <a:pt x="318" y="400"/>
                  <a:pt x="318" y="400"/>
                </a:cubicBezTo>
                <a:cubicBezTo>
                  <a:pt x="318" y="401"/>
                  <a:pt x="318" y="401"/>
                  <a:pt x="318" y="401"/>
                </a:cubicBezTo>
                <a:cubicBezTo>
                  <a:pt x="320" y="405"/>
                  <a:pt x="321" y="409"/>
                  <a:pt x="321" y="413"/>
                </a:cubicBezTo>
                <a:cubicBezTo>
                  <a:pt x="321" y="426"/>
                  <a:pt x="313" y="439"/>
                  <a:pt x="299" y="444"/>
                </a:cubicBezTo>
                <a:cubicBezTo>
                  <a:pt x="295" y="446"/>
                  <a:pt x="291" y="447"/>
                  <a:pt x="287" y="447"/>
                </a:cubicBezTo>
                <a:cubicBezTo>
                  <a:pt x="287" y="447"/>
                  <a:pt x="287" y="447"/>
                  <a:pt x="287" y="447"/>
                </a:cubicBezTo>
                <a:cubicBezTo>
                  <a:pt x="274" y="447"/>
                  <a:pt x="261" y="439"/>
                  <a:pt x="256" y="426"/>
                </a:cubicBezTo>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293" name="TextBox 292"/>
          <p:cNvSpPr txBox="1"/>
          <p:nvPr userDrawn="1"/>
        </p:nvSpPr>
        <p:spPr>
          <a:xfrm>
            <a:off x="7572473" y="1251884"/>
            <a:ext cx="693136"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Security</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management</a:t>
            </a:r>
          </a:p>
        </p:txBody>
      </p:sp>
      <p:sp>
        <p:nvSpPr>
          <p:cNvPr id="294" name="Freeform 124"/>
          <p:cNvSpPr>
            <a:spLocks noChangeAspect="1"/>
          </p:cNvSpPr>
          <p:nvPr userDrawn="1"/>
        </p:nvSpPr>
        <p:spPr bwMode="auto">
          <a:xfrm>
            <a:off x="1814149" y="1646520"/>
            <a:ext cx="275369" cy="294894"/>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295" name="TextBox 294"/>
          <p:cNvSpPr txBox="1"/>
          <p:nvPr userDrawn="1"/>
        </p:nvSpPr>
        <p:spPr>
          <a:xfrm>
            <a:off x="1719125" y="1979324"/>
            <a:ext cx="478030"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Electric</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utilities</a:t>
            </a:r>
          </a:p>
        </p:txBody>
      </p:sp>
      <p:sp>
        <p:nvSpPr>
          <p:cNvPr id="296" name="Freeform 116"/>
          <p:cNvSpPr>
            <a:spLocks noChangeAspect="1"/>
          </p:cNvSpPr>
          <p:nvPr userDrawn="1"/>
        </p:nvSpPr>
        <p:spPr bwMode="auto">
          <a:xfrm>
            <a:off x="1121452" y="2873330"/>
            <a:ext cx="289510" cy="294894"/>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297" name="TextBox 296"/>
          <p:cNvSpPr txBox="1"/>
          <p:nvPr userDrawn="1"/>
        </p:nvSpPr>
        <p:spPr>
          <a:xfrm>
            <a:off x="1034325" y="3213500"/>
            <a:ext cx="477026" cy="92333"/>
          </a:xfrm>
          <a:prstGeom prst="rect">
            <a:avLst/>
          </a:prstGeom>
          <a:noFill/>
        </p:spPr>
        <p:txBody>
          <a:bodyPr wrap="square" lIns="0" tIns="0" rIns="0" bIns="0" rtlCol="0" anchor="t" anchorCtr="0">
            <a:spAutoFit/>
          </a:bodyPr>
          <a:lstStyle/>
          <a:p>
            <a:pPr algn="ctr"/>
            <a:r>
              <a:rPr lang="en-US" sz="600" b="1" dirty="0">
                <a:solidFill>
                  <a:schemeClr val="bg1"/>
                </a:solidFill>
                <a:latin typeface="Arial" pitchFamily="34" charset="0"/>
                <a:cs typeface="Arial" pitchFamily="34" charset="0"/>
              </a:rPr>
              <a:t>Oil &amp; gas</a:t>
            </a:r>
          </a:p>
        </p:txBody>
      </p:sp>
      <p:sp>
        <p:nvSpPr>
          <p:cNvPr id="298" name="Freeform 88"/>
          <p:cNvSpPr>
            <a:spLocks noChangeAspect="1"/>
          </p:cNvSpPr>
          <p:nvPr userDrawn="1"/>
        </p:nvSpPr>
        <p:spPr bwMode="auto">
          <a:xfrm>
            <a:off x="3173713" y="2295423"/>
            <a:ext cx="387665" cy="253175"/>
          </a:xfrm>
          <a:custGeom>
            <a:avLst/>
            <a:gdLst/>
            <a:ahLst/>
            <a:cxnLst>
              <a:cxn ang="0">
                <a:pos x="224" y="5"/>
              </a:cxn>
              <a:cxn ang="0">
                <a:pos x="221" y="13"/>
              </a:cxn>
              <a:cxn ang="0">
                <a:pos x="221" y="16"/>
              </a:cxn>
              <a:cxn ang="0">
                <a:pos x="227" y="43"/>
              </a:cxn>
              <a:cxn ang="0">
                <a:pos x="225" y="43"/>
              </a:cxn>
              <a:cxn ang="0">
                <a:pos x="216" y="47"/>
              </a:cxn>
              <a:cxn ang="0">
                <a:pos x="212" y="56"/>
              </a:cxn>
              <a:cxn ang="0">
                <a:pos x="212" y="151"/>
              </a:cxn>
              <a:cxn ang="0">
                <a:pos x="173" y="151"/>
              </a:cxn>
              <a:cxn ang="0">
                <a:pos x="107" y="186"/>
              </a:cxn>
              <a:cxn ang="0">
                <a:pos x="106" y="193"/>
              </a:cxn>
              <a:cxn ang="0">
                <a:pos x="112" y="205"/>
              </a:cxn>
              <a:cxn ang="0">
                <a:pos x="130" y="200"/>
              </a:cxn>
              <a:cxn ang="0">
                <a:pos x="173" y="177"/>
              </a:cxn>
              <a:cxn ang="0">
                <a:pos x="226" y="177"/>
              </a:cxn>
              <a:cxn ang="0">
                <a:pos x="235" y="173"/>
              </a:cxn>
              <a:cxn ang="0">
                <a:pos x="239" y="164"/>
              </a:cxn>
              <a:cxn ang="0">
                <a:pos x="239" y="69"/>
              </a:cxn>
              <a:cxn ang="0">
                <a:pos x="244" y="69"/>
              </a:cxn>
              <a:cxn ang="0">
                <a:pos x="254" y="64"/>
              </a:cxn>
              <a:cxn ang="0">
                <a:pos x="257" y="56"/>
              </a:cxn>
              <a:cxn ang="0">
                <a:pos x="257" y="53"/>
              </a:cxn>
              <a:cxn ang="0">
                <a:pos x="251" y="27"/>
              </a:cxn>
              <a:cxn ang="0">
                <a:pos x="264" y="27"/>
              </a:cxn>
              <a:cxn ang="0">
                <a:pos x="275" y="57"/>
              </a:cxn>
              <a:cxn ang="0">
                <a:pos x="287" y="65"/>
              </a:cxn>
              <a:cxn ang="0">
                <a:pos x="298" y="66"/>
              </a:cxn>
              <a:cxn ang="0">
                <a:pos x="353" y="197"/>
              </a:cxn>
              <a:cxn ang="0">
                <a:pos x="365" y="205"/>
              </a:cxn>
              <a:cxn ang="0">
                <a:pos x="421" y="205"/>
              </a:cxn>
              <a:cxn ang="0">
                <a:pos x="390" y="270"/>
              </a:cxn>
              <a:cxn ang="0">
                <a:pos x="49" y="270"/>
              </a:cxn>
              <a:cxn ang="0">
                <a:pos x="29" y="252"/>
              </a:cxn>
              <a:cxn ang="0">
                <a:pos x="28" y="246"/>
              </a:cxn>
              <a:cxn ang="0">
                <a:pos x="28" y="245"/>
              </a:cxn>
              <a:cxn ang="0">
                <a:pos x="252" y="245"/>
              </a:cxn>
              <a:cxn ang="0">
                <a:pos x="323" y="190"/>
              </a:cxn>
              <a:cxn ang="0">
                <a:pos x="310" y="177"/>
              </a:cxn>
              <a:cxn ang="0">
                <a:pos x="297" y="190"/>
              </a:cxn>
              <a:cxn ang="0">
                <a:pos x="252" y="219"/>
              </a:cxn>
              <a:cxn ang="0">
                <a:pos x="18" y="219"/>
              </a:cxn>
              <a:cxn ang="0">
                <a:pos x="5" y="227"/>
              </a:cxn>
              <a:cxn ang="0">
                <a:pos x="4" y="262"/>
              </a:cxn>
              <a:cxn ang="0">
                <a:pos x="41" y="296"/>
              </a:cxn>
              <a:cxn ang="0">
                <a:pos x="46" y="297"/>
              </a:cxn>
              <a:cxn ang="0">
                <a:pos x="398" y="297"/>
              </a:cxn>
              <a:cxn ang="0">
                <a:pos x="410" y="289"/>
              </a:cxn>
              <a:cxn ang="0">
                <a:pos x="454" y="197"/>
              </a:cxn>
              <a:cxn ang="0">
                <a:pos x="453" y="185"/>
              </a:cxn>
              <a:cxn ang="0">
                <a:pos x="442" y="178"/>
              </a:cxn>
              <a:cxn ang="0">
                <a:pos x="374" y="178"/>
              </a:cxn>
              <a:cxn ang="0">
                <a:pos x="319" y="48"/>
              </a:cxn>
              <a:cxn ang="0">
                <a:pos x="308" y="40"/>
              </a:cxn>
              <a:cxn ang="0">
                <a:pos x="297" y="39"/>
              </a:cxn>
              <a:cxn ang="0">
                <a:pos x="286" y="9"/>
              </a:cxn>
              <a:cxn ang="0">
                <a:pos x="274" y="1"/>
              </a:cxn>
              <a:cxn ang="0">
                <a:pos x="234" y="0"/>
              </a:cxn>
              <a:cxn ang="0">
                <a:pos x="224" y="5"/>
              </a:cxn>
            </a:cxnLst>
            <a:rect l="0" t="0" r="r" b="b"/>
            <a:pathLst>
              <a:path w="456" h="297">
                <a:moveTo>
                  <a:pt x="224" y="5"/>
                </a:moveTo>
                <a:cubicBezTo>
                  <a:pt x="222" y="7"/>
                  <a:pt x="221" y="10"/>
                  <a:pt x="221" y="13"/>
                </a:cubicBezTo>
                <a:cubicBezTo>
                  <a:pt x="221" y="14"/>
                  <a:pt x="221" y="15"/>
                  <a:pt x="221" y="16"/>
                </a:cubicBezTo>
                <a:cubicBezTo>
                  <a:pt x="221" y="16"/>
                  <a:pt x="224" y="30"/>
                  <a:pt x="227" y="43"/>
                </a:cubicBezTo>
                <a:cubicBezTo>
                  <a:pt x="227" y="43"/>
                  <a:pt x="225" y="43"/>
                  <a:pt x="225" y="43"/>
                </a:cubicBezTo>
                <a:cubicBezTo>
                  <a:pt x="222" y="43"/>
                  <a:pt x="218" y="44"/>
                  <a:pt x="216" y="47"/>
                </a:cubicBezTo>
                <a:cubicBezTo>
                  <a:pt x="213" y="49"/>
                  <a:pt x="212" y="53"/>
                  <a:pt x="212" y="56"/>
                </a:cubicBezTo>
                <a:cubicBezTo>
                  <a:pt x="212" y="56"/>
                  <a:pt x="212" y="130"/>
                  <a:pt x="212" y="151"/>
                </a:cubicBezTo>
                <a:cubicBezTo>
                  <a:pt x="198" y="151"/>
                  <a:pt x="173" y="151"/>
                  <a:pt x="173" y="151"/>
                </a:cubicBezTo>
                <a:cubicBezTo>
                  <a:pt x="155" y="151"/>
                  <a:pt x="122" y="162"/>
                  <a:pt x="107" y="186"/>
                </a:cubicBezTo>
                <a:cubicBezTo>
                  <a:pt x="106" y="189"/>
                  <a:pt x="106" y="191"/>
                  <a:pt x="106" y="193"/>
                </a:cubicBezTo>
                <a:cubicBezTo>
                  <a:pt x="106" y="198"/>
                  <a:pt x="108" y="202"/>
                  <a:pt x="112" y="205"/>
                </a:cubicBezTo>
                <a:cubicBezTo>
                  <a:pt x="119" y="208"/>
                  <a:pt x="127" y="206"/>
                  <a:pt x="130" y="200"/>
                </a:cubicBezTo>
                <a:cubicBezTo>
                  <a:pt x="138" y="186"/>
                  <a:pt x="161" y="177"/>
                  <a:pt x="173" y="177"/>
                </a:cubicBezTo>
                <a:cubicBezTo>
                  <a:pt x="226" y="177"/>
                  <a:pt x="226" y="177"/>
                  <a:pt x="226" y="177"/>
                </a:cubicBezTo>
                <a:cubicBezTo>
                  <a:pt x="229" y="177"/>
                  <a:pt x="233" y="176"/>
                  <a:pt x="235" y="173"/>
                </a:cubicBezTo>
                <a:cubicBezTo>
                  <a:pt x="238" y="171"/>
                  <a:pt x="239" y="168"/>
                  <a:pt x="239" y="164"/>
                </a:cubicBezTo>
                <a:cubicBezTo>
                  <a:pt x="239" y="164"/>
                  <a:pt x="239" y="90"/>
                  <a:pt x="239" y="69"/>
                </a:cubicBezTo>
                <a:cubicBezTo>
                  <a:pt x="241" y="69"/>
                  <a:pt x="244" y="69"/>
                  <a:pt x="244" y="69"/>
                </a:cubicBezTo>
                <a:cubicBezTo>
                  <a:pt x="248" y="69"/>
                  <a:pt x="252" y="67"/>
                  <a:pt x="254" y="64"/>
                </a:cubicBezTo>
                <a:cubicBezTo>
                  <a:pt x="256" y="62"/>
                  <a:pt x="257" y="59"/>
                  <a:pt x="257" y="56"/>
                </a:cubicBezTo>
                <a:cubicBezTo>
                  <a:pt x="257" y="55"/>
                  <a:pt x="257" y="54"/>
                  <a:pt x="257" y="53"/>
                </a:cubicBezTo>
                <a:cubicBezTo>
                  <a:pt x="257" y="53"/>
                  <a:pt x="253" y="39"/>
                  <a:pt x="251" y="27"/>
                </a:cubicBezTo>
                <a:cubicBezTo>
                  <a:pt x="257" y="27"/>
                  <a:pt x="260" y="27"/>
                  <a:pt x="264" y="27"/>
                </a:cubicBezTo>
                <a:cubicBezTo>
                  <a:pt x="268" y="37"/>
                  <a:pt x="275" y="57"/>
                  <a:pt x="275" y="57"/>
                </a:cubicBezTo>
                <a:cubicBezTo>
                  <a:pt x="277" y="62"/>
                  <a:pt x="281" y="65"/>
                  <a:pt x="287" y="65"/>
                </a:cubicBezTo>
                <a:cubicBezTo>
                  <a:pt x="287" y="65"/>
                  <a:pt x="293" y="66"/>
                  <a:pt x="298" y="66"/>
                </a:cubicBezTo>
                <a:cubicBezTo>
                  <a:pt x="304" y="80"/>
                  <a:pt x="353" y="197"/>
                  <a:pt x="353" y="197"/>
                </a:cubicBezTo>
                <a:cubicBezTo>
                  <a:pt x="355" y="202"/>
                  <a:pt x="360" y="205"/>
                  <a:pt x="365" y="205"/>
                </a:cubicBezTo>
                <a:cubicBezTo>
                  <a:pt x="365" y="205"/>
                  <a:pt x="399" y="205"/>
                  <a:pt x="421" y="205"/>
                </a:cubicBezTo>
                <a:cubicBezTo>
                  <a:pt x="411" y="226"/>
                  <a:pt x="395" y="260"/>
                  <a:pt x="390" y="270"/>
                </a:cubicBezTo>
                <a:cubicBezTo>
                  <a:pt x="374" y="270"/>
                  <a:pt x="55" y="270"/>
                  <a:pt x="49" y="270"/>
                </a:cubicBezTo>
                <a:cubicBezTo>
                  <a:pt x="43" y="267"/>
                  <a:pt x="33" y="261"/>
                  <a:pt x="29" y="252"/>
                </a:cubicBezTo>
                <a:cubicBezTo>
                  <a:pt x="28" y="250"/>
                  <a:pt x="28" y="248"/>
                  <a:pt x="28" y="246"/>
                </a:cubicBezTo>
                <a:cubicBezTo>
                  <a:pt x="28" y="245"/>
                  <a:pt x="28" y="245"/>
                  <a:pt x="28" y="245"/>
                </a:cubicBezTo>
                <a:cubicBezTo>
                  <a:pt x="47" y="245"/>
                  <a:pt x="252" y="245"/>
                  <a:pt x="252" y="245"/>
                </a:cubicBezTo>
                <a:cubicBezTo>
                  <a:pt x="286" y="245"/>
                  <a:pt x="323" y="226"/>
                  <a:pt x="323" y="190"/>
                </a:cubicBezTo>
                <a:cubicBezTo>
                  <a:pt x="323" y="183"/>
                  <a:pt x="317" y="177"/>
                  <a:pt x="310" y="177"/>
                </a:cubicBezTo>
                <a:cubicBezTo>
                  <a:pt x="303" y="177"/>
                  <a:pt x="297" y="183"/>
                  <a:pt x="297" y="190"/>
                </a:cubicBezTo>
                <a:cubicBezTo>
                  <a:pt x="297" y="210"/>
                  <a:pt x="270" y="219"/>
                  <a:pt x="252" y="219"/>
                </a:cubicBezTo>
                <a:cubicBezTo>
                  <a:pt x="18" y="219"/>
                  <a:pt x="18" y="219"/>
                  <a:pt x="18" y="219"/>
                </a:cubicBezTo>
                <a:cubicBezTo>
                  <a:pt x="12" y="219"/>
                  <a:pt x="8" y="222"/>
                  <a:pt x="5" y="227"/>
                </a:cubicBezTo>
                <a:cubicBezTo>
                  <a:pt x="0" y="238"/>
                  <a:pt x="0" y="251"/>
                  <a:pt x="4" y="262"/>
                </a:cubicBezTo>
                <a:cubicBezTo>
                  <a:pt x="13" y="284"/>
                  <a:pt x="38" y="294"/>
                  <a:pt x="41" y="296"/>
                </a:cubicBezTo>
                <a:cubicBezTo>
                  <a:pt x="43" y="296"/>
                  <a:pt x="44" y="297"/>
                  <a:pt x="46" y="297"/>
                </a:cubicBezTo>
                <a:cubicBezTo>
                  <a:pt x="398" y="297"/>
                  <a:pt x="398" y="297"/>
                  <a:pt x="398" y="297"/>
                </a:cubicBezTo>
                <a:cubicBezTo>
                  <a:pt x="403" y="297"/>
                  <a:pt x="408" y="294"/>
                  <a:pt x="410" y="289"/>
                </a:cubicBezTo>
                <a:cubicBezTo>
                  <a:pt x="454" y="197"/>
                  <a:pt x="454" y="197"/>
                  <a:pt x="454" y="197"/>
                </a:cubicBezTo>
                <a:cubicBezTo>
                  <a:pt x="456" y="193"/>
                  <a:pt x="456" y="188"/>
                  <a:pt x="453" y="185"/>
                </a:cubicBezTo>
                <a:cubicBezTo>
                  <a:pt x="451" y="181"/>
                  <a:pt x="447" y="178"/>
                  <a:pt x="442" y="178"/>
                </a:cubicBezTo>
                <a:cubicBezTo>
                  <a:pt x="442" y="178"/>
                  <a:pt x="388" y="178"/>
                  <a:pt x="374" y="178"/>
                </a:cubicBezTo>
                <a:cubicBezTo>
                  <a:pt x="368" y="164"/>
                  <a:pt x="319" y="48"/>
                  <a:pt x="319" y="48"/>
                </a:cubicBezTo>
                <a:cubicBezTo>
                  <a:pt x="317" y="44"/>
                  <a:pt x="313" y="41"/>
                  <a:pt x="308" y="40"/>
                </a:cubicBezTo>
                <a:cubicBezTo>
                  <a:pt x="308" y="40"/>
                  <a:pt x="303" y="40"/>
                  <a:pt x="297" y="39"/>
                </a:cubicBezTo>
                <a:cubicBezTo>
                  <a:pt x="293" y="29"/>
                  <a:pt x="286" y="9"/>
                  <a:pt x="286" y="9"/>
                </a:cubicBezTo>
                <a:cubicBezTo>
                  <a:pt x="284" y="4"/>
                  <a:pt x="279" y="1"/>
                  <a:pt x="274" y="1"/>
                </a:cubicBezTo>
                <a:cubicBezTo>
                  <a:pt x="234" y="0"/>
                  <a:pt x="234" y="0"/>
                  <a:pt x="234" y="0"/>
                </a:cubicBezTo>
                <a:cubicBezTo>
                  <a:pt x="230" y="0"/>
                  <a:pt x="226" y="2"/>
                  <a:pt x="224" y="5"/>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299" name="TextBox 298"/>
          <p:cNvSpPr txBox="1"/>
          <p:nvPr userDrawn="1"/>
        </p:nvSpPr>
        <p:spPr>
          <a:xfrm>
            <a:off x="3131398" y="2597682"/>
            <a:ext cx="477026" cy="92333"/>
          </a:xfrm>
          <a:prstGeom prst="rect">
            <a:avLst/>
          </a:prstGeom>
          <a:noFill/>
        </p:spPr>
        <p:txBody>
          <a:bodyPr wrap="square" lIns="0" tIns="0" rIns="0" bIns="0" rtlCol="0" anchor="t" anchorCtr="0">
            <a:spAutoFit/>
          </a:bodyPr>
          <a:lstStyle/>
          <a:p>
            <a:pPr algn="ctr"/>
            <a:r>
              <a:rPr lang="en-US" sz="600" b="1" dirty="0">
                <a:solidFill>
                  <a:schemeClr val="bg1"/>
                </a:solidFill>
                <a:latin typeface="Arial" pitchFamily="34" charset="0"/>
                <a:cs typeface="Arial" pitchFamily="34" charset="0"/>
              </a:rPr>
              <a:t>Marine</a:t>
            </a:r>
          </a:p>
        </p:txBody>
      </p:sp>
      <p:sp>
        <p:nvSpPr>
          <p:cNvPr id="300" name="Freeform 220"/>
          <p:cNvSpPr>
            <a:spLocks noChangeAspect="1"/>
          </p:cNvSpPr>
          <p:nvPr userDrawn="1"/>
        </p:nvSpPr>
        <p:spPr bwMode="auto">
          <a:xfrm>
            <a:off x="2453738" y="2925165"/>
            <a:ext cx="439940" cy="243058"/>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01" name="TextBox 300"/>
          <p:cNvSpPr txBox="1"/>
          <p:nvPr userDrawn="1"/>
        </p:nvSpPr>
        <p:spPr>
          <a:xfrm>
            <a:off x="2239463" y="3213500"/>
            <a:ext cx="844959" cy="92333"/>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Transportation</a:t>
            </a:r>
          </a:p>
        </p:txBody>
      </p:sp>
      <p:sp>
        <p:nvSpPr>
          <p:cNvPr id="302" name="Freeform 76"/>
          <p:cNvSpPr>
            <a:spLocks noChangeAspect="1"/>
          </p:cNvSpPr>
          <p:nvPr userDrawn="1"/>
        </p:nvSpPr>
        <p:spPr bwMode="auto">
          <a:xfrm>
            <a:off x="3202127" y="2873330"/>
            <a:ext cx="320870" cy="294894"/>
          </a:xfrm>
          <a:custGeom>
            <a:avLst/>
            <a:gdLst/>
            <a:ahLst/>
            <a:cxnLst>
              <a:cxn ang="0">
                <a:pos x="34" y="40"/>
              </a:cxn>
              <a:cxn ang="0">
                <a:pos x="74" y="80"/>
              </a:cxn>
              <a:cxn ang="0">
                <a:pos x="101" y="80"/>
              </a:cxn>
              <a:cxn ang="0">
                <a:pos x="101" y="129"/>
              </a:cxn>
              <a:cxn ang="0">
                <a:pos x="12" y="129"/>
              </a:cxn>
              <a:cxn ang="0">
                <a:pos x="0" y="141"/>
              </a:cxn>
              <a:cxn ang="0">
                <a:pos x="12" y="154"/>
              </a:cxn>
              <a:cxn ang="0">
                <a:pos x="113" y="154"/>
              </a:cxn>
              <a:cxn ang="0">
                <a:pos x="125" y="141"/>
              </a:cxn>
              <a:cxn ang="0">
                <a:pos x="125" y="68"/>
              </a:cxn>
              <a:cxn ang="0">
                <a:pos x="121" y="59"/>
              </a:cxn>
              <a:cxn ang="0">
                <a:pos x="113" y="55"/>
              </a:cxn>
              <a:cxn ang="0">
                <a:pos x="74" y="56"/>
              </a:cxn>
              <a:cxn ang="0">
                <a:pos x="59" y="40"/>
              </a:cxn>
              <a:cxn ang="0">
                <a:pos x="74" y="25"/>
              </a:cxn>
              <a:cxn ang="0">
                <a:pos x="192" y="25"/>
              </a:cxn>
              <a:cxn ang="0">
                <a:pos x="207" y="40"/>
              </a:cxn>
              <a:cxn ang="0">
                <a:pos x="192" y="56"/>
              </a:cxn>
              <a:cxn ang="0">
                <a:pos x="153" y="56"/>
              </a:cxn>
              <a:cxn ang="0">
                <a:pos x="144" y="59"/>
              </a:cxn>
              <a:cxn ang="0">
                <a:pos x="141" y="68"/>
              </a:cxn>
              <a:cxn ang="0">
                <a:pos x="141" y="140"/>
              </a:cxn>
              <a:cxn ang="0">
                <a:pos x="153" y="153"/>
              </a:cxn>
              <a:cxn ang="0">
                <a:pos x="198" y="153"/>
              </a:cxn>
              <a:cxn ang="0">
                <a:pos x="288" y="243"/>
              </a:cxn>
              <a:cxn ang="0">
                <a:pos x="288" y="264"/>
              </a:cxn>
              <a:cxn ang="0">
                <a:pos x="234" y="264"/>
              </a:cxn>
              <a:cxn ang="0">
                <a:pos x="234" y="243"/>
              </a:cxn>
              <a:cxn ang="0">
                <a:pos x="198" y="207"/>
              </a:cxn>
              <a:cxn ang="0">
                <a:pos x="12" y="207"/>
              </a:cxn>
              <a:cxn ang="0">
                <a:pos x="0" y="220"/>
              </a:cxn>
              <a:cxn ang="0">
                <a:pos x="12" y="232"/>
              </a:cxn>
              <a:cxn ang="0">
                <a:pos x="198" y="232"/>
              </a:cxn>
              <a:cxn ang="0">
                <a:pos x="209" y="243"/>
              </a:cxn>
              <a:cxn ang="0">
                <a:pos x="209" y="276"/>
              </a:cxn>
              <a:cxn ang="0">
                <a:pos x="221" y="288"/>
              </a:cxn>
              <a:cxn ang="0">
                <a:pos x="301" y="288"/>
              </a:cxn>
              <a:cxn ang="0">
                <a:pos x="313" y="276"/>
              </a:cxn>
              <a:cxn ang="0">
                <a:pos x="313" y="243"/>
              </a:cxn>
              <a:cxn ang="0">
                <a:pos x="198" y="128"/>
              </a:cxn>
              <a:cxn ang="0">
                <a:pos x="165" y="128"/>
              </a:cxn>
              <a:cxn ang="0">
                <a:pos x="165" y="80"/>
              </a:cxn>
              <a:cxn ang="0">
                <a:pos x="192" y="80"/>
              </a:cxn>
              <a:cxn ang="0">
                <a:pos x="232" y="40"/>
              </a:cxn>
              <a:cxn ang="0">
                <a:pos x="192" y="0"/>
              </a:cxn>
              <a:cxn ang="0">
                <a:pos x="74" y="0"/>
              </a:cxn>
              <a:cxn ang="0">
                <a:pos x="34" y="40"/>
              </a:cxn>
            </a:cxnLst>
            <a:rect l="0" t="0" r="r" b="b"/>
            <a:pathLst>
              <a:path w="313" h="288">
                <a:moveTo>
                  <a:pt x="34" y="40"/>
                </a:moveTo>
                <a:cubicBezTo>
                  <a:pt x="34" y="62"/>
                  <a:pt x="52" y="80"/>
                  <a:pt x="74" y="80"/>
                </a:cubicBezTo>
                <a:cubicBezTo>
                  <a:pt x="74" y="80"/>
                  <a:pt x="89" y="80"/>
                  <a:pt x="101" y="80"/>
                </a:cubicBezTo>
                <a:cubicBezTo>
                  <a:pt x="101" y="94"/>
                  <a:pt x="101" y="115"/>
                  <a:pt x="101" y="129"/>
                </a:cubicBezTo>
                <a:cubicBezTo>
                  <a:pt x="82" y="129"/>
                  <a:pt x="12" y="129"/>
                  <a:pt x="12" y="129"/>
                </a:cubicBezTo>
                <a:cubicBezTo>
                  <a:pt x="5" y="129"/>
                  <a:pt x="0" y="135"/>
                  <a:pt x="0" y="141"/>
                </a:cubicBezTo>
                <a:cubicBezTo>
                  <a:pt x="0" y="148"/>
                  <a:pt x="5" y="154"/>
                  <a:pt x="12" y="154"/>
                </a:cubicBezTo>
                <a:cubicBezTo>
                  <a:pt x="113" y="154"/>
                  <a:pt x="113" y="154"/>
                  <a:pt x="113" y="154"/>
                </a:cubicBezTo>
                <a:cubicBezTo>
                  <a:pt x="120" y="154"/>
                  <a:pt x="125" y="148"/>
                  <a:pt x="125" y="141"/>
                </a:cubicBezTo>
                <a:cubicBezTo>
                  <a:pt x="125" y="68"/>
                  <a:pt x="125" y="68"/>
                  <a:pt x="125" y="68"/>
                </a:cubicBezTo>
                <a:cubicBezTo>
                  <a:pt x="125" y="64"/>
                  <a:pt x="124" y="61"/>
                  <a:pt x="121" y="59"/>
                </a:cubicBezTo>
                <a:cubicBezTo>
                  <a:pt x="119" y="57"/>
                  <a:pt x="116" y="55"/>
                  <a:pt x="113" y="55"/>
                </a:cubicBezTo>
                <a:cubicBezTo>
                  <a:pt x="74" y="56"/>
                  <a:pt x="74" y="56"/>
                  <a:pt x="74" y="56"/>
                </a:cubicBezTo>
                <a:cubicBezTo>
                  <a:pt x="66" y="56"/>
                  <a:pt x="59" y="49"/>
                  <a:pt x="59" y="40"/>
                </a:cubicBezTo>
                <a:cubicBezTo>
                  <a:pt x="59" y="32"/>
                  <a:pt x="66" y="25"/>
                  <a:pt x="74" y="25"/>
                </a:cubicBezTo>
                <a:cubicBezTo>
                  <a:pt x="192" y="25"/>
                  <a:pt x="192" y="25"/>
                  <a:pt x="192" y="25"/>
                </a:cubicBezTo>
                <a:cubicBezTo>
                  <a:pt x="200" y="25"/>
                  <a:pt x="207" y="32"/>
                  <a:pt x="207" y="40"/>
                </a:cubicBezTo>
                <a:cubicBezTo>
                  <a:pt x="207" y="49"/>
                  <a:pt x="200" y="56"/>
                  <a:pt x="192" y="56"/>
                </a:cubicBezTo>
                <a:cubicBezTo>
                  <a:pt x="192" y="56"/>
                  <a:pt x="153" y="56"/>
                  <a:pt x="153" y="56"/>
                </a:cubicBezTo>
                <a:cubicBezTo>
                  <a:pt x="150" y="56"/>
                  <a:pt x="147" y="57"/>
                  <a:pt x="144" y="59"/>
                </a:cubicBezTo>
                <a:cubicBezTo>
                  <a:pt x="142" y="62"/>
                  <a:pt x="141" y="65"/>
                  <a:pt x="141" y="68"/>
                </a:cubicBezTo>
                <a:cubicBezTo>
                  <a:pt x="141" y="140"/>
                  <a:pt x="141" y="140"/>
                  <a:pt x="141" y="140"/>
                </a:cubicBezTo>
                <a:cubicBezTo>
                  <a:pt x="141" y="147"/>
                  <a:pt x="146" y="153"/>
                  <a:pt x="153" y="153"/>
                </a:cubicBezTo>
                <a:cubicBezTo>
                  <a:pt x="198" y="153"/>
                  <a:pt x="198" y="153"/>
                  <a:pt x="198" y="153"/>
                </a:cubicBezTo>
                <a:cubicBezTo>
                  <a:pt x="248" y="153"/>
                  <a:pt x="288" y="193"/>
                  <a:pt x="288" y="243"/>
                </a:cubicBezTo>
                <a:cubicBezTo>
                  <a:pt x="288" y="243"/>
                  <a:pt x="288" y="254"/>
                  <a:pt x="288" y="264"/>
                </a:cubicBezTo>
                <a:cubicBezTo>
                  <a:pt x="274" y="264"/>
                  <a:pt x="248" y="264"/>
                  <a:pt x="234" y="264"/>
                </a:cubicBezTo>
                <a:cubicBezTo>
                  <a:pt x="234" y="254"/>
                  <a:pt x="234" y="243"/>
                  <a:pt x="234" y="243"/>
                </a:cubicBezTo>
                <a:cubicBezTo>
                  <a:pt x="234" y="223"/>
                  <a:pt x="218" y="207"/>
                  <a:pt x="198" y="207"/>
                </a:cubicBezTo>
                <a:cubicBezTo>
                  <a:pt x="12" y="207"/>
                  <a:pt x="12" y="207"/>
                  <a:pt x="12" y="207"/>
                </a:cubicBezTo>
                <a:cubicBezTo>
                  <a:pt x="5" y="207"/>
                  <a:pt x="0" y="213"/>
                  <a:pt x="0" y="220"/>
                </a:cubicBezTo>
                <a:cubicBezTo>
                  <a:pt x="0" y="227"/>
                  <a:pt x="5" y="232"/>
                  <a:pt x="12" y="232"/>
                </a:cubicBezTo>
                <a:cubicBezTo>
                  <a:pt x="198" y="232"/>
                  <a:pt x="198" y="232"/>
                  <a:pt x="198" y="232"/>
                </a:cubicBezTo>
                <a:cubicBezTo>
                  <a:pt x="204" y="232"/>
                  <a:pt x="209" y="237"/>
                  <a:pt x="209" y="243"/>
                </a:cubicBezTo>
                <a:cubicBezTo>
                  <a:pt x="209" y="243"/>
                  <a:pt x="209" y="276"/>
                  <a:pt x="209" y="276"/>
                </a:cubicBezTo>
                <a:cubicBezTo>
                  <a:pt x="209" y="283"/>
                  <a:pt x="215" y="288"/>
                  <a:pt x="221" y="288"/>
                </a:cubicBezTo>
                <a:cubicBezTo>
                  <a:pt x="301" y="288"/>
                  <a:pt x="301" y="288"/>
                  <a:pt x="301" y="288"/>
                </a:cubicBezTo>
                <a:cubicBezTo>
                  <a:pt x="307" y="288"/>
                  <a:pt x="313" y="283"/>
                  <a:pt x="313" y="276"/>
                </a:cubicBezTo>
                <a:cubicBezTo>
                  <a:pt x="313" y="243"/>
                  <a:pt x="313" y="243"/>
                  <a:pt x="313" y="243"/>
                </a:cubicBezTo>
                <a:cubicBezTo>
                  <a:pt x="313" y="180"/>
                  <a:pt x="261" y="128"/>
                  <a:pt x="198" y="128"/>
                </a:cubicBezTo>
                <a:cubicBezTo>
                  <a:pt x="198" y="128"/>
                  <a:pt x="179" y="128"/>
                  <a:pt x="165" y="128"/>
                </a:cubicBezTo>
                <a:cubicBezTo>
                  <a:pt x="165" y="115"/>
                  <a:pt x="165" y="94"/>
                  <a:pt x="165" y="80"/>
                </a:cubicBezTo>
                <a:cubicBezTo>
                  <a:pt x="177" y="80"/>
                  <a:pt x="192" y="80"/>
                  <a:pt x="192" y="80"/>
                </a:cubicBezTo>
                <a:cubicBezTo>
                  <a:pt x="214" y="80"/>
                  <a:pt x="232" y="63"/>
                  <a:pt x="232" y="40"/>
                </a:cubicBezTo>
                <a:cubicBezTo>
                  <a:pt x="232" y="18"/>
                  <a:pt x="214" y="0"/>
                  <a:pt x="192" y="0"/>
                </a:cubicBezTo>
                <a:cubicBezTo>
                  <a:pt x="192" y="0"/>
                  <a:pt x="74" y="0"/>
                  <a:pt x="74" y="0"/>
                </a:cubicBezTo>
                <a:cubicBezTo>
                  <a:pt x="52" y="0"/>
                  <a:pt x="34" y="18"/>
                  <a:pt x="34" y="40"/>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03" name="TextBox 302"/>
          <p:cNvSpPr txBox="1"/>
          <p:nvPr userDrawn="1"/>
        </p:nvSpPr>
        <p:spPr>
          <a:xfrm>
            <a:off x="2961609" y="3213500"/>
            <a:ext cx="816603"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Water &amp; </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waste water</a:t>
            </a:r>
          </a:p>
        </p:txBody>
      </p:sp>
      <p:sp>
        <p:nvSpPr>
          <p:cNvPr id="304" name="Freeform 120"/>
          <p:cNvSpPr>
            <a:spLocks noChangeAspect="1"/>
          </p:cNvSpPr>
          <p:nvPr userDrawn="1"/>
        </p:nvSpPr>
        <p:spPr bwMode="auto">
          <a:xfrm>
            <a:off x="3897120" y="2253704"/>
            <a:ext cx="355355" cy="272211"/>
          </a:xfrm>
          <a:custGeom>
            <a:avLst/>
            <a:gdLst/>
            <a:ahLst/>
            <a:cxnLst>
              <a:cxn ang="0">
                <a:pos x="344" y="10"/>
              </a:cxn>
              <a:cxn ang="0">
                <a:pos x="334" y="27"/>
              </a:cxn>
              <a:cxn ang="0">
                <a:pos x="160" y="118"/>
              </a:cxn>
              <a:cxn ang="0">
                <a:pos x="55" y="128"/>
              </a:cxn>
              <a:cxn ang="0">
                <a:pos x="35" y="237"/>
              </a:cxn>
              <a:cxn ang="0">
                <a:pos x="97" y="259"/>
              </a:cxn>
              <a:cxn ang="0">
                <a:pos x="34" y="263"/>
              </a:cxn>
              <a:cxn ang="0">
                <a:pos x="34" y="333"/>
              </a:cxn>
              <a:cxn ang="0">
                <a:pos x="292" y="298"/>
              </a:cxn>
              <a:cxn ang="0">
                <a:pos x="201" y="263"/>
              </a:cxn>
              <a:cxn ang="0">
                <a:pos x="204" y="259"/>
              </a:cxn>
              <a:cxn ang="0">
                <a:pos x="217" y="167"/>
              </a:cxn>
              <a:cxn ang="0">
                <a:pos x="269" y="106"/>
              </a:cxn>
              <a:cxn ang="0">
                <a:pos x="350" y="73"/>
              </a:cxn>
              <a:cxn ang="0">
                <a:pos x="333" y="60"/>
              </a:cxn>
              <a:cxn ang="0">
                <a:pos x="259" y="81"/>
              </a:cxn>
              <a:cxn ang="0">
                <a:pos x="198" y="142"/>
              </a:cxn>
              <a:cxn ang="0">
                <a:pos x="189" y="166"/>
              </a:cxn>
              <a:cxn ang="0">
                <a:pos x="198" y="232"/>
              </a:cxn>
              <a:cxn ang="0">
                <a:pos x="175" y="246"/>
              </a:cxn>
              <a:cxn ang="0">
                <a:pos x="188" y="290"/>
              </a:cxn>
              <a:cxn ang="0">
                <a:pos x="265" y="298"/>
              </a:cxn>
              <a:cxn ang="0">
                <a:pos x="34" y="306"/>
              </a:cxn>
              <a:cxn ang="0">
                <a:pos x="34" y="290"/>
              </a:cxn>
              <a:cxn ang="0">
                <a:pos x="123" y="277"/>
              </a:cxn>
              <a:cxn ang="0">
                <a:pos x="110" y="232"/>
              </a:cxn>
              <a:cxn ang="0">
                <a:pos x="61" y="155"/>
              </a:cxn>
              <a:cxn ang="0">
                <a:pos x="181" y="145"/>
              </a:cxn>
              <a:cxn ang="0">
                <a:pos x="233" y="77"/>
              </a:cxn>
              <a:cxn ang="0">
                <a:pos x="348" y="50"/>
              </a:cxn>
              <a:cxn ang="0">
                <a:pos x="354" y="45"/>
              </a:cxn>
              <a:cxn ang="0">
                <a:pos x="371" y="41"/>
              </a:cxn>
              <a:cxn ang="0">
                <a:pos x="388" y="175"/>
              </a:cxn>
              <a:cxn ang="0">
                <a:pos x="405" y="190"/>
              </a:cxn>
              <a:cxn ang="0">
                <a:pos x="404" y="201"/>
              </a:cxn>
              <a:cxn ang="0">
                <a:pos x="394" y="209"/>
              </a:cxn>
              <a:cxn ang="0">
                <a:pos x="330" y="245"/>
              </a:cxn>
              <a:cxn ang="0">
                <a:pos x="348" y="257"/>
              </a:cxn>
              <a:cxn ang="0">
                <a:pos x="403" y="234"/>
              </a:cxn>
              <a:cxn ang="0">
                <a:pos x="433" y="194"/>
              </a:cxn>
              <a:cxn ang="0">
                <a:pos x="411" y="156"/>
              </a:cxn>
              <a:cxn ang="0">
                <a:pos x="406" y="154"/>
              </a:cxn>
              <a:cxn ang="0">
                <a:pos x="393" y="25"/>
              </a:cxn>
              <a:cxn ang="0">
                <a:pos x="374" y="6"/>
              </a:cxn>
            </a:cxnLst>
            <a:rect l="0" t="0" r="r" b="b"/>
            <a:pathLst>
              <a:path w="433" h="333">
                <a:moveTo>
                  <a:pt x="358" y="0"/>
                </a:moveTo>
                <a:cubicBezTo>
                  <a:pt x="351" y="1"/>
                  <a:pt x="346" y="6"/>
                  <a:pt x="344" y="10"/>
                </a:cubicBezTo>
                <a:cubicBezTo>
                  <a:pt x="344" y="10"/>
                  <a:pt x="345" y="9"/>
                  <a:pt x="345" y="9"/>
                </a:cubicBezTo>
                <a:cubicBezTo>
                  <a:pt x="345" y="9"/>
                  <a:pt x="337" y="21"/>
                  <a:pt x="334" y="27"/>
                </a:cubicBezTo>
                <a:cubicBezTo>
                  <a:pt x="325" y="29"/>
                  <a:pt x="227" y="51"/>
                  <a:pt x="227" y="51"/>
                </a:cubicBezTo>
                <a:cubicBezTo>
                  <a:pt x="192" y="60"/>
                  <a:pt x="169" y="82"/>
                  <a:pt x="160" y="118"/>
                </a:cubicBezTo>
                <a:cubicBezTo>
                  <a:pt x="160" y="118"/>
                  <a:pt x="159" y="123"/>
                  <a:pt x="157" y="128"/>
                </a:cubicBezTo>
                <a:cubicBezTo>
                  <a:pt x="140" y="128"/>
                  <a:pt x="55" y="128"/>
                  <a:pt x="55" y="128"/>
                </a:cubicBezTo>
                <a:cubicBezTo>
                  <a:pt x="44" y="128"/>
                  <a:pt x="35" y="137"/>
                  <a:pt x="35" y="148"/>
                </a:cubicBezTo>
                <a:cubicBezTo>
                  <a:pt x="35" y="148"/>
                  <a:pt x="35" y="237"/>
                  <a:pt x="35" y="237"/>
                </a:cubicBezTo>
                <a:cubicBezTo>
                  <a:pt x="35" y="249"/>
                  <a:pt x="44" y="259"/>
                  <a:pt x="56" y="259"/>
                </a:cubicBezTo>
                <a:cubicBezTo>
                  <a:pt x="56" y="259"/>
                  <a:pt x="82" y="259"/>
                  <a:pt x="97" y="259"/>
                </a:cubicBezTo>
                <a:cubicBezTo>
                  <a:pt x="97" y="261"/>
                  <a:pt x="97" y="261"/>
                  <a:pt x="97" y="263"/>
                </a:cubicBezTo>
                <a:cubicBezTo>
                  <a:pt x="78" y="263"/>
                  <a:pt x="34" y="263"/>
                  <a:pt x="34" y="263"/>
                </a:cubicBezTo>
                <a:cubicBezTo>
                  <a:pt x="15" y="263"/>
                  <a:pt x="0" y="279"/>
                  <a:pt x="0" y="298"/>
                </a:cubicBezTo>
                <a:cubicBezTo>
                  <a:pt x="0" y="317"/>
                  <a:pt x="15" y="333"/>
                  <a:pt x="34" y="333"/>
                </a:cubicBezTo>
                <a:cubicBezTo>
                  <a:pt x="257" y="333"/>
                  <a:pt x="257" y="333"/>
                  <a:pt x="257" y="333"/>
                </a:cubicBezTo>
                <a:cubicBezTo>
                  <a:pt x="277" y="333"/>
                  <a:pt x="292" y="317"/>
                  <a:pt x="292" y="298"/>
                </a:cubicBezTo>
                <a:cubicBezTo>
                  <a:pt x="292" y="279"/>
                  <a:pt x="277" y="263"/>
                  <a:pt x="257" y="263"/>
                </a:cubicBezTo>
                <a:cubicBezTo>
                  <a:pt x="257" y="263"/>
                  <a:pt x="219" y="263"/>
                  <a:pt x="201" y="263"/>
                </a:cubicBezTo>
                <a:cubicBezTo>
                  <a:pt x="201" y="261"/>
                  <a:pt x="201" y="261"/>
                  <a:pt x="201" y="259"/>
                </a:cubicBezTo>
                <a:cubicBezTo>
                  <a:pt x="202" y="259"/>
                  <a:pt x="204" y="259"/>
                  <a:pt x="204" y="259"/>
                </a:cubicBezTo>
                <a:cubicBezTo>
                  <a:pt x="216" y="259"/>
                  <a:pt x="225" y="250"/>
                  <a:pt x="225" y="239"/>
                </a:cubicBezTo>
                <a:cubicBezTo>
                  <a:pt x="225" y="209"/>
                  <a:pt x="222" y="185"/>
                  <a:pt x="217" y="167"/>
                </a:cubicBezTo>
                <a:cubicBezTo>
                  <a:pt x="219" y="162"/>
                  <a:pt x="223" y="151"/>
                  <a:pt x="223" y="151"/>
                </a:cubicBezTo>
                <a:cubicBezTo>
                  <a:pt x="230" y="130"/>
                  <a:pt x="246" y="115"/>
                  <a:pt x="269" y="106"/>
                </a:cubicBezTo>
                <a:cubicBezTo>
                  <a:pt x="270" y="105"/>
                  <a:pt x="341" y="85"/>
                  <a:pt x="341" y="85"/>
                </a:cubicBezTo>
                <a:cubicBezTo>
                  <a:pt x="347" y="84"/>
                  <a:pt x="350" y="78"/>
                  <a:pt x="350" y="73"/>
                </a:cubicBezTo>
                <a:cubicBezTo>
                  <a:pt x="350" y="71"/>
                  <a:pt x="350" y="70"/>
                  <a:pt x="350" y="69"/>
                </a:cubicBezTo>
                <a:cubicBezTo>
                  <a:pt x="348" y="62"/>
                  <a:pt x="341" y="58"/>
                  <a:pt x="333" y="60"/>
                </a:cubicBezTo>
                <a:cubicBezTo>
                  <a:pt x="260" y="80"/>
                  <a:pt x="260" y="80"/>
                  <a:pt x="260" y="80"/>
                </a:cubicBezTo>
                <a:cubicBezTo>
                  <a:pt x="260" y="80"/>
                  <a:pt x="260" y="81"/>
                  <a:pt x="259" y="81"/>
                </a:cubicBezTo>
                <a:cubicBezTo>
                  <a:pt x="229" y="93"/>
                  <a:pt x="208" y="114"/>
                  <a:pt x="198" y="142"/>
                </a:cubicBezTo>
                <a:cubicBezTo>
                  <a:pt x="198" y="142"/>
                  <a:pt x="198" y="142"/>
                  <a:pt x="198" y="142"/>
                </a:cubicBezTo>
                <a:cubicBezTo>
                  <a:pt x="190" y="162"/>
                  <a:pt x="190" y="162"/>
                  <a:pt x="190" y="162"/>
                </a:cubicBezTo>
                <a:cubicBezTo>
                  <a:pt x="190" y="163"/>
                  <a:pt x="189" y="165"/>
                  <a:pt x="189" y="166"/>
                </a:cubicBezTo>
                <a:cubicBezTo>
                  <a:pt x="189" y="168"/>
                  <a:pt x="190" y="169"/>
                  <a:pt x="190" y="171"/>
                </a:cubicBezTo>
                <a:cubicBezTo>
                  <a:pt x="195" y="185"/>
                  <a:pt x="197" y="206"/>
                  <a:pt x="198" y="232"/>
                </a:cubicBezTo>
                <a:cubicBezTo>
                  <a:pt x="193" y="232"/>
                  <a:pt x="188" y="232"/>
                  <a:pt x="188" y="232"/>
                </a:cubicBezTo>
                <a:cubicBezTo>
                  <a:pt x="181" y="232"/>
                  <a:pt x="175" y="238"/>
                  <a:pt x="175" y="246"/>
                </a:cubicBezTo>
                <a:cubicBezTo>
                  <a:pt x="175" y="277"/>
                  <a:pt x="175" y="277"/>
                  <a:pt x="175" y="277"/>
                </a:cubicBezTo>
                <a:cubicBezTo>
                  <a:pt x="175" y="284"/>
                  <a:pt x="181" y="290"/>
                  <a:pt x="188" y="290"/>
                </a:cubicBezTo>
                <a:cubicBezTo>
                  <a:pt x="257" y="290"/>
                  <a:pt x="257" y="290"/>
                  <a:pt x="257" y="290"/>
                </a:cubicBezTo>
                <a:cubicBezTo>
                  <a:pt x="262" y="290"/>
                  <a:pt x="265" y="294"/>
                  <a:pt x="265" y="298"/>
                </a:cubicBezTo>
                <a:cubicBezTo>
                  <a:pt x="265" y="303"/>
                  <a:pt x="262" y="306"/>
                  <a:pt x="257" y="306"/>
                </a:cubicBezTo>
                <a:cubicBezTo>
                  <a:pt x="34" y="306"/>
                  <a:pt x="34" y="306"/>
                  <a:pt x="34" y="306"/>
                </a:cubicBezTo>
                <a:cubicBezTo>
                  <a:pt x="30" y="306"/>
                  <a:pt x="26" y="303"/>
                  <a:pt x="26" y="298"/>
                </a:cubicBezTo>
                <a:cubicBezTo>
                  <a:pt x="26" y="294"/>
                  <a:pt x="30" y="290"/>
                  <a:pt x="34" y="290"/>
                </a:cubicBezTo>
                <a:cubicBezTo>
                  <a:pt x="110" y="290"/>
                  <a:pt x="110" y="290"/>
                  <a:pt x="110" y="290"/>
                </a:cubicBezTo>
                <a:cubicBezTo>
                  <a:pt x="117" y="290"/>
                  <a:pt x="123" y="284"/>
                  <a:pt x="123" y="277"/>
                </a:cubicBezTo>
                <a:cubicBezTo>
                  <a:pt x="123" y="246"/>
                  <a:pt x="123" y="246"/>
                  <a:pt x="123" y="246"/>
                </a:cubicBezTo>
                <a:cubicBezTo>
                  <a:pt x="123" y="238"/>
                  <a:pt x="117" y="232"/>
                  <a:pt x="110" y="232"/>
                </a:cubicBezTo>
                <a:cubicBezTo>
                  <a:pt x="110" y="232"/>
                  <a:pt x="69" y="232"/>
                  <a:pt x="61" y="232"/>
                </a:cubicBezTo>
                <a:cubicBezTo>
                  <a:pt x="61" y="218"/>
                  <a:pt x="61" y="172"/>
                  <a:pt x="61" y="155"/>
                </a:cubicBezTo>
                <a:cubicBezTo>
                  <a:pt x="73" y="155"/>
                  <a:pt x="168" y="155"/>
                  <a:pt x="168" y="155"/>
                </a:cubicBezTo>
                <a:cubicBezTo>
                  <a:pt x="174" y="155"/>
                  <a:pt x="179" y="151"/>
                  <a:pt x="181" y="145"/>
                </a:cubicBezTo>
                <a:cubicBezTo>
                  <a:pt x="186" y="125"/>
                  <a:pt x="186" y="125"/>
                  <a:pt x="186" y="125"/>
                </a:cubicBezTo>
                <a:cubicBezTo>
                  <a:pt x="193" y="98"/>
                  <a:pt x="208" y="83"/>
                  <a:pt x="233" y="77"/>
                </a:cubicBezTo>
                <a:cubicBezTo>
                  <a:pt x="233" y="77"/>
                  <a:pt x="345" y="51"/>
                  <a:pt x="345" y="51"/>
                </a:cubicBezTo>
                <a:cubicBezTo>
                  <a:pt x="346" y="51"/>
                  <a:pt x="347" y="51"/>
                  <a:pt x="348" y="50"/>
                </a:cubicBezTo>
                <a:cubicBezTo>
                  <a:pt x="349" y="49"/>
                  <a:pt x="349" y="49"/>
                  <a:pt x="349" y="49"/>
                </a:cubicBezTo>
                <a:cubicBezTo>
                  <a:pt x="351" y="48"/>
                  <a:pt x="352" y="47"/>
                  <a:pt x="354" y="45"/>
                </a:cubicBezTo>
                <a:cubicBezTo>
                  <a:pt x="354" y="45"/>
                  <a:pt x="358" y="38"/>
                  <a:pt x="362" y="32"/>
                </a:cubicBezTo>
                <a:cubicBezTo>
                  <a:pt x="366" y="36"/>
                  <a:pt x="368" y="38"/>
                  <a:pt x="371" y="41"/>
                </a:cubicBezTo>
                <a:cubicBezTo>
                  <a:pt x="372" y="50"/>
                  <a:pt x="380" y="164"/>
                  <a:pt x="380" y="164"/>
                </a:cubicBezTo>
                <a:cubicBezTo>
                  <a:pt x="381" y="169"/>
                  <a:pt x="384" y="173"/>
                  <a:pt x="388" y="175"/>
                </a:cubicBezTo>
                <a:cubicBezTo>
                  <a:pt x="388" y="175"/>
                  <a:pt x="399" y="180"/>
                  <a:pt x="400" y="180"/>
                </a:cubicBezTo>
                <a:cubicBezTo>
                  <a:pt x="402" y="181"/>
                  <a:pt x="403" y="184"/>
                  <a:pt x="405" y="190"/>
                </a:cubicBezTo>
                <a:cubicBezTo>
                  <a:pt x="406" y="191"/>
                  <a:pt x="406" y="193"/>
                  <a:pt x="406" y="194"/>
                </a:cubicBezTo>
                <a:cubicBezTo>
                  <a:pt x="406" y="196"/>
                  <a:pt x="405" y="199"/>
                  <a:pt x="404" y="201"/>
                </a:cubicBezTo>
                <a:cubicBezTo>
                  <a:pt x="402" y="205"/>
                  <a:pt x="399" y="208"/>
                  <a:pt x="395" y="209"/>
                </a:cubicBezTo>
                <a:cubicBezTo>
                  <a:pt x="395" y="209"/>
                  <a:pt x="394" y="209"/>
                  <a:pt x="394" y="209"/>
                </a:cubicBezTo>
                <a:cubicBezTo>
                  <a:pt x="338" y="232"/>
                  <a:pt x="338" y="232"/>
                  <a:pt x="338" y="232"/>
                </a:cubicBezTo>
                <a:cubicBezTo>
                  <a:pt x="333" y="234"/>
                  <a:pt x="330" y="239"/>
                  <a:pt x="330" y="245"/>
                </a:cubicBezTo>
                <a:cubicBezTo>
                  <a:pt x="330" y="246"/>
                  <a:pt x="330" y="248"/>
                  <a:pt x="331" y="250"/>
                </a:cubicBezTo>
                <a:cubicBezTo>
                  <a:pt x="334" y="256"/>
                  <a:pt x="341" y="260"/>
                  <a:pt x="348" y="257"/>
                </a:cubicBezTo>
                <a:cubicBezTo>
                  <a:pt x="404" y="234"/>
                  <a:pt x="404" y="234"/>
                  <a:pt x="404" y="234"/>
                </a:cubicBezTo>
                <a:cubicBezTo>
                  <a:pt x="404" y="234"/>
                  <a:pt x="404" y="234"/>
                  <a:pt x="403" y="234"/>
                </a:cubicBezTo>
                <a:cubicBezTo>
                  <a:pt x="414" y="231"/>
                  <a:pt x="423" y="223"/>
                  <a:pt x="428" y="213"/>
                </a:cubicBezTo>
                <a:cubicBezTo>
                  <a:pt x="431" y="207"/>
                  <a:pt x="433" y="200"/>
                  <a:pt x="433" y="194"/>
                </a:cubicBezTo>
                <a:cubicBezTo>
                  <a:pt x="433" y="190"/>
                  <a:pt x="432" y="186"/>
                  <a:pt x="431" y="182"/>
                </a:cubicBezTo>
                <a:cubicBezTo>
                  <a:pt x="428" y="173"/>
                  <a:pt x="423" y="162"/>
                  <a:pt x="411" y="156"/>
                </a:cubicBezTo>
                <a:cubicBezTo>
                  <a:pt x="411" y="156"/>
                  <a:pt x="411" y="156"/>
                  <a:pt x="411" y="156"/>
                </a:cubicBezTo>
                <a:cubicBezTo>
                  <a:pt x="411" y="156"/>
                  <a:pt x="408" y="155"/>
                  <a:pt x="406" y="154"/>
                </a:cubicBezTo>
                <a:cubicBezTo>
                  <a:pt x="405" y="140"/>
                  <a:pt x="398" y="33"/>
                  <a:pt x="398" y="33"/>
                </a:cubicBezTo>
                <a:cubicBezTo>
                  <a:pt x="397" y="30"/>
                  <a:pt x="396" y="27"/>
                  <a:pt x="393" y="25"/>
                </a:cubicBezTo>
                <a:cubicBezTo>
                  <a:pt x="374" y="6"/>
                  <a:pt x="374" y="6"/>
                  <a:pt x="374" y="6"/>
                </a:cubicBezTo>
                <a:cubicBezTo>
                  <a:pt x="374" y="6"/>
                  <a:pt x="374" y="6"/>
                  <a:pt x="374" y="6"/>
                </a:cubicBezTo>
                <a:cubicBezTo>
                  <a:pt x="368" y="0"/>
                  <a:pt x="361" y="0"/>
                  <a:pt x="358" y="0"/>
                </a:cubicBezTo>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05" name="TextBox 304"/>
          <p:cNvSpPr txBox="1"/>
          <p:nvPr userDrawn="1"/>
        </p:nvSpPr>
        <p:spPr>
          <a:xfrm>
            <a:off x="3677875" y="2597682"/>
            <a:ext cx="795940" cy="184666"/>
          </a:xfrm>
          <a:prstGeom prst="rect">
            <a:avLst/>
          </a:prstGeom>
          <a:noFill/>
        </p:spPr>
        <p:txBody>
          <a:bodyPr wrap="square" lIns="0" tIns="0" rIns="0" bIns="0" rtlCol="0" anchor="t" anchorCtr="0">
            <a:spAutoFit/>
          </a:bodyPr>
          <a:lstStyle/>
          <a:p>
            <a:pPr algn="ctr"/>
            <a:r>
              <a:rPr lang="en-US" sz="600" b="1" dirty="0">
                <a:solidFill>
                  <a:schemeClr val="bg1"/>
                </a:solidFill>
                <a:latin typeface="Arial" pitchFamily="34" charset="0"/>
                <a:cs typeface="Arial" pitchFamily="34" charset="0"/>
              </a:rPr>
              <a:t>Mining, minerals</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amp; metals</a:t>
            </a:r>
          </a:p>
        </p:txBody>
      </p:sp>
      <p:sp>
        <p:nvSpPr>
          <p:cNvPr id="306" name="Freeform 112"/>
          <p:cNvSpPr>
            <a:spLocks noChangeAspect="1"/>
          </p:cNvSpPr>
          <p:nvPr userDrawn="1"/>
        </p:nvSpPr>
        <p:spPr bwMode="auto">
          <a:xfrm>
            <a:off x="3173713" y="1646520"/>
            <a:ext cx="375206" cy="294894"/>
          </a:xfrm>
          <a:custGeom>
            <a:avLst/>
            <a:gdLst/>
            <a:ahLst/>
            <a:cxnLst>
              <a:cxn ang="0">
                <a:pos x="49" y="5"/>
              </a:cxn>
              <a:cxn ang="0">
                <a:pos x="32" y="98"/>
              </a:cxn>
              <a:cxn ang="0">
                <a:pos x="0" y="335"/>
              </a:cxn>
              <a:cxn ang="0">
                <a:pos x="26" y="335"/>
              </a:cxn>
              <a:cxn ang="0">
                <a:pos x="58" y="107"/>
              </a:cxn>
              <a:cxn ang="0">
                <a:pos x="59" y="34"/>
              </a:cxn>
              <a:cxn ang="0">
                <a:pos x="78" y="27"/>
              </a:cxn>
              <a:cxn ang="0">
                <a:pos x="95" y="29"/>
              </a:cxn>
              <a:cxn ang="0">
                <a:pos x="97" y="101"/>
              </a:cxn>
              <a:cxn ang="0">
                <a:pos x="130" y="183"/>
              </a:cxn>
              <a:cxn ang="0">
                <a:pos x="143" y="349"/>
              </a:cxn>
              <a:cxn ang="0">
                <a:pos x="283" y="338"/>
              </a:cxn>
              <a:cxn ang="0">
                <a:pos x="275" y="323"/>
              </a:cxn>
              <a:cxn ang="0">
                <a:pos x="235" y="256"/>
              </a:cxn>
              <a:cxn ang="0">
                <a:pos x="302" y="173"/>
              </a:cxn>
              <a:cxn ang="0">
                <a:pos x="302" y="163"/>
              </a:cxn>
              <a:cxn ang="0">
                <a:pos x="299" y="116"/>
              </a:cxn>
              <a:cxn ang="0">
                <a:pos x="322" y="154"/>
              </a:cxn>
              <a:cxn ang="0">
                <a:pos x="366" y="129"/>
              </a:cxn>
              <a:cxn ang="0">
                <a:pos x="378" y="151"/>
              </a:cxn>
              <a:cxn ang="0">
                <a:pos x="349" y="172"/>
              </a:cxn>
              <a:cxn ang="0">
                <a:pos x="357" y="184"/>
              </a:cxn>
              <a:cxn ang="0">
                <a:pos x="390" y="303"/>
              </a:cxn>
              <a:cxn ang="0">
                <a:pos x="358" y="335"/>
              </a:cxn>
              <a:cxn ang="0">
                <a:pos x="378" y="347"/>
              </a:cxn>
              <a:cxn ang="0">
                <a:pos x="433" y="256"/>
              </a:cxn>
              <a:cxn ang="0">
                <a:pos x="446" y="113"/>
              </a:cxn>
              <a:cxn ang="0">
                <a:pos x="445" y="102"/>
              </a:cxn>
              <a:cxn ang="0">
                <a:pos x="354" y="106"/>
              </a:cxn>
              <a:cxn ang="0">
                <a:pos x="314" y="92"/>
              </a:cxn>
              <a:cxn ang="0">
                <a:pos x="251" y="102"/>
              </a:cxn>
              <a:cxn ang="0">
                <a:pos x="242" y="115"/>
              </a:cxn>
              <a:cxn ang="0">
                <a:pos x="272" y="160"/>
              </a:cxn>
              <a:cxn ang="0">
                <a:pos x="208" y="256"/>
              </a:cxn>
              <a:cxn ang="0">
                <a:pos x="232" y="322"/>
              </a:cxn>
              <a:cxn ang="0">
                <a:pos x="157" y="183"/>
              </a:cxn>
              <a:cxn ang="0">
                <a:pos x="124" y="34"/>
              </a:cxn>
              <a:cxn ang="0">
                <a:pos x="79" y="0"/>
              </a:cxn>
            </a:cxnLst>
            <a:rect l="0" t="0" r="r" b="b"/>
            <a:pathLst>
              <a:path w="447" h="351">
                <a:moveTo>
                  <a:pt x="78" y="0"/>
                </a:moveTo>
                <a:cubicBezTo>
                  <a:pt x="69" y="0"/>
                  <a:pt x="58" y="1"/>
                  <a:pt x="49" y="5"/>
                </a:cubicBezTo>
                <a:cubicBezTo>
                  <a:pt x="38" y="11"/>
                  <a:pt x="32" y="21"/>
                  <a:pt x="32" y="34"/>
                </a:cubicBezTo>
                <a:cubicBezTo>
                  <a:pt x="32" y="34"/>
                  <a:pt x="32" y="92"/>
                  <a:pt x="32" y="98"/>
                </a:cubicBezTo>
                <a:cubicBezTo>
                  <a:pt x="23" y="116"/>
                  <a:pt x="0" y="165"/>
                  <a:pt x="0" y="183"/>
                </a:cubicBezTo>
                <a:cubicBezTo>
                  <a:pt x="0" y="335"/>
                  <a:pt x="0" y="335"/>
                  <a:pt x="0" y="335"/>
                </a:cubicBezTo>
                <a:cubicBezTo>
                  <a:pt x="0" y="343"/>
                  <a:pt x="6" y="349"/>
                  <a:pt x="13" y="349"/>
                </a:cubicBezTo>
                <a:cubicBezTo>
                  <a:pt x="20" y="349"/>
                  <a:pt x="26" y="343"/>
                  <a:pt x="26" y="335"/>
                </a:cubicBezTo>
                <a:cubicBezTo>
                  <a:pt x="26" y="183"/>
                  <a:pt x="26" y="183"/>
                  <a:pt x="26" y="183"/>
                </a:cubicBezTo>
                <a:cubicBezTo>
                  <a:pt x="26" y="175"/>
                  <a:pt x="42" y="137"/>
                  <a:pt x="58" y="107"/>
                </a:cubicBezTo>
                <a:cubicBezTo>
                  <a:pt x="58" y="105"/>
                  <a:pt x="59" y="103"/>
                  <a:pt x="59" y="101"/>
                </a:cubicBezTo>
                <a:cubicBezTo>
                  <a:pt x="59" y="34"/>
                  <a:pt x="59" y="34"/>
                  <a:pt x="59" y="34"/>
                </a:cubicBezTo>
                <a:cubicBezTo>
                  <a:pt x="59" y="30"/>
                  <a:pt x="60" y="29"/>
                  <a:pt x="61" y="29"/>
                </a:cubicBezTo>
                <a:cubicBezTo>
                  <a:pt x="64" y="27"/>
                  <a:pt x="70" y="27"/>
                  <a:pt x="78" y="27"/>
                </a:cubicBezTo>
                <a:cubicBezTo>
                  <a:pt x="79" y="27"/>
                  <a:pt x="79" y="27"/>
                  <a:pt x="79" y="27"/>
                </a:cubicBezTo>
                <a:cubicBezTo>
                  <a:pt x="87" y="27"/>
                  <a:pt x="92" y="27"/>
                  <a:pt x="95" y="29"/>
                </a:cubicBezTo>
                <a:cubicBezTo>
                  <a:pt x="96" y="29"/>
                  <a:pt x="97" y="30"/>
                  <a:pt x="97" y="34"/>
                </a:cubicBezTo>
                <a:cubicBezTo>
                  <a:pt x="97" y="101"/>
                  <a:pt x="97" y="101"/>
                  <a:pt x="97" y="101"/>
                </a:cubicBezTo>
                <a:cubicBezTo>
                  <a:pt x="97" y="103"/>
                  <a:pt x="98" y="105"/>
                  <a:pt x="99" y="107"/>
                </a:cubicBezTo>
                <a:cubicBezTo>
                  <a:pt x="114" y="137"/>
                  <a:pt x="130" y="175"/>
                  <a:pt x="130" y="183"/>
                </a:cubicBezTo>
                <a:cubicBezTo>
                  <a:pt x="130" y="335"/>
                  <a:pt x="130" y="335"/>
                  <a:pt x="130" y="335"/>
                </a:cubicBezTo>
                <a:cubicBezTo>
                  <a:pt x="130" y="343"/>
                  <a:pt x="136" y="349"/>
                  <a:pt x="143" y="349"/>
                </a:cubicBezTo>
                <a:cubicBezTo>
                  <a:pt x="270" y="349"/>
                  <a:pt x="270" y="349"/>
                  <a:pt x="270" y="349"/>
                </a:cubicBezTo>
                <a:cubicBezTo>
                  <a:pt x="276" y="349"/>
                  <a:pt x="282" y="344"/>
                  <a:pt x="283" y="338"/>
                </a:cubicBezTo>
                <a:cubicBezTo>
                  <a:pt x="283" y="337"/>
                  <a:pt x="283" y="336"/>
                  <a:pt x="283" y="335"/>
                </a:cubicBezTo>
                <a:cubicBezTo>
                  <a:pt x="283" y="330"/>
                  <a:pt x="280" y="325"/>
                  <a:pt x="275" y="323"/>
                </a:cubicBezTo>
                <a:cubicBezTo>
                  <a:pt x="274" y="323"/>
                  <a:pt x="253" y="314"/>
                  <a:pt x="241" y="286"/>
                </a:cubicBezTo>
                <a:cubicBezTo>
                  <a:pt x="237" y="276"/>
                  <a:pt x="235" y="266"/>
                  <a:pt x="235" y="256"/>
                </a:cubicBezTo>
                <a:cubicBezTo>
                  <a:pt x="235" y="221"/>
                  <a:pt x="259" y="191"/>
                  <a:pt x="294" y="180"/>
                </a:cubicBezTo>
                <a:cubicBezTo>
                  <a:pt x="297" y="179"/>
                  <a:pt x="300" y="177"/>
                  <a:pt x="302" y="173"/>
                </a:cubicBezTo>
                <a:cubicBezTo>
                  <a:pt x="303" y="172"/>
                  <a:pt x="303" y="170"/>
                  <a:pt x="303" y="168"/>
                </a:cubicBezTo>
                <a:cubicBezTo>
                  <a:pt x="303" y="166"/>
                  <a:pt x="303" y="164"/>
                  <a:pt x="302" y="163"/>
                </a:cubicBezTo>
                <a:cubicBezTo>
                  <a:pt x="295" y="144"/>
                  <a:pt x="288" y="133"/>
                  <a:pt x="279" y="122"/>
                </a:cubicBezTo>
                <a:cubicBezTo>
                  <a:pt x="289" y="119"/>
                  <a:pt x="293" y="118"/>
                  <a:pt x="299" y="116"/>
                </a:cubicBezTo>
                <a:cubicBezTo>
                  <a:pt x="303" y="123"/>
                  <a:pt x="309" y="133"/>
                  <a:pt x="313" y="145"/>
                </a:cubicBezTo>
                <a:cubicBezTo>
                  <a:pt x="314" y="150"/>
                  <a:pt x="317" y="153"/>
                  <a:pt x="322" y="154"/>
                </a:cubicBezTo>
                <a:cubicBezTo>
                  <a:pt x="326" y="156"/>
                  <a:pt x="331" y="155"/>
                  <a:pt x="335" y="151"/>
                </a:cubicBezTo>
                <a:cubicBezTo>
                  <a:pt x="343" y="144"/>
                  <a:pt x="354" y="136"/>
                  <a:pt x="366" y="129"/>
                </a:cubicBezTo>
                <a:cubicBezTo>
                  <a:pt x="382" y="121"/>
                  <a:pt x="399" y="119"/>
                  <a:pt x="412" y="119"/>
                </a:cubicBezTo>
                <a:cubicBezTo>
                  <a:pt x="404" y="130"/>
                  <a:pt x="393" y="143"/>
                  <a:pt x="378" y="151"/>
                </a:cubicBezTo>
                <a:cubicBezTo>
                  <a:pt x="371" y="154"/>
                  <a:pt x="365" y="157"/>
                  <a:pt x="358" y="159"/>
                </a:cubicBezTo>
                <a:cubicBezTo>
                  <a:pt x="353" y="161"/>
                  <a:pt x="350" y="166"/>
                  <a:pt x="349" y="172"/>
                </a:cubicBezTo>
                <a:cubicBezTo>
                  <a:pt x="349" y="172"/>
                  <a:pt x="349" y="172"/>
                  <a:pt x="349" y="172"/>
                </a:cubicBezTo>
                <a:cubicBezTo>
                  <a:pt x="349" y="177"/>
                  <a:pt x="353" y="182"/>
                  <a:pt x="357" y="184"/>
                </a:cubicBezTo>
                <a:cubicBezTo>
                  <a:pt x="387" y="197"/>
                  <a:pt x="406" y="225"/>
                  <a:pt x="406" y="256"/>
                </a:cubicBezTo>
                <a:cubicBezTo>
                  <a:pt x="406" y="273"/>
                  <a:pt x="401" y="289"/>
                  <a:pt x="390" y="303"/>
                </a:cubicBezTo>
                <a:cubicBezTo>
                  <a:pt x="383" y="311"/>
                  <a:pt x="375" y="318"/>
                  <a:pt x="365" y="324"/>
                </a:cubicBezTo>
                <a:cubicBezTo>
                  <a:pt x="361" y="326"/>
                  <a:pt x="358" y="331"/>
                  <a:pt x="358" y="335"/>
                </a:cubicBezTo>
                <a:cubicBezTo>
                  <a:pt x="358" y="338"/>
                  <a:pt x="359" y="340"/>
                  <a:pt x="360" y="342"/>
                </a:cubicBezTo>
                <a:cubicBezTo>
                  <a:pt x="364" y="348"/>
                  <a:pt x="372" y="351"/>
                  <a:pt x="378" y="347"/>
                </a:cubicBezTo>
                <a:cubicBezTo>
                  <a:pt x="391" y="340"/>
                  <a:pt x="402" y="330"/>
                  <a:pt x="411" y="319"/>
                </a:cubicBezTo>
                <a:cubicBezTo>
                  <a:pt x="425" y="301"/>
                  <a:pt x="433" y="279"/>
                  <a:pt x="433" y="256"/>
                </a:cubicBezTo>
                <a:cubicBezTo>
                  <a:pt x="433" y="224"/>
                  <a:pt x="417" y="194"/>
                  <a:pt x="391" y="174"/>
                </a:cubicBezTo>
                <a:cubicBezTo>
                  <a:pt x="428" y="154"/>
                  <a:pt x="445" y="115"/>
                  <a:pt x="446" y="113"/>
                </a:cubicBezTo>
                <a:cubicBezTo>
                  <a:pt x="447" y="112"/>
                  <a:pt x="447" y="110"/>
                  <a:pt x="447" y="108"/>
                </a:cubicBezTo>
                <a:cubicBezTo>
                  <a:pt x="447" y="106"/>
                  <a:pt x="446" y="104"/>
                  <a:pt x="445" y="102"/>
                </a:cubicBezTo>
                <a:cubicBezTo>
                  <a:pt x="444" y="98"/>
                  <a:pt x="440" y="96"/>
                  <a:pt x="436" y="95"/>
                </a:cubicBezTo>
                <a:cubicBezTo>
                  <a:pt x="435" y="95"/>
                  <a:pt x="392" y="86"/>
                  <a:pt x="354" y="106"/>
                </a:cubicBezTo>
                <a:cubicBezTo>
                  <a:pt x="346" y="110"/>
                  <a:pt x="338" y="115"/>
                  <a:pt x="331" y="120"/>
                </a:cubicBezTo>
                <a:cubicBezTo>
                  <a:pt x="324" y="104"/>
                  <a:pt x="315" y="93"/>
                  <a:pt x="314" y="92"/>
                </a:cubicBezTo>
                <a:cubicBezTo>
                  <a:pt x="311" y="88"/>
                  <a:pt x="305" y="86"/>
                  <a:pt x="300" y="88"/>
                </a:cubicBezTo>
                <a:cubicBezTo>
                  <a:pt x="251" y="102"/>
                  <a:pt x="251" y="102"/>
                  <a:pt x="251" y="102"/>
                </a:cubicBezTo>
                <a:cubicBezTo>
                  <a:pt x="247" y="104"/>
                  <a:pt x="243" y="107"/>
                  <a:pt x="242" y="112"/>
                </a:cubicBezTo>
                <a:cubicBezTo>
                  <a:pt x="242" y="113"/>
                  <a:pt x="242" y="114"/>
                  <a:pt x="242" y="115"/>
                </a:cubicBezTo>
                <a:cubicBezTo>
                  <a:pt x="242" y="119"/>
                  <a:pt x="243" y="122"/>
                  <a:pt x="245" y="124"/>
                </a:cubicBezTo>
                <a:cubicBezTo>
                  <a:pt x="258" y="138"/>
                  <a:pt x="265" y="145"/>
                  <a:pt x="272" y="160"/>
                </a:cubicBezTo>
                <a:cubicBezTo>
                  <a:pt x="233" y="178"/>
                  <a:pt x="208" y="214"/>
                  <a:pt x="208" y="256"/>
                </a:cubicBezTo>
                <a:cubicBezTo>
                  <a:pt x="208" y="256"/>
                  <a:pt x="208" y="256"/>
                  <a:pt x="208" y="256"/>
                </a:cubicBezTo>
                <a:cubicBezTo>
                  <a:pt x="208" y="269"/>
                  <a:pt x="211" y="283"/>
                  <a:pt x="216" y="296"/>
                </a:cubicBezTo>
                <a:cubicBezTo>
                  <a:pt x="221" y="307"/>
                  <a:pt x="226" y="315"/>
                  <a:pt x="232" y="322"/>
                </a:cubicBezTo>
                <a:cubicBezTo>
                  <a:pt x="206" y="322"/>
                  <a:pt x="172" y="322"/>
                  <a:pt x="157" y="322"/>
                </a:cubicBezTo>
                <a:cubicBezTo>
                  <a:pt x="157" y="300"/>
                  <a:pt x="157" y="183"/>
                  <a:pt x="157" y="183"/>
                </a:cubicBezTo>
                <a:cubicBezTo>
                  <a:pt x="157" y="165"/>
                  <a:pt x="133" y="116"/>
                  <a:pt x="124" y="98"/>
                </a:cubicBezTo>
                <a:cubicBezTo>
                  <a:pt x="124" y="92"/>
                  <a:pt x="124" y="34"/>
                  <a:pt x="124" y="34"/>
                </a:cubicBezTo>
                <a:cubicBezTo>
                  <a:pt x="124" y="21"/>
                  <a:pt x="118" y="11"/>
                  <a:pt x="107" y="5"/>
                </a:cubicBezTo>
                <a:cubicBezTo>
                  <a:pt x="98" y="1"/>
                  <a:pt x="87" y="0"/>
                  <a:pt x="79" y="0"/>
                </a:cubicBezTo>
                <a:lnTo>
                  <a:pt x="78" y="0"/>
                </a:ln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07" name="TextBox 306"/>
          <p:cNvSpPr txBox="1"/>
          <p:nvPr userDrawn="1"/>
        </p:nvSpPr>
        <p:spPr>
          <a:xfrm>
            <a:off x="3173713" y="1979324"/>
            <a:ext cx="392396"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Food &amp;</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beverage</a:t>
            </a:r>
          </a:p>
        </p:txBody>
      </p:sp>
      <p:sp>
        <p:nvSpPr>
          <p:cNvPr id="308" name="Freeform 108"/>
          <p:cNvSpPr>
            <a:spLocks noChangeAspect="1"/>
          </p:cNvSpPr>
          <p:nvPr userDrawn="1"/>
        </p:nvSpPr>
        <p:spPr bwMode="auto">
          <a:xfrm>
            <a:off x="1778348" y="2295461"/>
            <a:ext cx="359584" cy="253175"/>
          </a:xfrm>
          <a:custGeom>
            <a:avLst/>
            <a:gdLst/>
            <a:ahLst/>
            <a:cxnLst>
              <a:cxn ang="0">
                <a:pos x="13" y="0"/>
              </a:cxn>
              <a:cxn ang="0">
                <a:pos x="0" y="13"/>
              </a:cxn>
              <a:cxn ang="0">
                <a:pos x="0" y="311"/>
              </a:cxn>
              <a:cxn ang="0">
                <a:pos x="13" y="325"/>
              </a:cxn>
              <a:cxn ang="0">
                <a:pos x="70" y="325"/>
              </a:cxn>
              <a:cxn ang="0">
                <a:pos x="84" y="311"/>
              </a:cxn>
              <a:cxn ang="0">
                <a:pos x="84" y="259"/>
              </a:cxn>
              <a:cxn ang="0">
                <a:pos x="377" y="259"/>
              </a:cxn>
              <a:cxn ang="0">
                <a:pos x="377" y="311"/>
              </a:cxn>
              <a:cxn ang="0">
                <a:pos x="390" y="325"/>
              </a:cxn>
              <a:cxn ang="0">
                <a:pos x="448" y="325"/>
              </a:cxn>
              <a:cxn ang="0">
                <a:pos x="461" y="311"/>
              </a:cxn>
              <a:cxn ang="0">
                <a:pos x="461" y="183"/>
              </a:cxn>
              <a:cxn ang="0">
                <a:pos x="461" y="182"/>
              </a:cxn>
              <a:cxn ang="0">
                <a:pos x="381" y="126"/>
              </a:cxn>
              <a:cxn ang="0">
                <a:pos x="199" y="126"/>
              </a:cxn>
              <a:cxn ang="0">
                <a:pos x="186" y="140"/>
              </a:cxn>
              <a:cxn ang="0">
                <a:pos x="186" y="193"/>
              </a:cxn>
              <a:cxn ang="0">
                <a:pos x="199" y="207"/>
              </a:cxn>
              <a:cxn ang="0">
                <a:pos x="213" y="193"/>
              </a:cxn>
              <a:cxn ang="0">
                <a:pos x="213" y="153"/>
              </a:cxn>
              <a:cxn ang="0">
                <a:pos x="381" y="153"/>
              </a:cxn>
              <a:cxn ang="0">
                <a:pos x="434" y="184"/>
              </a:cxn>
              <a:cxn ang="0">
                <a:pos x="434" y="298"/>
              </a:cxn>
              <a:cxn ang="0">
                <a:pos x="404" y="298"/>
              </a:cxn>
              <a:cxn ang="0">
                <a:pos x="404" y="246"/>
              </a:cxn>
              <a:cxn ang="0">
                <a:pos x="390" y="232"/>
              </a:cxn>
              <a:cxn ang="0">
                <a:pos x="70" y="232"/>
              </a:cxn>
              <a:cxn ang="0">
                <a:pos x="57" y="246"/>
              </a:cxn>
              <a:cxn ang="0">
                <a:pos x="57" y="298"/>
              </a:cxn>
              <a:cxn ang="0">
                <a:pos x="26" y="298"/>
              </a:cxn>
              <a:cxn ang="0">
                <a:pos x="26" y="27"/>
              </a:cxn>
              <a:cxn ang="0">
                <a:pos x="57" y="27"/>
              </a:cxn>
              <a:cxn ang="0">
                <a:pos x="57" y="140"/>
              </a:cxn>
              <a:cxn ang="0">
                <a:pos x="70" y="153"/>
              </a:cxn>
              <a:cxn ang="0">
                <a:pos x="160" y="153"/>
              </a:cxn>
              <a:cxn ang="0">
                <a:pos x="173" y="141"/>
              </a:cxn>
              <a:cxn ang="0">
                <a:pos x="155" y="81"/>
              </a:cxn>
              <a:cxn ang="0">
                <a:pos x="113" y="64"/>
              </a:cxn>
              <a:cxn ang="0">
                <a:pos x="100" y="77"/>
              </a:cxn>
              <a:cxn ang="0">
                <a:pos x="113" y="90"/>
              </a:cxn>
              <a:cxn ang="0">
                <a:pos x="135" y="99"/>
              </a:cxn>
              <a:cxn ang="0">
                <a:pos x="146" y="126"/>
              </a:cxn>
              <a:cxn ang="0">
                <a:pos x="84" y="126"/>
              </a:cxn>
              <a:cxn ang="0">
                <a:pos x="84" y="13"/>
              </a:cxn>
              <a:cxn ang="0">
                <a:pos x="70" y="0"/>
              </a:cxn>
              <a:cxn ang="0">
                <a:pos x="13" y="0"/>
              </a:cxn>
            </a:cxnLst>
            <a:rect l="0" t="0" r="r" b="b"/>
            <a:pathLst>
              <a:path w="461" h="325">
                <a:moveTo>
                  <a:pt x="13" y="0"/>
                </a:moveTo>
                <a:cubicBezTo>
                  <a:pt x="6" y="0"/>
                  <a:pt x="0" y="6"/>
                  <a:pt x="0" y="13"/>
                </a:cubicBezTo>
                <a:cubicBezTo>
                  <a:pt x="0" y="311"/>
                  <a:pt x="0" y="311"/>
                  <a:pt x="0" y="311"/>
                </a:cubicBezTo>
                <a:cubicBezTo>
                  <a:pt x="0" y="319"/>
                  <a:pt x="6" y="325"/>
                  <a:pt x="13" y="325"/>
                </a:cubicBezTo>
                <a:cubicBezTo>
                  <a:pt x="70" y="325"/>
                  <a:pt x="70" y="325"/>
                  <a:pt x="70" y="325"/>
                </a:cubicBezTo>
                <a:cubicBezTo>
                  <a:pt x="78" y="325"/>
                  <a:pt x="84" y="319"/>
                  <a:pt x="84" y="311"/>
                </a:cubicBezTo>
                <a:cubicBezTo>
                  <a:pt x="84" y="311"/>
                  <a:pt x="84" y="276"/>
                  <a:pt x="84" y="259"/>
                </a:cubicBezTo>
                <a:cubicBezTo>
                  <a:pt x="107" y="259"/>
                  <a:pt x="354" y="259"/>
                  <a:pt x="377" y="259"/>
                </a:cubicBezTo>
                <a:cubicBezTo>
                  <a:pt x="377" y="276"/>
                  <a:pt x="377" y="311"/>
                  <a:pt x="377" y="311"/>
                </a:cubicBezTo>
                <a:cubicBezTo>
                  <a:pt x="377" y="319"/>
                  <a:pt x="383" y="325"/>
                  <a:pt x="390" y="325"/>
                </a:cubicBezTo>
                <a:cubicBezTo>
                  <a:pt x="448" y="325"/>
                  <a:pt x="448" y="325"/>
                  <a:pt x="448" y="325"/>
                </a:cubicBezTo>
                <a:cubicBezTo>
                  <a:pt x="455" y="325"/>
                  <a:pt x="461" y="319"/>
                  <a:pt x="461" y="311"/>
                </a:cubicBezTo>
                <a:cubicBezTo>
                  <a:pt x="461" y="183"/>
                  <a:pt x="461" y="183"/>
                  <a:pt x="461" y="183"/>
                </a:cubicBezTo>
                <a:cubicBezTo>
                  <a:pt x="461" y="182"/>
                  <a:pt x="461" y="182"/>
                  <a:pt x="461" y="182"/>
                </a:cubicBezTo>
                <a:cubicBezTo>
                  <a:pt x="460" y="163"/>
                  <a:pt x="441" y="126"/>
                  <a:pt x="381" y="126"/>
                </a:cubicBezTo>
                <a:cubicBezTo>
                  <a:pt x="199" y="126"/>
                  <a:pt x="199" y="126"/>
                  <a:pt x="199" y="126"/>
                </a:cubicBezTo>
                <a:cubicBezTo>
                  <a:pt x="192" y="126"/>
                  <a:pt x="186" y="132"/>
                  <a:pt x="186" y="140"/>
                </a:cubicBezTo>
                <a:cubicBezTo>
                  <a:pt x="186" y="193"/>
                  <a:pt x="186" y="193"/>
                  <a:pt x="186" y="193"/>
                </a:cubicBezTo>
                <a:cubicBezTo>
                  <a:pt x="186" y="201"/>
                  <a:pt x="192" y="207"/>
                  <a:pt x="199" y="207"/>
                </a:cubicBezTo>
                <a:cubicBezTo>
                  <a:pt x="207" y="207"/>
                  <a:pt x="213" y="201"/>
                  <a:pt x="213" y="193"/>
                </a:cubicBezTo>
                <a:cubicBezTo>
                  <a:pt x="213" y="193"/>
                  <a:pt x="213" y="168"/>
                  <a:pt x="213" y="153"/>
                </a:cubicBezTo>
                <a:cubicBezTo>
                  <a:pt x="231" y="153"/>
                  <a:pt x="381" y="153"/>
                  <a:pt x="381" y="153"/>
                </a:cubicBezTo>
                <a:cubicBezTo>
                  <a:pt x="428" y="153"/>
                  <a:pt x="434" y="179"/>
                  <a:pt x="434" y="184"/>
                </a:cubicBezTo>
                <a:cubicBezTo>
                  <a:pt x="434" y="185"/>
                  <a:pt x="434" y="277"/>
                  <a:pt x="434" y="298"/>
                </a:cubicBezTo>
                <a:cubicBezTo>
                  <a:pt x="423" y="298"/>
                  <a:pt x="415" y="298"/>
                  <a:pt x="404" y="298"/>
                </a:cubicBezTo>
                <a:cubicBezTo>
                  <a:pt x="404" y="281"/>
                  <a:pt x="404" y="246"/>
                  <a:pt x="404" y="246"/>
                </a:cubicBezTo>
                <a:cubicBezTo>
                  <a:pt x="404" y="238"/>
                  <a:pt x="398" y="232"/>
                  <a:pt x="390" y="232"/>
                </a:cubicBezTo>
                <a:cubicBezTo>
                  <a:pt x="70" y="232"/>
                  <a:pt x="70" y="232"/>
                  <a:pt x="70" y="232"/>
                </a:cubicBezTo>
                <a:cubicBezTo>
                  <a:pt x="63" y="232"/>
                  <a:pt x="57" y="238"/>
                  <a:pt x="57" y="246"/>
                </a:cubicBezTo>
                <a:cubicBezTo>
                  <a:pt x="57" y="246"/>
                  <a:pt x="57" y="281"/>
                  <a:pt x="57" y="298"/>
                </a:cubicBezTo>
                <a:cubicBezTo>
                  <a:pt x="46" y="298"/>
                  <a:pt x="37" y="298"/>
                  <a:pt x="26" y="298"/>
                </a:cubicBezTo>
                <a:cubicBezTo>
                  <a:pt x="26" y="275"/>
                  <a:pt x="26" y="50"/>
                  <a:pt x="26" y="27"/>
                </a:cubicBezTo>
                <a:cubicBezTo>
                  <a:pt x="37" y="27"/>
                  <a:pt x="46" y="27"/>
                  <a:pt x="57" y="27"/>
                </a:cubicBezTo>
                <a:cubicBezTo>
                  <a:pt x="57" y="48"/>
                  <a:pt x="57" y="140"/>
                  <a:pt x="57" y="140"/>
                </a:cubicBezTo>
                <a:cubicBezTo>
                  <a:pt x="57" y="147"/>
                  <a:pt x="63" y="153"/>
                  <a:pt x="70" y="153"/>
                </a:cubicBezTo>
                <a:cubicBezTo>
                  <a:pt x="160" y="153"/>
                  <a:pt x="160" y="153"/>
                  <a:pt x="160" y="153"/>
                </a:cubicBezTo>
                <a:cubicBezTo>
                  <a:pt x="167" y="153"/>
                  <a:pt x="172" y="148"/>
                  <a:pt x="173" y="141"/>
                </a:cubicBezTo>
                <a:cubicBezTo>
                  <a:pt x="173" y="139"/>
                  <a:pt x="175" y="103"/>
                  <a:pt x="155" y="81"/>
                </a:cubicBezTo>
                <a:cubicBezTo>
                  <a:pt x="144" y="70"/>
                  <a:pt x="130" y="64"/>
                  <a:pt x="113" y="64"/>
                </a:cubicBezTo>
                <a:cubicBezTo>
                  <a:pt x="106" y="64"/>
                  <a:pt x="100" y="70"/>
                  <a:pt x="100" y="77"/>
                </a:cubicBezTo>
                <a:cubicBezTo>
                  <a:pt x="100" y="84"/>
                  <a:pt x="106" y="90"/>
                  <a:pt x="113" y="90"/>
                </a:cubicBezTo>
                <a:cubicBezTo>
                  <a:pt x="123" y="90"/>
                  <a:pt x="130" y="93"/>
                  <a:pt x="135" y="99"/>
                </a:cubicBezTo>
                <a:cubicBezTo>
                  <a:pt x="142" y="106"/>
                  <a:pt x="145" y="117"/>
                  <a:pt x="146" y="126"/>
                </a:cubicBezTo>
                <a:cubicBezTo>
                  <a:pt x="129" y="126"/>
                  <a:pt x="99" y="126"/>
                  <a:pt x="84" y="126"/>
                </a:cubicBezTo>
                <a:cubicBezTo>
                  <a:pt x="84" y="105"/>
                  <a:pt x="84" y="13"/>
                  <a:pt x="84" y="13"/>
                </a:cubicBezTo>
                <a:cubicBezTo>
                  <a:pt x="84" y="6"/>
                  <a:pt x="78" y="0"/>
                  <a:pt x="70" y="0"/>
                </a:cubicBezTo>
                <a:lnTo>
                  <a:pt x="13" y="0"/>
                </a:ln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09" name="TextBox 308"/>
          <p:cNvSpPr txBox="1"/>
          <p:nvPr userDrawn="1"/>
        </p:nvSpPr>
        <p:spPr>
          <a:xfrm>
            <a:off x="1719628" y="2597682"/>
            <a:ext cx="477026" cy="92333"/>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Hotels</a:t>
            </a:r>
          </a:p>
        </p:txBody>
      </p:sp>
      <p:sp>
        <p:nvSpPr>
          <p:cNvPr id="310" name="Freeform 80"/>
          <p:cNvSpPr>
            <a:spLocks noChangeAspect="1"/>
          </p:cNvSpPr>
          <p:nvPr userDrawn="1"/>
        </p:nvSpPr>
        <p:spPr bwMode="auto">
          <a:xfrm>
            <a:off x="1121453" y="2253742"/>
            <a:ext cx="249337" cy="294894"/>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11" name="TextBox 310"/>
          <p:cNvSpPr txBox="1"/>
          <p:nvPr userDrawn="1"/>
        </p:nvSpPr>
        <p:spPr>
          <a:xfrm>
            <a:off x="963033" y="2597682"/>
            <a:ext cx="577596" cy="92333"/>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Healthcare</a:t>
            </a:r>
          </a:p>
        </p:txBody>
      </p:sp>
      <p:sp>
        <p:nvSpPr>
          <p:cNvPr id="312" name="Freeform 100"/>
          <p:cNvSpPr>
            <a:spLocks noChangeAspect="1"/>
          </p:cNvSpPr>
          <p:nvPr userDrawn="1"/>
        </p:nvSpPr>
        <p:spPr bwMode="auto">
          <a:xfrm>
            <a:off x="2564476" y="2155826"/>
            <a:ext cx="248285" cy="392810"/>
          </a:xfrm>
          <a:custGeom>
            <a:avLst/>
            <a:gdLst/>
            <a:ahLst/>
            <a:cxnLst>
              <a:cxn ang="0">
                <a:pos x="116" y="75"/>
              </a:cxn>
              <a:cxn ang="0">
                <a:pos x="46" y="287"/>
              </a:cxn>
              <a:cxn ang="0">
                <a:pos x="131" y="323"/>
              </a:cxn>
              <a:cxn ang="0">
                <a:pos x="148" y="314"/>
              </a:cxn>
              <a:cxn ang="0">
                <a:pos x="157" y="229"/>
              </a:cxn>
              <a:cxn ang="0">
                <a:pos x="144" y="189"/>
              </a:cxn>
              <a:cxn ang="0">
                <a:pos x="181" y="184"/>
              </a:cxn>
              <a:cxn ang="0">
                <a:pos x="185" y="220"/>
              </a:cxn>
              <a:cxn ang="0">
                <a:pos x="204" y="302"/>
              </a:cxn>
              <a:cxn ang="0">
                <a:pos x="125" y="348"/>
              </a:cxn>
              <a:cxn ang="0">
                <a:pos x="32" y="337"/>
              </a:cxn>
              <a:cxn ang="0">
                <a:pos x="4" y="453"/>
              </a:cxn>
              <a:cxn ang="0">
                <a:pos x="276" y="459"/>
              </a:cxn>
              <a:cxn ang="0">
                <a:pos x="276" y="432"/>
              </a:cxn>
              <a:cxn ang="0">
                <a:pos x="54" y="357"/>
              </a:cxn>
              <a:cxn ang="0">
                <a:pos x="187" y="365"/>
              </a:cxn>
              <a:cxn ang="0">
                <a:pos x="233" y="285"/>
              </a:cxn>
              <a:cxn ang="0">
                <a:pos x="217" y="205"/>
              </a:cxn>
              <a:cxn ang="0">
                <a:pos x="197" y="163"/>
              </a:cxn>
              <a:cxn ang="0">
                <a:pos x="123" y="173"/>
              </a:cxn>
              <a:cxn ang="0">
                <a:pos x="113" y="211"/>
              </a:cxn>
              <a:cxn ang="0">
                <a:pos x="125" y="294"/>
              </a:cxn>
              <a:cxn ang="0">
                <a:pos x="122" y="104"/>
              </a:cxn>
              <a:cxn ang="0">
                <a:pos x="155" y="32"/>
              </a:cxn>
              <a:cxn ang="0">
                <a:pos x="163" y="101"/>
              </a:cxn>
              <a:cxn ang="0">
                <a:pos x="172" y="117"/>
              </a:cxn>
              <a:cxn ang="0">
                <a:pos x="169" y="132"/>
              </a:cxn>
              <a:cxn ang="0">
                <a:pos x="195" y="136"/>
              </a:cxn>
              <a:cxn ang="0">
                <a:pos x="202" y="108"/>
              </a:cxn>
              <a:cxn ang="0">
                <a:pos x="193" y="95"/>
              </a:cxn>
              <a:cxn ang="0">
                <a:pos x="210" y="29"/>
              </a:cxn>
              <a:cxn ang="0">
                <a:pos x="200" y="16"/>
              </a:cxn>
              <a:cxn ang="0">
                <a:pos x="133" y="12"/>
              </a:cxn>
            </a:cxnLst>
            <a:rect l="0" t="0" r="r" b="b"/>
            <a:pathLst>
              <a:path w="290" h="459">
                <a:moveTo>
                  <a:pt x="133" y="12"/>
                </a:moveTo>
                <a:cubicBezTo>
                  <a:pt x="133" y="12"/>
                  <a:pt x="121" y="57"/>
                  <a:pt x="116" y="75"/>
                </a:cubicBezTo>
                <a:cubicBezTo>
                  <a:pt x="109" y="73"/>
                  <a:pt x="102" y="77"/>
                  <a:pt x="100" y="84"/>
                </a:cubicBezTo>
                <a:cubicBezTo>
                  <a:pt x="46" y="287"/>
                  <a:pt x="46" y="287"/>
                  <a:pt x="46" y="287"/>
                </a:cubicBezTo>
                <a:cubicBezTo>
                  <a:pt x="44" y="294"/>
                  <a:pt x="48" y="301"/>
                  <a:pt x="55" y="303"/>
                </a:cubicBezTo>
                <a:cubicBezTo>
                  <a:pt x="131" y="323"/>
                  <a:pt x="131" y="323"/>
                  <a:pt x="131" y="323"/>
                </a:cubicBezTo>
                <a:cubicBezTo>
                  <a:pt x="135" y="324"/>
                  <a:pt x="138" y="324"/>
                  <a:pt x="141" y="322"/>
                </a:cubicBezTo>
                <a:cubicBezTo>
                  <a:pt x="144" y="320"/>
                  <a:pt x="147" y="317"/>
                  <a:pt x="148" y="314"/>
                </a:cubicBezTo>
                <a:cubicBezTo>
                  <a:pt x="166" y="245"/>
                  <a:pt x="166" y="245"/>
                  <a:pt x="166" y="245"/>
                </a:cubicBezTo>
                <a:cubicBezTo>
                  <a:pt x="168" y="238"/>
                  <a:pt x="164" y="231"/>
                  <a:pt x="157" y="229"/>
                </a:cubicBezTo>
                <a:cubicBezTo>
                  <a:pt x="147" y="226"/>
                  <a:pt x="140" y="218"/>
                  <a:pt x="139" y="208"/>
                </a:cubicBezTo>
                <a:cubicBezTo>
                  <a:pt x="138" y="201"/>
                  <a:pt x="140" y="194"/>
                  <a:pt x="144" y="189"/>
                </a:cubicBezTo>
                <a:cubicBezTo>
                  <a:pt x="150" y="182"/>
                  <a:pt x="159" y="178"/>
                  <a:pt x="168" y="179"/>
                </a:cubicBezTo>
                <a:cubicBezTo>
                  <a:pt x="173" y="179"/>
                  <a:pt x="177" y="181"/>
                  <a:pt x="181" y="184"/>
                </a:cubicBezTo>
                <a:cubicBezTo>
                  <a:pt x="186" y="188"/>
                  <a:pt x="190" y="194"/>
                  <a:pt x="191" y="201"/>
                </a:cubicBezTo>
                <a:cubicBezTo>
                  <a:pt x="191" y="208"/>
                  <a:pt x="190" y="215"/>
                  <a:pt x="185" y="220"/>
                </a:cubicBezTo>
                <a:cubicBezTo>
                  <a:pt x="181" y="226"/>
                  <a:pt x="182" y="233"/>
                  <a:pt x="187" y="238"/>
                </a:cubicBezTo>
                <a:cubicBezTo>
                  <a:pt x="204" y="255"/>
                  <a:pt x="211" y="279"/>
                  <a:pt x="204" y="302"/>
                </a:cubicBezTo>
                <a:cubicBezTo>
                  <a:pt x="200" y="319"/>
                  <a:pt x="189" y="333"/>
                  <a:pt x="174" y="342"/>
                </a:cubicBezTo>
                <a:cubicBezTo>
                  <a:pt x="159" y="350"/>
                  <a:pt x="141" y="353"/>
                  <a:pt x="125" y="348"/>
                </a:cubicBezTo>
                <a:cubicBezTo>
                  <a:pt x="49" y="328"/>
                  <a:pt x="49" y="328"/>
                  <a:pt x="49" y="328"/>
                </a:cubicBezTo>
                <a:cubicBezTo>
                  <a:pt x="42" y="326"/>
                  <a:pt x="35" y="330"/>
                  <a:pt x="32" y="337"/>
                </a:cubicBezTo>
                <a:cubicBezTo>
                  <a:pt x="2" y="442"/>
                  <a:pt x="2" y="442"/>
                  <a:pt x="2" y="442"/>
                </a:cubicBezTo>
                <a:cubicBezTo>
                  <a:pt x="0" y="446"/>
                  <a:pt x="1" y="450"/>
                  <a:pt x="4" y="453"/>
                </a:cubicBezTo>
                <a:cubicBezTo>
                  <a:pt x="6" y="457"/>
                  <a:pt x="10" y="459"/>
                  <a:pt x="14" y="459"/>
                </a:cubicBezTo>
                <a:cubicBezTo>
                  <a:pt x="276" y="459"/>
                  <a:pt x="276" y="459"/>
                  <a:pt x="276" y="459"/>
                </a:cubicBezTo>
                <a:cubicBezTo>
                  <a:pt x="284" y="459"/>
                  <a:pt x="290" y="453"/>
                  <a:pt x="290" y="445"/>
                </a:cubicBezTo>
                <a:cubicBezTo>
                  <a:pt x="290" y="438"/>
                  <a:pt x="284" y="432"/>
                  <a:pt x="276" y="432"/>
                </a:cubicBezTo>
                <a:cubicBezTo>
                  <a:pt x="276" y="432"/>
                  <a:pt x="63" y="432"/>
                  <a:pt x="32" y="432"/>
                </a:cubicBezTo>
                <a:cubicBezTo>
                  <a:pt x="38" y="412"/>
                  <a:pt x="50" y="373"/>
                  <a:pt x="54" y="357"/>
                </a:cubicBezTo>
                <a:cubicBezTo>
                  <a:pt x="72" y="362"/>
                  <a:pt x="118" y="374"/>
                  <a:pt x="118" y="374"/>
                </a:cubicBezTo>
                <a:cubicBezTo>
                  <a:pt x="141" y="380"/>
                  <a:pt x="166" y="377"/>
                  <a:pt x="187" y="365"/>
                </a:cubicBezTo>
                <a:cubicBezTo>
                  <a:pt x="209" y="352"/>
                  <a:pt x="224" y="333"/>
                  <a:pt x="230" y="309"/>
                </a:cubicBezTo>
                <a:cubicBezTo>
                  <a:pt x="232" y="301"/>
                  <a:pt x="233" y="293"/>
                  <a:pt x="233" y="285"/>
                </a:cubicBezTo>
                <a:cubicBezTo>
                  <a:pt x="233" y="264"/>
                  <a:pt x="226" y="243"/>
                  <a:pt x="213" y="227"/>
                </a:cubicBezTo>
                <a:cubicBezTo>
                  <a:pt x="216" y="220"/>
                  <a:pt x="217" y="212"/>
                  <a:pt x="217" y="205"/>
                </a:cubicBezTo>
                <a:cubicBezTo>
                  <a:pt x="217" y="202"/>
                  <a:pt x="217" y="200"/>
                  <a:pt x="217" y="198"/>
                </a:cubicBezTo>
                <a:cubicBezTo>
                  <a:pt x="215" y="184"/>
                  <a:pt x="208" y="171"/>
                  <a:pt x="197" y="163"/>
                </a:cubicBezTo>
                <a:cubicBezTo>
                  <a:pt x="189" y="157"/>
                  <a:pt x="181" y="154"/>
                  <a:pt x="171" y="152"/>
                </a:cubicBezTo>
                <a:cubicBezTo>
                  <a:pt x="153" y="150"/>
                  <a:pt x="134" y="158"/>
                  <a:pt x="123" y="173"/>
                </a:cubicBezTo>
                <a:cubicBezTo>
                  <a:pt x="116" y="182"/>
                  <a:pt x="112" y="193"/>
                  <a:pt x="112" y="205"/>
                </a:cubicBezTo>
                <a:cubicBezTo>
                  <a:pt x="112" y="207"/>
                  <a:pt x="112" y="209"/>
                  <a:pt x="113" y="211"/>
                </a:cubicBezTo>
                <a:cubicBezTo>
                  <a:pt x="115" y="227"/>
                  <a:pt x="124" y="241"/>
                  <a:pt x="137" y="249"/>
                </a:cubicBezTo>
                <a:cubicBezTo>
                  <a:pt x="134" y="261"/>
                  <a:pt x="129" y="280"/>
                  <a:pt x="125" y="294"/>
                </a:cubicBezTo>
                <a:cubicBezTo>
                  <a:pt x="111" y="290"/>
                  <a:pt x="89" y="284"/>
                  <a:pt x="75" y="281"/>
                </a:cubicBezTo>
                <a:cubicBezTo>
                  <a:pt x="81" y="260"/>
                  <a:pt x="117" y="125"/>
                  <a:pt x="122" y="104"/>
                </a:cubicBezTo>
                <a:cubicBezTo>
                  <a:pt x="130" y="106"/>
                  <a:pt x="137" y="102"/>
                  <a:pt x="139" y="95"/>
                </a:cubicBezTo>
                <a:cubicBezTo>
                  <a:pt x="139" y="95"/>
                  <a:pt x="151" y="49"/>
                  <a:pt x="155" y="32"/>
                </a:cubicBezTo>
                <a:cubicBezTo>
                  <a:pt x="165" y="34"/>
                  <a:pt x="171" y="36"/>
                  <a:pt x="180" y="38"/>
                </a:cubicBezTo>
                <a:cubicBezTo>
                  <a:pt x="176" y="56"/>
                  <a:pt x="163" y="101"/>
                  <a:pt x="163" y="101"/>
                </a:cubicBezTo>
                <a:cubicBezTo>
                  <a:pt x="163" y="102"/>
                  <a:pt x="163" y="104"/>
                  <a:pt x="163" y="105"/>
                </a:cubicBezTo>
                <a:cubicBezTo>
                  <a:pt x="163" y="110"/>
                  <a:pt x="167" y="116"/>
                  <a:pt x="172" y="117"/>
                </a:cubicBezTo>
                <a:cubicBezTo>
                  <a:pt x="171" y="123"/>
                  <a:pt x="169" y="128"/>
                  <a:pt x="169" y="128"/>
                </a:cubicBezTo>
                <a:cubicBezTo>
                  <a:pt x="169" y="130"/>
                  <a:pt x="169" y="131"/>
                  <a:pt x="169" y="132"/>
                </a:cubicBezTo>
                <a:cubicBezTo>
                  <a:pt x="169" y="138"/>
                  <a:pt x="172" y="143"/>
                  <a:pt x="178" y="145"/>
                </a:cubicBezTo>
                <a:cubicBezTo>
                  <a:pt x="185" y="147"/>
                  <a:pt x="193" y="143"/>
                  <a:pt x="195" y="136"/>
                </a:cubicBezTo>
                <a:cubicBezTo>
                  <a:pt x="202" y="112"/>
                  <a:pt x="202" y="112"/>
                  <a:pt x="202" y="112"/>
                </a:cubicBezTo>
                <a:cubicBezTo>
                  <a:pt x="202" y="111"/>
                  <a:pt x="202" y="109"/>
                  <a:pt x="202" y="108"/>
                </a:cubicBezTo>
                <a:cubicBezTo>
                  <a:pt x="202" y="106"/>
                  <a:pt x="202" y="104"/>
                  <a:pt x="201" y="102"/>
                </a:cubicBezTo>
                <a:cubicBezTo>
                  <a:pt x="199" y="98"/>
                  <a:pt x="196" y="96"/>
                  <a:pt x="193" y="95"/>
                </a:cubicBezTo>
                <a:cubicBezTo>
                  <a:pt x="197" y="78"/>
                  <a:pt x="209" y="32"/>
                  <a:pt x="209" y="32"/>
                </a:cubicBezTo>
                <a:cubicBezTo>
                  <a:pt x="210" y="31"/>
                  <a:pt x="210" y="30"/>
                  <a:pt x="210" y="29"/>
                </a:cubicBezTo>
                <a:cubicBezTo>
                  <a:pt x="210" y="26"/>
                  <a:pt x="209" y="24"/>
                  <a:pt x="208" y="22"/>
                </a:cubicBezTo>
                <a:cubicBezTo>
                  <a:pt x="206" y="19"/>
                  <a:pt x="203" y="17"/>
                  <a:pt x="200" y="16"/>
                </a:cubicBezTo>
                <a:cubicBezTo>
                  <a:pt x="149" y="2"/>
                  <a:pt x="149" y="2"/>
                  <a:pt x="149" y="2"/>
                </a:cubicBezTo>
                <a:cubicBezTo>
                  <a:pt x="142" y="0"/>
                  <a:pt x="135" y="5"/>
                  <a:pt x="133" y="12"/>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13" name="TextBox 312"/>
          <p:cNvSpPr txBox="1"/>
          <p:nvPr userDrawn="1"/>
        </p:nvSpPr>
        <p:spPr>
          <a:xfrm>
            <a:off x="2465744" y="2597682"/>
            <a:ext cx="392396" cy="184666"/>
          </a:xfrm>
          <a:prstGeom prst="rect">
            <a:avLst/>
          </a:prstGeom>
          <a:noFill/>
        </p:spPr>
        <p:txBody>
          <a:bodyPr wrap="square" lIns="0" tIns="0" rIns="0" bIns="0" rtlCol="0" anchor="t" anchorCtr="0">
            <a:spAutoFit/>
          </a:bodyPr>
          <a:lstStyle/>
          <a:p>
            <a:pPr algn="ctr"/>
            <a:r>
              <a:rPr lang="en-US" sz="600" b="1" dirty="0">
                <a:solidFill>
                  <a:schemeClr val="bg1"/>
                </a:solidFill>
                <a:latin typeface="Arial" pitchFamily="34" charset="0"/>
                <a:cs typeface="Arial" pitchFamily="34" charset="0"/>
              </a:rPr>
              <a:t>Life</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sciences</a:t>
            </a:r>
          </a:p>
        </p:txBody>
      </p:sp>
      <p:sp>
        <p:nvSpPr>
          <p:cNvPr id="314" name="Freeform 104"/>
          <p:cNvSpPr>
            <a:spLocks noChangeAspect="1"/>
          </p:cNvSpPr>
          <p:nvPr userDrawn="1"/>
        </p:nvSpPr>
        <p:spPr bwMode="auto">
          <a:xfrm>
            <a:off x="1769762" y="2800267"/>
            <a:ext cx="359518" cy="359422"/>
          </a:xfrm>
          <a:custGeom>
            <a:avLst/>
            <a:gdLst/>
            <a:ahLst/>
            <a:cxnLst>
              <a:cxn ang="0">
                <a:pos x="0" y="38"/>
              </a:cxn>
              <a:cxn ang="0">
                <a:pos x="3" y="55"/>
              </a:cxn>
              <a:cxn ang="0">
                <a:pos x="69" y="253"/>
              </a:cxn>
              <a:cxn ang="0">
                <a:pos x="95" y="253"/>
              </a:cxn>
              <a:cxn ang="0">
                <a:pos x="94" y="173"/>
              </a:cxn>
              <a:cxn ang="0">
                <a:pos x="26" y="38"/>
              </a:cxn>
              <a:cxn ang="0">
                <a:pos x="38" y="26"/>
              </a:cxn>
              <a:cxn ang="0">
                <a:pos x="50" y="34"/>
              </a:cxn>
              <a:cxn ang="0">
                <a:pos x="105" y="142"/>
              </a:cxn>
              <a:cxn ang="0">
                <a:pos x="338" y="305"/>
              </a:cxn>
              <a:cxn ang="0">
                <a:pos x="68" y="318"/>
              </a:cxn>
              <a:cxn ang="0">
                <a:pos x="82" y="386"/>
              </a:cxn>
              <a:cxn ang="0">
                <a:pos x="93" y="394"/>
              </a:cxn>
              <a:cxn ang="0">
                <a:pos x="131" y="433"/>
              </a:cxn>
              <a:cxn ang="0">
                <a:pos x="169" y="386"/>
              </a:cxn>
              <a:cxn ang="0">
                <a:pos x="281" y="394"/>
              </a:cxn>
              <a:cxn ang="0">
                <a:pos x="358" y="394"/>
              </a:cxn>
              <a:cxn ang="0">
                <a:pos x="323" y="364"/>
              </a:cxn>
              <a:cxn ang="0">
                <a:pos x="331" y="394"/>
              </a:cxn>
              <a:cxn ang="0">
                <a:pos x="319" y="406"/>
              </a:cxn>
              <a:cxn ang="0">
                <a:pos x="308" y="394"/>
              </a:cxn>
              <a:cxn ang="0">
                <a:pos x="311" y="365"/>
              </a:cxn>
              <a:cxn ang="0">
                <a:pos x="151" y="359"/>
              </a:cxn>
              <a:cxn ang="0">
                <a:pos x="139" y="377"/>
              </a:cxn>
              <a:cxn ang="0">
                <a:pos x="140" y="403"/>
              </a:cxn>
              <a:cxn ang="0">
                <a:pos x="123" y="403"/>
              </a:cxn>
              <a:cxn ang="0">
                <a:pos x="122" y="382"/>
              </a:cxn>
              <a:cxn ang="0">
                <a:pos x="114" y="359"/>
              </a:cxn>
              <a:cxn ang="0">
                <a:pos x="95" y="331"/>
              </a:cxn>
              <a:cxn ang="0">
                <a:pos x="359" y="323"/>
              </a:cxn>
              <a:cxn ang="0">
                <a:pos x="432" y="129"/>
              </a:cxn>
              <a:cxn ang="0">
                <a:pos x="418" y="115"/>
              </a:cxn>
              <a:cxn ang="0">
                <a:pos x="74" y="24"/>
              </a:cxn>
              <a:cxn ang="0">
                <a:pos x="38" y="0"/>
              </a:cxn>
            </a:cxnLst>
            <a:rect l="0" t="0" r="r" b="b"/>
            <a:pathLst>
              <a:path w="432" h="433">
                <a:moveTo>
                  <a:pt x="11" y="11"/>
                </a:moveTo>
                <a:cubicBezTo>
                  <a:pt x="4" y="18"/>
                  <a:pt x="0" y="28"/>
                  <a:pt x="0" y="38"/>
                </a:cubicBezTo>
                <a:cubicBezTo>
                  <a:pt x="0" y="44"/>
                  <a:pt x="1" y="49"/>
                  <a:pt x="3" y="54"/>
                </a:cubicBezTo>
                <a:cubicBezTo>
                  <a:pt x="3" y="54"/>
                  <a:pt x="3" y="55"/>
                  <a:pt x="3" y="55"/>
                </a:cubicBezTo>
                <a:cubicBezTo>
                  <a:pt x="3" y="55"/>
                  <a:pt x="66" y="177"/>
                  <a:pt x="69" y="182"/>
                </a:cubicBezTo>
                <a:cubicBezTo>
                  <a:pt x="69" y="188"/>
                  <a:pt x="69" y="253"/>
                  <a:pt x="69" y="253"/>
                </a:cubicBezTo>
                <a:cubicBezTo>
                  <a:pt x="69" y="261"/>
                  <a:pt x="74" y="267"/>
                  <a:pt x="82" y="267"/>
                </a:cubicBezTo>
                <a:cubicBezTo>
                  <a:pt x="89" y="267"/>
                  <a:pt x="95" y="261"/>
                  <a:pt x="95" y="253"/>
                </a:cubicBezTo>
                <a:cubicBezTo>
                  <a:pt x="95" y="179"/>
                  <a:pt x="95" y="179"/>
                  <a:pt x="95" y="179"/>
                </a:cubicBezTo>
                <a:cubicBezTo>
                  <a:pt x="95" y="177"/>
                  <a:pt x="95" y="175"/>
                  <a:pt x="94" y="173"/>
                </a:cubicBezTo>
                <a:cubicBezTo>
                  <a:pt x="94" y="173"/>
                  <a:pt x="28" y="44"/>
                  <a:pt x="27" y="43"/>
                </a:cubicBezTo>
                <a:cubicBezTo>
                  <a:pt x="27" y="42"/>
                  <a:pt x="26" y="40"/>
                  <a:pt x="26" y="38"/>
                </a:cubicBezTo>
                <a:cubicBezTo>
                  <a:pt x="26" y="35"/>
                  <a:pt x="28" y="32"/>
                  <a:pt x="30" y="30"/>
                </a:cubicBezTo>
                <a:cubicBezTo>
                  <a:pt x="32" y="28"/>
                  <a:pt x="35" y="26"/>
                  <a:pt x="38" y="26"/>
                </a:cubicBezTo>
                <a:cubicBezTo>
                  <a:pt x="43" y="26"/>
                  <a:pt x="48" y="29"/>
                  <a:pt x="49" y="34"/>
                </a:cubicBezTo>
                <a:cubicBezTo>
                  <a:pt x="49" y="34"/>
                  <a:pt x="50" y="34"/>
                  <a:pt x="50" y="34"/>
                </a:cubicBezTo>
                <a:cubicBezTo>
                  <a:pt x="93" y="134"/>
                  <a:pt x="93" y="134"/>
                  <a:pt x="93" y="134"/>
                </a:cubicBezTo>
                <a:cubicBezTo>
                  <a:pt x="95" y="139"/>
                  <a:pt x="100" y="142"/>
                  <a:pt x="105" y="142"/>
                </a:cubicBezTo>
                <a:cubicBezTo>
                  <a:pt x="105" y="142"/>
                  <a:pt x="365" y="142"/>
                  <a:pt x="399" y="142"/>
                </a:cubicBezTo>
                <a:cubicBezTo>
                  <a:pt x="388" y="170"/>
                  <a:pt x="343" y="291"/>
                  <a:pt x="338" y="305"/>
                </a:cubicBezTo>
                <a:cubicBezTo>
                  <a:pt x="320" y="305"/>
                  <a:pt x="82" y="305"/>
                  <a:pt x="82" y="305"/>
                </a:cubicBezTo>
                <a:cubicBezTo>
                  <a:pt x="74" y="305"/>
                  <a:pt x="68" y="311"/>
                  <a:pt x="68" y="318"/>
                </a:cubicBezTo>
                <a:cubicBezTo>
                  <a:pt x="68" y="372"/>
                  <a:pt x="68" y="372"/>
                  <a:pt x="68" y="372"/>
                </a:cubicBezTo>
                <a:cubicBezTo>
                  <a:pt x="68" y="380"/>
                  <a:pt x="74" y="386"/>
                  <a:pt x="82" y="386"/>
                </a:cubicBezTo>
                <a:cubicBezTo>
                  <a:pt x="82" y="386"/>
                  <a:pt x="88" y="386"/>
                  <a:pt x="93" y="386"/>
                </a:cubicBezTo>
                <a:cubicBezTo>
                  <a:pt x="93" y="389"/>
                  <a:pt x="93" y="393"/>
                  <a:pt x="93" y="394"/>
                </a:cubicBezTo>
                <a:cubicBezTo>
                  <a:pt x="93" y="405"/>
                  <a:pt x="97" y="414"/>
                  <a:pt x="104" y="422"/>
                </a:cubicBezTo>
                <a:cubicBezTo>
                  <a:pt x="111" y="429"/>
                  <a:pt x="121" y="433"/>
                  <a:pt x="131" y="433"/>
                </a:cubicBezTo>
                <a:cubicBezTo>
                  <a:pt x="152" y="433"/>
                  <a:pt x="170" y="416"/>
                  <a:pt x="170" y="394"/>
                </a:cubicBezTo>
                <a:cubicBezTo>
                  <a:pt x="170" y="392"/>
                  <a:pt x="169" y="389"/>
                  <a:pt x="169" y="386"/>
                </a:cubicBezTo>
                <a:cubicBezTo>
                  <a:pt x="193" y="386"/>
                  <a:pt x="258" y="386"/>
                  <a:pt x="282" y="386"/>
                </a:cubicBezTo>
                <a:cubicBezTo>
                  <a:pt x="281" y="389"/>
                  <a:pt x="281" y="392"/>
                  <a:pt x="281" y="394"/>
                </a:cubicBezTo>
                <a:cubicBezTo>
                  <a:pt x="281" y="416"/>
                  <a:pt x="298" y="433"/>
                  <a:pt x="319" y="433"/>
                </a:cubicBezTo>
                <a:cubicBezTo>
                  <a:pt x="341" y="433"/>
                  <a:pt x="358" y="416"/>
                  <a:pt x="358" y="394"/>
                </a:cubicBezTo>
                <a:cubicBezTo>
                  <a:pt x="358" y="381"/>
                  <a:pt x="352" y="368"/>
                  <a:pt x="342" y="361"/>
                </a:cubicBezTo>
                <a:cubicBezTo>
                  <a:pt x="336" y="357"/>
                  <a:pt x="328" y="358"/>
                  <a:pt x="323" y="364"/>
                </a:cubicBezTo>
                <a:cubicBezTo>
                  <a:pt x="319" y="370"/>
                  <a:pt x="320" y="379"/>
                  <a:pt x="326" y="383"/>
                </a:cubicBezTo>
                <a:cubicBezTo>
                  <a:pt x="329" y="385"/>
                  <a:pt x="331" y="390"/>
                  <a:pt x="331" y="394"/>
                </a:cubicBezTo>
                <a:cubicBezTo>
                  <a:pt x="331" y="398"/>
                  <a:pt x="330" y="401"/>
                  <a:pt x="328" y="403"/>
                </a:cubicBezTo>
                <a:cubicBezTo>
                  <a:pt x="326" y="405"/>
                  <a:pt x="323" y="406"/>
                  <a:pt x="319" y="406"/>
                </a:cubicBezTo>
                <a:cubicBezTo>
                  <a:pt x="316" y="406"/>
                  <a:pt x="313" y="405"/>
                  <a:pt x="311" y="403"/>
                </a:cubicBezTo>
                <a:cubicBezTo>
                  <a:pt x="309" y="401"/>
                  <a:pt x="308" y="398"/>
                  <a:pt x="308" y="394"/>
                </a:cubicBezTo>
                <a:cubicBezTo>
                  <a:pt x="308" y="391"/>
                  <a:pt x="310" y="383"/>
                  <a:pt x="312" y="377"/>
                </a:cubicBezTo>
                <a:cubicBezTo>
                  <a:pt x="314" y="373"/>
                  <a:pt x="313" y="368"/>
                  <a:pt x="311" y="365"/>
                </a:cubicBezTo>
                <a:cubicBezTo>
                  <a:pt x="308" y="361"/>
                  <a:pt x="304" y="359"/>
                  <a:pt x="300" y="359"/>
                </a:cubicBezTo>
                <a:cubicBezTo>
                  <a:pt x="151" y="359"/>
                  <a:pt x="151" y="359"/>
                  <a:pt x="151" y="359"/>
                </a:cubicBezTo>
                <a:cubicBezTo>
                  <a:pt x="147" y="359"/>
                  <a:pt x="143" y="361"/>
                  <a:pt x="140" y="365"/>
                </a:cubicBezTo>
                <a:cubicBezTo>
                  <a:pt x="138" y="368"/>
                  <a:pt x="137" y="373"/>
                  <a:pt x="139" y="377"/>
                </a:cubicBezTo>
                <a:cubicBezTo>
                  <a:pt x="141" y="382"/>
                  <a:pt x="143" y="390"/>
                  <a:pt x="143" y="394"/>
                </a:cubicBezTo>
                <a:cubicBezTo>
                  <a:pt x="143" y="398"/>
                  <a:pt x="142" y="401"/>
                  <a:pt x="140" y="403"/>
                </a:cubicBezTo>
                <a:cubicBezTo>
                  <a:pt x="137" y="405"/>
                  <a:pt x="134" y="406"/>
                  <a:pt x="131" y="406"/>
                </a:cubicBezTo>
                <a:cubicBezTo>
                  <a:pt x="128" y="406"/>
                  <a:pt x="125" y="405"/>
                  <a:pt x="123" y="403"/>
                </a:cubicBezTo>
                <a:cubicBezTo>
                  <a:pt x="121" y="401"/>
                  <a:pt x="119" y="398"/>
                  <a:pt x="119" y="394"/>
                </a:cubicBezTo>
                <a:cubicBezTo>
                  <a:pt x="119" y="388"/>
                  <a:pt x="121" y="383"/>
                  <a:pt x="122" y="382"/>
                </a:cubicBezTo>
                <a:cubicBezTo>
                  <a:pt x="126" y="379"/>
                  <a:pt x="128" y="373"/>
                  <a:pt x="126" y="368"/>
                </a:cubicBezTo>
                <a:cubicBezTo>
                  <a:pt x="124" y="362"/>
                  <a:pt x="119" y="359"/>
                  <a:pt x="114" y="359"/>
                </a:cubicBezTo>
                <a:cubicBezTo>
                  <a:pt x="114" y="359"/>
                  <a:pt x="104" y="359"/>
                  <a:pt x="95" y="359"/>
                </a:cubicBezTo>
                <a:cubicBezTo>
                  <a:pt x="95" y="349"/>
                  <a:pt x="95" y="342"/>
                  <a:pt x="95" y="331"/>
                </a:cubicBezTo>
                <a:cubicBezTo>
                  <a:pt x="119" y="331"/>
                  <a:pt x="347" y="331"/>
                  <a:pt x="347" y="331"/>
                </a:cubicBezTo>
                <a:cubicBezTo>
                  <a:pt x="352" y="331"/>
                  <a:pt x="357" y="328"/>
                  <a:pt x="359" y="323"/>
                </a:cubicBezTo>
                <a:cubicBezTo>
                  <a:pt x="431" y="133"/>
                  <a:pt x="431" y="133"/>
                  <a:pt x="431" y="133"/>
                </a:cubicBezTo>
                <a:cubicBezTo>
                  <a:pt x="431" y="132"/>
                  <a:pt x="432" y="130"/>
                  <a:pt x="432" y="129"/>
                </a:cubicBezTo>
                <a:cubicBezTo>
                  <a:pt x="432" y="126"/>
                  <a:pt x="431" y="123"/>
                  <a:pt x="429" y="121"/>
                </a:cubicBezTo>
                <a:cubicBezTo>
                  <a:pt x="427" y="118"/>
                  <a:pt x="423" y="115"/>
                  <a:pt x="418" y="115"/>
                </a:cubicBezTo>
                <a:cubicBezTo>
                  <a:pt x="418" y="115"/>
                  <a:pt x="131" y="115"/>
                  <a:pt x="114" y="115"/>
                </a:cubicBezTo>
                <a:cubicBezTo>
                  <a:pt x="108" y="102"/>
                  <a:pt x="74" y="24"/>
                  <a:pt x="74" y="24"/>
                </a:cubicBezTo>
                <a:cubicBezTo>
                  <a:pt x="74" y="24"/>
                  <a:pt x="74" y="24"/>
                  <a:pt x="74" y="24"/>
                </a:cubicBezTo>
                <a:cubicBezTo>
                  <a:pt x="68" y="9"/>
                  <a:pt x="54" y="0"/>
                  <a:pt x="38" y="0"/>
                </a:cubicBezTo>
                <a:cubicBezTo>
                  <a:pt x="28" y="0"/>
                  <a:pt x="18" y="4"/>
                  <a:pt x="11" y="11"/>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15" name="TextBox 314"/>
          <p:cNvSpPr txBox="1"/>
          <p:nvPr userDrawn="1"/>
        </p:nvSpPr>
        <p:spPr>
          <a:xfrm>
            <a:off x="1669342" y="3213500"/>
            <a:ext cx="577596" cy="92333"/>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Retail</a:t>
            </a:r>
          </a:p>
        </p:txBody>
      </p:sp>
      <p:sp>
        <p:nvSpPr>
          <p:cNvPr id="316" name="Freeform 56"/>
          <p:cNvSpPr>
            <a:spLocks noChangeAspect="1"/>
          </p:cNvSpPr>
          <p:nvPr userDrawn="1"/>
        </p:nvSpPr>
        <p:spPr bwMode="auto">
          <a:xfrm>
            <a:off x="3926790" y="1646520"/>
            <a:ext cx="285052" cy="294894"/>
          </a:xfrm>
          <a:custGeom>
            <a:avLst/>
            <a:gdLst/>
            <a:ahLst/>
            <a:cxnLst>
              <a:cxn ang="0">
                <a:pos x="427" y="4"/>
              </a:cxn>
              <a:cxn ang="0">
                <a:pos x="238" y="2"/>
              </a:cxn>
              <a:cxn ang="0">
                <a:pos x="119" y="27"/>
              </a:cxn>
              <a:cxn ang="0">
                <a:pos x="23" y="257"/>
              </a:cxn>
              <a:cxn ang="0">
                <a:pos x="97" y="324"/>
              </a:cxn>
              <a:cxn ang="0">
                <a:pos x="111" y="311"/>
              </a:cxn>
              <a:cxn ang="0">
                <a:pos x="123" y="199"/>
              </a:cxn>
              <a:cxn ang="0">
                <a:pos x="136" y="112"/>
              </a:cxn>
              <a:cxn ang="0">
                <a:pos x="181" y="241"/>
              </a:cxn>
              <a:cxn ang="0">
                <a:pos x="218" y="255"/>
              </a:cxn>
              <a:cxn ang="0">
                <a:pos x="231" y="305"/>
              </a:cxn>
              <a:cxn ang="0">
                <a:pos x="283" y="291"/>
              </a:cxn>
              <a:cxn ang="0">
                <a:pos x="298" y="154"/>
              </a:cxn>
              <a:cxn ang="0">
                <a:pos x="312" y="246"/>
              </a:cxn>
              <a:cxn ang="0">
                <a:pos x="325" y="141"/>
              </a:cxn>
              <a:cxn ang="0">
                <a:pos x="270" y="127"/>
              </a:cxn>
              <a:cxn ang="0">
                <a:pos x="257" y="278"/>
              </a:cxn>
              <a:cxn ang="0">
                <a:pos x="245" y="241"/>
              </a:cxn>
              <a:cxn ang="0">
                <a:pos x="208" y="228"/>
              </a:cxn>
              <a:cxn ang="0">
                <a:pos x="195" y="86"/>
              </a:cxn>
              <a:cxn ang="0">
                <a:pos x="110" y="99"/>
              </a:cxn>
              <a:cxn ang="0">
                <a:pos x="98" y="172"/>
              </a:cxn>
              <a:cxn ang="0">
                <a:pos x="84" y="289"/>
              </a:cxn>
              <a:cxn ang="0">
                <a:pos x="39" y="150"/>
              </a:cxn>
              <a:cxn ang="0">
                <a:pos x="240" y="28"/>
              </a:cxn>
              <a:cxn ang="0">
                <a:pos x="396" y="32"/>
              </a:cxn>
              <a:cxn ang="0">
                <a:pos x="342" y="262"/>
              </a:cxn>
              <a:cxn ang="0">
                <a:pos x="135" y="348"/>
              </a:cxn>
              <a:cxn ang="0">
                <a:pos x="134" y="348"/>
              </a:cxn>
              <a:cxn ang="0">
                <a:pos x="132" y="347"/>
              </a:cxn>
              <a:cxn ang="0">
                <a:pos x="131" y="347"/>
              </a:cxn>
              <a:cxn ang="0">
                <a:pos x="130" y="348"/>
              </a:cxn>
              <a:cxn ang="0">
                <a:pos x="128" y="348"/>
              </a:cxn>
              <a:cxn ang="0">
                <a:pos x="127" y="348"/>
              </a:cxn>
              <a:cxn ang="0">
                <a:pos x="126" y="349"/>
              </a:cxn>
              <a:cxn ang="0">
                <a:pos x="125" y="349"/>
              </a:cxn>
              <a:cxn ang="0">
                <a:pos x="124" y="350"/>
              </a:cxn>
              <a:cxn ang="0">
                <a:pos x="123" y="351"/>
              </a:cxn>
              <a:cxn ang="0">
                <a:pos x="122" y="352"/>
              </a:cxn>
              <a:cxn ang="0">
                <a:pos x="121" y="353"/>
              </a:cxn>
              <a:cxn ang="0">
                <a:pos x="112" y="412"/>
              </a:cxn>
              <a:cxn ang="0">
                <a:pos x="158" y="460"/>
              </a:cxn>
              <a:cxn ang="0">
                <a:pos x="162" y="434"/>
              </a:cxn>
              <a:cxn ang="0">
                <a:pos x="138" y="376"/>
              </a:cxn>
              <a:cxn ang="0">
                <a:pos x="366" y="273"/>
              </a:cxn>
              <a:cxn ang="0">
                <a:pos x="436" y="29"/>
              </a:cxn>
            </a:cxnLst>
            <a:rect l="0" t="0" r="r" b="b"/>
            <a:pathLst>
              <a:path w="443" h="460">
                <a:moveTo>
                  <a:pt x="441" y="13"/>
                </a:moveTo>
                <a:cubicBezTo>
                  <a:pt x="439" y="7"/>
                  <a:pt x="433" y="4"/>
                  <a:pt x="427" y="4"/>
                </a:cubicBezTo>
                <a:cubicBezTo>
                  <a:pt x="411" y="6"/>
                  <a:pt x="374" y="5"/>
                  <a:pt x="338" y="3"/>
                </a:cubicBezTo>
                <a:cubicBezTo>
                  <a:pt x="300" y="1"/>
                  <a:pt x="260" y="0"/>
                  <a:pt x="238" y="2"/>
                </a:cubicBezTo>
                <a:cubicBezTo>
                  <a:pt x="236" y="2"/>
                  <a:pt x="235" y="2"/>
                  <a:pt x="233" y="2"/>
                </a:cubicBezTo>
                <a:cubicBezTo>
                  <a:pt x="209" y="5"/>
                  <a:pt x="163" y="9"/>
                  <a:pt x="119" y="27"/>
                </a:cubicBezTo>
                <a:cubicBezTo>
                  <a:pt x="63" y="51"/>
                  <a:pt x="28" y="90"/>
                  <a:pt x="14" y="143"/>
                </a:cubicBezTo>
                <a:cubicBezTo>
                  <a:pt x="0" y="193"/>
                  <a:pt x="12" y="233"/>
                  <a:pt x="23" y="257"/>
                </a:cubicBezTo>
                <a:cubicBezTo>
                  <a:pt x="38" y="287"/>
                  <a:pt x="63" y="311"/>
                  <a:pt x="90" y="323"/>
                </a:cubicBezTo>
                <a:cubicBezTo>
                  <a:pt x="92" y="324"/>
                  <a:pt x="95" y="324"/>
                  <a:pt x="97" y="324"/>
                </a:cubicBezTo>
                <a:cubicBezTo>
                  <a:pt x="97" y="324"/>
                  <a:pt x="97" y="324"/>
                  <a:pt x="98" y="324"/>
                </a:cubicBezTo>
                <a:cubicBezTo>
                  <a:pt x="105" y="324"/>
                  <a:pt x="111" y="318"/>
                  <a:pt x="111" y="311"/>
                </a:cubicBezTo>
                <a:cubicBezTo>
                  <a:pt x="111" y="199"/>
                  <a:pt x="111" y="199"/>
                  <a:pt x="111" y="199"/>
                </a:cubicBezTo>
                <a:cubicBezTo>
                  <a:pt x="123" y="199"/>
                  <a:pt x="123" y="199"/>
                  <a:pt x="123" y="199"/>
                </a:cubicBezTo>
                <a:cubicBezTo>
                  <a:pt x="130" y="199"/>
                  <a:pt x="136" y="193"/>
                  <a:pt x="136" y="185"/>
                </a:cubicBezTo>
                <a:cubicBezTo>
                  <a:pt x="136" y="112"/>
                  <a:pt x="136" y="112"/>
                  <a:pt x="136" y="112"/>
                </a:cubicBezTo>
                <a:cubicBezTo>
                  <a:pt x="181" y="112"/>
                  <a:pt x="181" y="112"/>
                  <a:pt x="181" y="112"/>
                </a:cubicBezTo>
                <a:cubicBezTo>
                  <a:pt x="181" y="241"/>
                  <a:pt x="181" y="241"/>
                  <a:pt x="181" y="241"/>
                </a:cubicBezTo>
                <a:cubicBezTo>
                  <a:pt x="181" y="249"/>
                  <a:pt x="187" y="255"/>
                  <a:pt x="195" y="255"/>
                </a:cubicBezTo>
                <a:cubicBezTo>
                  <a:pt x="218" y="255"/>
                  <a:pt x="218" y="255"/>
                  <a:pt x="218" y="255"/>
                </a:cubicBezTo>
                <a:cubicBezTo>
                  <a:pt x="218" y="291"/>
                  <a:pt x="218" y="291"/>
                  <a:pt x="218" y="291"/>
                </a:cubicBezTo>
                <a:cubicBezTo>
                  <a:pt x="218" y="299"/>
                  <a:pt x="224" y="305"/>
                  <a:pt x="231" y="305"/>
                </a:cubicBezTo>
                <a:cubicBezTo>
                  <a:pt x="270" y="305"/>
                  <a:pt x="270" y="305"/>
                  <a:pt x="270" y="305"/>
                </a:cubicBezTo>
                <a:cubicBezTo>
                  <a:pt x="277" y="305"/>
                  <a:pt x="283" y="299"/>
                  <a:pt x="283" y="291"/>
                </a:cubicBezTo>
                <a:cubicBezTo>
                  <a:pt x="283" y="154"/>
                  <a:pt x="283" y="154"/>
                  <a:pt x="283" y="154"/>
                </a:cubicBezTo>
                <a:cubicBezTo>
                  <a:pt x="298" y="154"/>
                  <a:pt x="298" y="154"/>
                  <a:pt x="298" y="154"/>
                </a:cubicBezTo>
                <a:cubicBezTo>
                  <a:pt x="298" y="232"/>
                  <a:pt x="298" y="232"/>
                  <a:pt x="298" y="232"/>
                </a:cubicBezTo>
                <a:cubicBezTo>
                  <a:pt x="298" y="240"/>
                  <a:pt x="304" y="246"/>
                  <a:pt x="312" y="246"/>
                </a:cubicBezTo>
                <a:cubicBezTo>
                  <a:pt x="319" y="246"/>
                  <a:pt x="325" y="240"/>
                  <a:pt x="325" y="232"/>
                </a:cubicBezTo>
                <a:cubicBezTo>
                  <a:pt x="325" y="141"/>
                  <a:pt x="325" y="141"/>
                  <a:pt x="325" y="141"/>
                </a:cubicBezTo>
                <a:cubicBezTo>
                  <a:pt x="325" y="133"/>
                  <a:pt x="319" y="127"/>
                  <a:pt x="312" y="127"/>
                </a:cubicBezTo>
                <a:cubicBezTo>
                  <a:pt x="270" y="127"/>
                  <a:pt x="270" y="127"/>
                  <a:pt x="270" y="127"/>
                </a:cubicBezTo>
                <a:cubicBezTo>
                  <a:pt x="263" y="127"/>
                  <a:pt x="257" y="133"/>
                  <a:pt x="257" y="141"/>
                </a:cubicBezTo>
                <a:cubicBezTo>
                  <a:pt x="257" y="278"/>
                  <a:pt x="257" y="278"/>
                  <a:pt x="257" y="278"/>
                </a:cubicBezTo>
                <a:cubicBezTo>
                  <a:pt x="245" y="278"/>
                  <a:pt x="245" y="278"/>
                  <a:pt x="245" y="278"/>
                </a:cubicBezTo>
                <a:cubicBezTo>
                  <a:pt x="245" y="241"/>
                  <a:pt x="245" y="241"/>
                  <a:pt x="245" y="241"/>
                </a:cubicBezTo>
                <a:cubicBezTo>
                  <a:pt x="245" y="234"/>
                  <a:pt x="239" y="228"/>
                  <a:pt x="231" y="228"/>
                </a:cubicBezTo>
                <a:cubicBezTo>
                  <a:pt x="208" y="228"/>
                  <a:pt x="208" y="228"/>
                  <a:pt x="208" y="228"/>
                </a:cubicBezTo>
                <a:cubicBezTo>
                  <a:pt x="208" y="99"/>
                  <a:pt x="208" y="99"/>
                  <a:pt x="208" y="99"/>
                </a:cubicBezTo>
                <a:cubicBezTo>
                  <a:pt x="208" y="92"/>
                  <a:pt x="202" y="86"/>
                  <a:pt x="195" y="86"/>
                </a:cubicBezTo>
                <a:cubicBezTo>
                  <a:pt x="123" y="86"/>
                  <a:pt x="123" y="86"/>
                  <a:pt x="123" y="86"/>
                </a:cubicBezTo>
                <a:cubicBezTo>
                  <a:pt x="116" y="86"/>
                  <a:pt x="110" y="92"/>
                  <a:pt x="110" y="99"/>
                </a:cubicBezTo>
                <a:cubicBezTo>
                  <a:pt x="110" y="172"/>
                  <a:pt x="110" y="172"/>
                  <a:pt x="110" y="172"/>
                </a:cubicBezTo>
                <a:cubicBezTo>
                  <a:pt x="98" y="172"/>
                  <a:pt x="98" y="172"/>
                  <a:pt x="98" y="172"/>
                </a:cubicBezTo>
                <a:cubicBezTo>
                  <a:pt x="90" y="172"/>
                  <a:pt x="84" y="178"/>
                  <a:pt x="84" y="185"/>
                </a:cubicBezTo>
                <a:cubicBezTo>
                  <a:pt x="84" y="289"/>
                  <a:pt x="84" y="289"/>
                  <a:pt x="84" y="289"/>
                </a:cubicBezTo>
                <a:cubicBezTo>
                  <a:pt x="69" y="279"/>
                  <a:pt x="56" y="264"/>
                  <a:pt x="47" y="245"/>
                </a:cubicBezTo>
                <a:cubicBezTo>
                  <a:pt x="38" y="225"/>
                  <a:pt x="28" y="192"/>
                  <a:pt x="39" y="150"/>
                </a:cubicBezTo>
                <a:cubicBezTo>
                  <a:pt x="68" y="45"/>
                  <a:pt x="190" y="33"/>
                  <a:pt x="236" y="29"/>
                </a:cubicBezTo>
                <a:cubicBezTo>
                  <a:pt x="237" y="29"/>
                  <a:pt x="239" y="29"/>
                  <a:pt x="240" y="28"/>
                </a:cubicBezTo>
                <a:cubicBezTo>
                  <a:pt x="261" y="26"/>
                  <a:pt x="300" y="28"/>
                  <a:pt x="337" y="30"/>
                </a:cubicBezTo>
                <a:cubicBezTo>
                  <a:pt x="358" y="31"/>
                  <a:pt x="379" y="32"/>
                  <a:pt x="396" y="32"/>
                </a:cubicBezTo>
                <a:cubicBezTo>
                  <a:pt x="374" y="64"/>
                  <a:pt x="370" y="108"/>
                  <a:pt x="365" y="152"/>
                </a:cubicBezTo>
                <a:cubicBezTo>
                  <a:pt x="361" y="190"/>
                  <a:pt x="357" y="230"/>
                  <a:pt x="342" y="262"/>
                </a:cubicBezTo>
                <a:cubicBezTo>
                  <a:pt x="305" y="338"/>
                  <a:pt x="222" y="373"/>
                  <a:pt x="135" y="348"/>
                </a:cubicBezTo>
                <a:cubicBezTo>
                  <a:pt x="135" y="348"/>
                  <a:pt x="135" y="348"/>
                  <a:pt x="135" y="348"/>
                </a:cubicBezTo>
                <a:cubicBezTo>
                  <a:pt x="135" y="348"/>
                  <a:pt x="134" y="348"/>
                  <a:pt x="134" y="348"/>
                </a:cubicBezTo>
                <a:cubicBezTo>
                  <a:pt x="134" y="348"/>
                  <a:pt x="134" y="348"/>
                  <a:pt x="134" y="348"/>
                </a:cubicBezTo>
                <a:cubicBezTo>
                  <a:pt x="133" y="348"/>
                  <a:pt x="133" y="348"/>
                  <a:pt x="133" y="348"/>
                </a:cubicBezTo>
                <a:cubicBezTo>
                  <a:pt x="133" y="348"/>
                  <a:pt x="132" y="347"/>
                  <a:pt x="132" y="347"/>
                </a:cubicBezTo>
                <a:cubicBezTo>
                  <a:pt x="132" y="347"/>
                  <a:pt x="132" y="347"/>
                  <a:pt x="132" y="347"/>
                </a:cubicBezTo>
                <a:cubicBezTo>
                  <a:pt x="131" y="347"/>
                  <a:pt x="131" y="347"/>
                  <a:pt x="131" y="347"/>
                </a:cubicBezTo>
                <a:cubicBezTo>
                  <a:pt x="131" y="347"/>
                  <a:pt x="131" y="347"/>
                  <a:pt x="131" y="347"/>
                </a:cubicBezTo>
                <a:cubicBezTo>
                  <a:pt x="130" y="348"/>
                  <a:pt x="130" y="348"/>
                  <a:pt x="130" y="348"/>
                </a:cubicBezTo>
                <a:cubicBezTo>
                  <a:pt x="130" y="348"/>
                  <a:pt x="129" y="348"/>
                  <a:pt x="129" y="348"/>
                </a:cubicBezTo>
                <a:cubicBezTo>
                  <a:pt x="129" y="348"/>
                  <a:pt x="129" y="348"/>
                  <a:pt x="128" y="348"/>
                </a:cubicBezTo>
                <a:cubicBezTo>
                  <a:pt x="128" y="348"/>
                  <a:pt x="128" y="348"/>
                  <a:pt x="128" y="348"/>
                </a:cubicBezTo>
                <a:cubicBezTo>
                  <a:pt x="128" y="348"/>
                  <a:pt x="127" y="348"/>
                  <a:pt x="127" y="348"/>
                </a:cubicBezTo>
                <a:cubicBezTo>
                  <a:pt x="127" y="348"/>
                  <a:pt x="127" y="348"/>
                  <a:pt x="127" y="348"/>
                </a:cubicBezTo>
                <a:cubicBezTo>
                  <a:pt x="126" y="348"/>
                  <a:pt x="126" y="349"/>
                  <a:pt x="126" y="349"/>
                </a:cubicBezTo>
                <a:cubicBezTo>
                  <a:pt x="126" y="349"/>
                  <a:pt x="126" y="349"/>
                  <a:pt x="125" y="349"/>
                </a:cubicBezTo>
                <a:cubicBezTo>
                  <a:pt x="125" y="349"/>
                  <a:pt x="125" y="349"/>
                  <a:pt x="125" y="349"/>
                </a:cubicBezTo>
                <a:cubicBezTo>
                  <a:pt x="125" y="349"/>
                  <a:pt x="124" y="349"/>
                  <a:pt x="124" y="350"/>
                </a:cubicBezTo>
                <a:cubicBezTo>
                  <a:pt x="124" y="350"/>
                  <a:pt x="124" y="350"/>
                  <a:pt x="124" y="350"/>
                </a:cubicBezTo>
                <a:cubicBezTo>
                  <a:pt x="124" y="350"/>
                  <a:pt x="123" y="350"/>
                  <a:pt x="123" y="350"/>
                </a:cubicBezTo>
                <a:cubicBezTo>
                  <a:pt x="123" y="350"/>
                  <a:pt x="123" y="351"/>
                  <a:pt x="123" y="351"/>
                </a:cubicBezTo>
                <a:cubicBezTo>
                  <a:pt x="123" y="351"/>
                  <a:pt x="122" y="351"/>
                  <a:pt x="122" y="351"/>
                </a:cubicBezTo>
                <a:cubicBezTo>
                  <a:pt x="122" y="351"/>
                  <a:pt x="122" y="351"/>
                  <a:pt x="122" y="352"/>
                </a:cubicBezTo>
                <a:cubicBezTo>
                  <a:pt x="122" y="352"/>
                  <a:pt x="122" y="352"/>
                  <a:pt x="121" y="352"/>
                </a:cubicBezTo>
                <a:cubicBezTo>
                  <a:pt x="121" y="352"/>
                  <a:pt x="121" y="352"/>
                  <a:pt x="121" y="353"/>
                </a:cubicBezTo>
                <a:cubicBezTo>
                  <a:pt x="121" y="353"/>
                  <a:pt x="121" y="353"/>
                  <a:pt x="121" y="353"/>
                </a:cubicBezTo>
                <a:cubicBezTo>
                  <a:pt x="108" y="370"/>
                  <a:pt x="105" y="391"/>
                  <a:pt x="112" y="412"/>
                </a:cubicBezTo>
                <a:cubicBezTo>
                  <a:pt x="119" y="434"/>
                  <a:pt x="138" y="455"/>
                  <a:pt x="155" y="459"/>
                </a:cubicBezTo>
                <a:cubicBezTo>
                  <a:pt x="156" y="460"/>
                  <a:pt x="157" y="460"/>
                  <a:pt x="158" y="460"/>
                </a:cubicBezTo>
                <a:cubicBezTo>
                  <a:pt x="164" y="460"/>
                  <a:pt x="170" y="456"/>
                  <a:pt x="171" y="450"/>
                </a:cubicBezTo>
                <a:cubicBezTo>
                  <a:pt x="173" y="443"/>
                  <a:pt x="169" y="436"/>
                  <a:pt x="162" y="434"/>
                </a:cubicBezTo>
                <a:cubicBezTo>
                  <a:pt x="156" y="432"/>
                  <a:pt x="143" y="420"/>
                  <a:pt x="137" y="403"/>
                </a:cubicBezTo>
                <a:cubicBezTo>
                  <a:pt x="134" y="394"/>
                  <a:pt x="134" y="384"/>
                  <a:pt x="138" y="376"/>
                </a:cubicBezTo>
                <a:cubicBezTo>
                  <a:pt x="156" y="381"/>
                  <a:pt x="173" y="383"/>
                  <a:pt x="191" y="383"/>
                </a:cubicBezTo>
                <a:cubicBezTo>
                  <a:pt x="266" y="383"/>
                  <a:pt x="332" y="343"/>
                  <a:pt x="366" y="273"/>
                </a:cubicBezTo>
                <a:cubicBezTo>
                  <a:pt x="383" y="238"/>
                  <a:pt x="387" y="196"/>
                  <a:pt x="392" y="155"/>
                </a:cubicBezTo>
                <a:cubicBezTo>
                  <a:pt x="397" y="102"/>
                  <a:pt x="402" y="51"/>
                  <a:pt x="436" y="29"/>
                </a:cubicBezTo>
                <a:cubicBezTo>
                  <a:pt x="441" y="25"/>
                  <a:pt x="443" y="19"/>
                  <a:pt x="441" y="13"/>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17" name="TextBox 316"/>
          <p:cNvSpPr txBox="1"/>
          <p:nvPr userDrawn="1"/>
        </p:nvSpPr>
        <p:spPr>
          <a:xfrm>
            <a:off x="3787046" y="2071657"/>
            <a:ext cx="577596" cy="92333"/>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Green buildings</a:t>
            </a:r>
          </a:p>
        </p:txBody>
      </p:sp>
      <p:sp>
        <p:nvSpPr>
          <p:cNvPr id="318" name="Freeform 216"/>
          <p:cNvSpPr>
            <a:spLocks noChangeAspect="1"/>
          </p:cNvSpPr>
          <p:nvPr userDrawn="1"/>
        </p:nvSpPr>
        <p:spPr bwMode="auto">
          <a:xfrm>
            <a:off x="2496642" y="1646520"/>
            <a:ext cx="316119" cy="294894"/>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19" name="TextBox 318"/>
          <p:cNvSpPr txBox="1"/>
          <p:nvPr userDrawn="1"/>
        </p:nvSpPr>
        <p:spPr>
          <a:xfrm>
            <a:off x="2423430" y="1979324"/>
            <a:ext cx="477026" cy="92333"/>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Finance</a:t>
            </a:r>
          </a:p>
        </p:txBody>
      </p:sp>
      <p:sp>
        <p:nvSpPr>
          <p:cNvPr id="320" name="Freeform 224"/>
          <p:cNvSpPr>
            <a:spLocks noChangeAspect="1"/>
          </p:cNvSpPr>
          <p:nvPr userDrawn="1"/>
        </p:nvSpPr>
        <p:spPr bwMode="auto">
          <a:xfrm>
            <a:off x="1079029" y="1681948"/>
            <a:ext cx="394183" cy="259466"/>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21" name="TextBox 320"/>
          <p:cNvSpPr txBox="1"/>
          <p:nvPr userDrawn="1"/>
        </p:nvSpPr>
        <p:spPr>
          <a:xfrm>
            <a:off x="1006989" y="1979324"/>
            <a:ext cx="489653"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Cloud and telecom</a:t>
            </a:r>
          </a:p>
        </p:txBody>
      </p:sp>
      <p:sp>
        <p:nvSpPr>
          <p:cNvPr id="322" name="TextBox 321"/>
          <p:cNvSpPr txBox="1"/>
          <p:nvPr userDrawn="1"/>
        </p:nvSpPr>
        <p:spPr>
          <a:xfrm>
            <a:off x="6835332" y="2597682"/>
            <a:ext cx="816603" cy="184666"/>
          </a:xfrm>
          <a:prstGeom prst="rect">
            <a:avLst/>
          </a:prstGeom>
          <a:noFill/>
        </p:spPr>
        <p:txBody>
          <a:bodyPr wrap="square" lIns="68589" tIns="0" rIns="68589" bIns="0" rtlCol="0" anchor="b" anchorCtr="0">
            <a:spAutoFit/>
          </a:bodyPr>
          <a:lstStyle/>
          <a:p>
            <a:pPr algn="ctr"/>
            <a:r>
              <a:rPr lang="en-US" sz="600" b="1" dirty="0">
                <a:solidFill>
                  <a:schemeClr val="bg1"/>
                </a:solidFill>
                <a:latin typeface="Arial" pitchFamily="34" charset="0"/>
                <a:cs typeface="Arial" pitchFamily="34" charset="0"/>
              </a:rPr>
              <a:t>Management software</a:t>
            </a:r>
          </a:p>
        </p:txBody>
      </p:sp>
      <p:sp>
        <p:nvSpPr>
          <p:cNvPr id="323" name="TextBox 322"/>
          <p:cNvSpPr txBox="1"/>
          <p:nvPr userDrawn="1"/>
        </p:nvSpPr>
        <p:spPr>
          <a:xfrm>
            <a:off x="6164106" y="3213500"/>
            <a:ext cx="693134" cy="184666"/>
          </a:xfrm>
          <a:prstGeom prst="rect">
            <a:avLst/>
          </a:prstGeom>
          <a:noFill/>
        </p:spPr>
        <p:txBody>
          <a:bodyPr wrap="square" lIns="68589" tIns="0" rIns="68589" bIns="0" rtlCol="0" anchor="b" anchorCtr="0">
            <a:spAutoFit/>
          </a:bodyPr>
          <a:lstStyle/>
          <a:p>
            <a:pPr algn="ctr"/>
            <a:r>
              <a:rPr lang="en-US" sz="600" b="1" dirty="0">
                <a:solidFill>
                  <a:schemeClr val="bg1"/>
                </a:solidFill>
                <a:latin typeface="Arial" pitchFamily="34" charset="0"/>
                <a:cs typeface="Arial" pitchFamily="34" charset="0"/>
              </a:rPr>
              <a:t>Power</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Measurement</a:t>
            </a:r>
          </a:p>
        </p:txBody>
      </p:sp>
      <p:sp>
        <p:nvSpPr>
          <p:cNvPr id="324" name="TextBox 323"/>
          <p:cNvSpPr txBox="1"/>
          <p:nvPr userDrawn="1"/>
        </p:nvSpPr>
        <p:spPr>
          <a:xfrm>
            <a:off x="8254337" y="1979324"/>
            <a:ext cx="816603" cy="184666"/>
          </a:xfrm>
          <a:prstGeom prst="rect">
            <a:avLst/>
          </a:prstGeom>
          <a:noFill/>
        </p:spPr>
        <p:txBody>
          <a:bodyPr wrap="square" lIns="68589" tIns="0" rIns="68589" bIns="0" rtlCol="0" anchor="b" anchorCtr="0">
            <a:spAutoFit/>
          </a:bodyPr>
          <a:lstStyle/>
          <a:p>
            <a:pPr algn="ctr"/>
            <a:r>
              <a:rPr lang="en-US" sz="600" b="1" dirty="0">
                <a:solidFill>
                  <a:schemeClr val="bg1"/>
                </a:solidFill>
                <a:latin typeface="Arial" pitchFamily="34" charset="0"/>
                <a:cs typeface="Arial" pitchFamily="34" charset="0"/>
              </a:rPr>
              <a:t>Intelligent power and motor control</a:t>
            </a:r>
          </a:p>
        </p:txBody>
      </p:sp>
      <p:sp>
        <p:nvSpPr>
          <p:cNvPr id="325" name="TextBox 324"/>
          <p:cNvSpPr txBox="1"/>
          <p:nvPr userDrawn="1"/>
        </p:nvSpPr>
        <p:spPr>
          <a:xfrm>
            <a:off x="7510739" y="3213500"/>
            <a:ext cx="816603" cy="153888"/>
          </a:xfrm>
          <a:prstGeom prst="rect">
            <a:avLst/>
          </a:prstGeom>
          <a:noFill/>
        </p:spPr>
        <p:txBody>
          <a:bodyPr wrap="square" lIns="68589" tIns="0" rIns="68589" bIns="0" rtlCol="0" anchor="t" anchorCtr="0">
            <a:spAutoFit/>
          </a:bodyPr>
          <a:lstStyle/>
          <a:p>
            <a:pPr algn="ctr">
              <a:lnSpc>
                <a:spcPts val="600"/>
              </a:lnSpc>
            </a:pPr>
            <a:r>
              <a:rPr lang="en-US" sz="600" b="1" dirty="0">
                <a:solidFill>
                  <a:schemeClr val="bg1"/>
                </a:solidFill>
                <a:latin typeface="Arial" pitchFamily="34" charset="0"/>
                <a:cs typeface="Arial" pitchFamily="34" charset="0"/>
              </a:rPr>
              <a:t>Renewable energy conversion</a:t>
            </a:r>
          </a:p>
        </p:txBody>
      </p:sp>
      <p:sp>
        <p:nvSpPr>
          <p:cNvPr id="326" name="TextBox 325"/>
          <p:cNvSpPr txBox="1"/>
          <p:nvPr userDrawn="1"/>
        </p:nvSpPr>
        <p:spPr>
          <a:xfrm>
            <a:off x="6118386" y="1979324"/>
            <a:ext cx="784574" cy="184666"/>
          </a:xfrm>
          <a:prstGeom prst="rect">
            <a:avLst/>
          </a:prstGeom>
          <a:noFill/>
        </p:spPr>
        <p:txBody>
          <a:bodyPr wrap="square" lIns="68589" tIns="0" rIns="68589" bIns="0" rtlCol="0" anchor="b" anchorCtr="0">
            <a:spAutoFit/>
          </a:bodyPr>
          <a:lstStyle/>
          <a:p>
            <a:pPr algn="ctr"/>
            <a:r>
              <a:rPr lang="en-US" sz="600" b="1" dirty="0">
                <a:solidFill>
                  <a:schemeClr val="bg1"/>
                </a:solidFill>
                <a:latin typeface="Arial" pitchFamily="34" charset="0"/>
                <a:cs typeface="Arial" pitchFamily="34" charset="0"/>
              </a:rPr>
              <a:t>Electric vehicle recharging</a:t>
            </a:r>
          </a:p>
        </p:txBody>
      </p:sp>
      <p:sp>
        <p:nvSpPr>
          <p:cNvPr id="327" name="TextBox 326"/>
          <p:cNvSpPr txBox="1"/>
          <p:nvPr userDrawn="1"/>
        </p:nvSpPr>
        <p:spPr>
          <a:xfrm>
            <a:off x="5372524" y="2597682"/>
            <a:ext cx="848632" cy="184666"/>
          </a:xfrm>
          <a:prstGeom prst="rect">
            <a:avLst/>
          </a:prstGeom>
          <a:noFill/>
        </p:spPr>
        <p:txBody>
          <a:bodyPr wrap="square" lIns="68589" tIns="0" rIns="68589" bIns="0" rtlCol="0" anchor="b" anchorCtr="0">
            <a:spAutoFit/>
          </a:bodyPr>
          <a:lstStyle/>
          <a:p>
            <a:pPr algn="ctr"/>
            <a:r>
              <a:rPr lang="en-US" sz="600" b="1" dirty="0">
                <a:solidFill>
                  <a:schemeClr val="bg1"/>
                </a:solidFill>
                <a:latin typeface="Arial" pitchFamily="34" charset="0"/>
                <a:cs typeface="Arial" pitchFamily="34" charset="0"/>
              </a:rPr>
              <a:t>Lifts and</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escalators control</a:t>
            </a:r>
          </a:p>
        </p:txBody>
      </p:sp>
      <p:sp>
        <p:nvSpPr>
          <p:cNvPr id="328" name="TextBox 327"/>
          <p:cNvSpPr txBox="1"/>
          <p:nvPr userDrawn="1"/>
        </p:nvSpPr>
        <p:spPr>
          <a:xfrm>
            <a:off x="7510739" y="2597682"/>
            <a:ext cx="816603" cy="184666"/>
          </a:xfrm>
          <a:prstGeom prst="rect">
            <a:avLst/>
          </a:prstGeom>
          <a:noFill/>
        </p:spPr>
        <p:txBody>
          <a:bodyPr wrap="square" lIns="68589" tIns="0" rIns="68589" bIns="0" rtlCol="0" anchor="b" anchorCtr="0">
            <a:spAutoFit/>
          </a:bodyPr>
          <a:lstStyle/>
          <a:p>
            <a:pPr algn="ctr"/>
            <a:r>
              <a:rPr lang="en-US" sz="600" b="1" dirty="0">
                <a:solidFill>
                  <a:schemeClr val="bg1"/>
                </a:solidFill>
                <a:latin typeface="Arial" pitchFamily="34" charset="0"/>
                <a:cs typeface="Arial" pitchFamily="34" charset="0"/>
              </a:rPr>
              <a:t>Material handling control</a:t>
            </a:r>
          </a:p>
        </p:txBody>
      </p:sp>
      <p:sp>
        <p:nvSpPr>
          <p:cNvPr id="329" name="TextBox 328"/>
          <p:cNvSpPr txBox="1"/>
          <p:nvPr userDrawn="1"/>
        </p:nvSpPr>
        <p:spPr>
          <a:xfrm>
            <a:off x="6835332" y="1979324"/>
            <a:ext cx="816603" cy="184666"/>
          </a:xfrm>
          <a:prstGeom prst="rect">
            <a:avLst/>
          </a:prstGeom>
          <a:noFill/>
        </p:spPr>
        <p:txBody>
          <a:bodyPr wrap="square" lIns="68589" tIns="0" rIns="68589" bIns="0" rtlCol="0" anchor="b" anchorCtr="0">
            <a:spAutoFit/>
          </a:bodyPr>
          <a:lstStyle/>
          <a:p>
            <a:pPr algn="ctr"/>
            <a:r>
              <a:rPr lang="en-US" sz="600" b="1" dirty="0">
                <a:solidFill>
                  <a:schemeClr val="bg1"/>
                </a:solidFill>
                <a:latin typeface="Arial" pitchFamily="34" charset="0"/>
                <a:cs typeface="Arial" pitchFamily="34" charset="0"/>
              </a:rPr>
              <a:t>Hoisting</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control</a:t>
            </a:r>
          </a:p>
        </p:txBody>
      </p:sp>
      <p:sp>
        <p:nvSpPr>
          <p:cNvPr id="330" name="TextBox 329"/>
          <p:cNvSpPr txBox="1"/>
          <p:nvPr userDrawn="1"/>
        </p:nvSpPr>
        <p:spPr>
          <a:xfrm>
            <a:off x="5417120" y="3790016"/>
            <a:ext cx="816603" cy="253916"/>
          </a:xfrm>
          <a:prstGeom prst="rect">
            <a:avLst/>
          </a:prstGeom>
          <a:noFill/>
        </p:spPr>
        <p:txBody>
          <a:bodyPr wrap="square" lIns="68589" tIns="34295" rIns="68589" bIns="34295" rtlCol="0" anchor="b" anchorCtr="0">
            <a:spAutoFit/>
          </a:bodyPr>
          <a:lstStyle/>
          <a:p>
            <a:pPr algn="ctr"/>
            <a:r>
              <a:rPr lang="en-US" sz="600" b="1" dirty="0">
                <a:solidFill>
                  <a:schemeClr val="bg1"/>
                </a:solidFill>
                <a:latin typeface="Arial" pitchFamily="34" charset="0"/>
                <a:cs typeface="Arial" pitchFamily="34" charset="0"/>
              </a:rPr>
              <a:t>Uninterruptable</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power supply</a:t>
            </a:r>
          </a:p>
        </p:txBody>
      </p:sp>
      <p:sp>
        <p:nvSpPr>
          <p:cNvPr id="331" name="TextBox 330"/>
          <p:cNvSpPr txBox="1"/>
          <p:nvPr userDrawn="1"/>
        </p:nvSpPr>
        <p:spPr>
          <a:xfrm>
            <a:off x="8254337" y="3213500"/>
            <a:ext cx="816603" cy="92333"/>
          </a:xfrm>
          <a:prstGeom prst="rect">
            <a:avLst/>
          </a:prstGeom>
          <a:noFill/>
        </p:spPr>
        <p:txBody>
          <a:bodyPr wrap="square" lIns="68589" tIns="0" rIns="68589" bIns="0" rtlCol="0" anchor="b" anchorCtr="0">
            <a:spAutoFit/>
          </a:bodyPr>
          <a:lstStyle/>
          <a:p>
            <a:pPr algn="ctr"/>
            <a:r>
              <a:rPr lang="en-US" sz="600" b="1" dirty="0">
                <a:solidFill>
                  <a:schemeClr val="bg1"/>
                </a:solidFill>
                <a:latin typeface="Arial" pitchFamily="34" charset="0"/>
                <a:cs typeface="Arial" pitchFamily="34" charset="0"/>
              </a:rPr>
              <a:t>Surveillance</a:t>
            </a:r>
          </a:p>
        </p:txBody>
      </p:sp>
      <p:sp>
        <p:nvSpPr>
          <p:cNvPr id="332" name="TextBox 331"/>
          <p:cNvSpPr txBox="1"/>
          <p:nvPr userDrawn="1"/>
        </p:nvSpPr>
        <p:spPr>
          <a:xfrm>
            <a:off x="7510739" y="1979324"/>
            <a:ext cx="816603" cy="184666"/>
          </a:xfrm>
          <a:prstGeom prst="rect">
            <a:avLst/>
          </a:prstGeom>
          <a:noFill/>
        </p:spPr>
        <p:txBody>
          <a:bodyPr wrap="square" lIns="68589" tIns="0" rIns="68589" bIns="0" rtlCol="0" anchor="b" anchorCtr="0">
            <a:spAutoFit/>
          </a:bodyPr>
          <a:lstStyle/>
          <a:p>
            <a:pPr algn="ctr"/>
            <a:r>
              <a:rPr lang="en-US" sz="600" b="1" dirty="0">
                <a:solidFill>
                  <a:schemeClr val="bg1"/>
                </a:solidFill>
                <a:latin typeface="Arial" pitchFamily="34" charset="0"/>
                <a:cs typeface="Arial" pitchFamily="34" charset="0"/>
              </a:rPr>
              <a:t>HVAC</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control</a:t>
            </a:r>
          </a:p>
        </p:txBody>
      </p:sp>
      <p:sp>
        <p:nvSpPr>
          <p:cNvPr id="333" name="TextBox 332"/>
          <p:cNvSpPr txBox="1"/>
          <p:nvPr userDrawn="1"/>
        </p:nvSpPr>
        <p:spPr>
          <a:xfrm>
            <a:off x="6086358" y="2597682"/>
            <a:ext cx="848632" cy="184666"/>
          </a:xfrm>
          <a:prstGeom prst="rect">
            <a:avLst/>
          </a:prstGeom>
          <a:noFill/>
        </p:spPr>
        <p:txBody>
          <a:bodyPr wrap="square" lIns="68589" tIns="0" rIns="68589" bIns="0" rtlCol="0" anchor="b" anchorCtr="0">
            <a:spAutoFit/>
          </a:bodyPr>
          <a:lstStyle/>
          <a:p>
            <a:pPr algn="ctr"/>
            <a:r>
              <a:rPr lang="en-US" sz="600" b="1" dirty="0">
                <a:solidFill>
                  <a:schemeClr val="bg1"/>
                </a:solidFill>
                <a:latin typeface="Arial" pitchFamily="34" charset="0"/>
                <a:cs typeface="Arial" pitchFamily="34" charset="0"/>
              </a:rPr>
              <a:t>Lighting</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control</a:t>
            </a:r>
          </a:p>
        </p:txBody>
      </p:sp>
      <p:sp>
        <p:nvSpPr>
          <p:cNvPr id="334" name="Freeform 196"/>
          <p:cNvSpPr>
            <a:spLocks noChangeAspect="1"/>
          </p:cNvSpPr>
          <p:nvPr userDrawn="1"/>
        </p:nvSpPr>
        <p:spPr bwMode="auto">
          <a:xfrm>
            <a:off x="5668303" y="1646520"/>
            <a:ext cx="245810" cy="294894"/>
          </a:xfrm>
          <a:custGeom>
            <a:avLst/>
            <a:gdLst/>
            <a:ahLst/>
            <a:cxnLst>
              <a:cxn ang="0">
                <a:pos x="47" y="131"/>
              </a:cxn>
              <a:cxn ang="0">
                <a:pos x="47" y="135"/>
              </a:cxn>
              <a:cxn ang="0">
                <a:pos x="86" y="174"/>
              </a:cxn>
              <a:cxn ang="0">
                <a:pos x="133" y="107"/>
              </a:cxn>
              <a:cxn ang="0">
                <a:pos x="226" y="133"/>
              </a:cxn>
              <a:cxn ang="0">
                <a:pos x="181" y="196"/>
              </a:cxn>
              <a:cxn ang="0">
                <a:pos x="167" y="240"/>
              </a:cxn>
              <a:cxn ang="0">
                <a:pos x="181" y="344"/>
              </a:cxn>
              <a:cxn ang="0">
                <a:pos x="231" y="275"/>
              </a:cxn>
              <a:cxn ang="0">
                <a:pos x="205" y="283"/>
              </a:cxn>
              <a:cxn ang="0">
                <a:pos x="181" y="317"/>
              </a:cxn>
              <a:cxn ang="0">
                <a:pos x="181" y="265"/>
              </a:cxn>
              <a:cxn ang="0">
                <a:pos x="194" y="223"/>
              </a:cxn>
              <a:cxn ang="0">
                <a:pos x="253" y="209"/>
              </a:cxn>
              <a:cxn ang="0">
                <a:pos x="175" y="55"/>
              </a:cxn>
              <a:cxn ang="0">
                <a:pos x="97" y="134"/>
              </a:cxn>
              <a:cxn ang="0">
                <a:pos x="86" y="147"/>
              </a:cxn>
              <a:cxn ang="0">
                <a:pos x="74" y="135"/>
              </a:cxn>
              <a:cxn ang="0">
                <a:pos x="73" y="130"/>
              </a:cxn>
              <a:cxn ang="0">
                <a:pos x="281" y="130"/>
              </a:cxn>
              <a:cxn ang="0">
                <a:pos x="281" y="206"/>
              </a:cxn>
              <a:cxn ang="0">
                <a:pos x="295" y="223"/>
              </a:cxn>
              <a:cxn ang="0">
                <a:pos x="346" y="370"/>
              </a:cxn>
              <a:cxn ang="0">
                <a:pos x="79" y="422"/>
              </a:cxn>
              <a:cxn ang="0">
                <a:pos x="26" y="276"/>
              </a:cxn>
              <a:cxn ang="0">
                <a:pos x="99" y="223"/>
              </a:cxn>
              <a:cxn ang="0">
                <a:pos x="99" y="197"/>
              </a:cxn>
              <a:cxn ang="0">
                <a:pos x="0" y="276"/>
              </a:cxn>
              <a:cxn ang="0">
                <a:pos x="79" y="449"/>
              </a:cxn>
              <a:cxn ang="0">
                <a:pos x="373" y="370"/>
              </a:cxn>
              <a:cxn ang="0">
                <a:pos x="308" y="198"/>
              </a:cxn>
              <a:cxn ang="0">
                <a:pos x="177" y="0"/>
              </a:cxn>
            </a:cxnLst>
            <a:rect l="0" t="0" r="r" b="b"/>
            <a:pathLst>
              <a:path w="373" h="449">
                <a:moveTo>
                  <a:pt x="47" y="130"/>
                </a:moveTo>
                <a:cubicBezTo>
                  <a:pt x="47" y="130"/>
                  <a:pt x="47" y="131"/>
                  <a:pt x="47" y="131"/>
                </a:cubicBezTo>
                <a:cubicBezTo>
                  <a:pt x="47" y="136"/>
                  <a:pt x="47" y="136"/>
                  <a:pt x="47" y="136"/>
                </a:cubicBezTo>
                <a:cubicBezTo>
                  <a:pt x="47" y="136"/>
                  <a:pt x="47" y="136"/>
                  <a:pt x="47" y="135"/>
                </a:cubicBezTo>
                <a:cubicBezTo>
                  <a:pt x="47" y="146"/>
                  <a:pt x="51" y="155"/>
                  <a:pt x="58" y="163"/>
                </a:cubicBezTo>
                <a:cubicBezTo>
                  <a:pt x="66" y="170"/>
                  <a:pt x="75" y="174"/>
                  <a:pt x="86" y="174"/>
                </a:cubicBezTo>
                <a:cubicBezTo>
                  <a:pt x="106" y="174"/>
                  <a:pt x="123" y="157"/>
                  <a:pt x="124" y="136"/>
                </a:cubicBezTo>
                <a:cubicBezTo>
                  <a:pt x="124" y="136"/>
                  <a:pt x="125" y="121"/>
                  <a:pt x="133" y="107"/>
                </a:cubicBezTo>
                <a:cubicBezTo>
                  <a:pt x="142" y="90"/>
                  <a:pt x="156" y="82"/>
                  <a:pt x="175" y="82"/>
                </a:cubicBezTo>
                <a:cubicBezTo>
                  <a:pt x="204" y="82"/>
                  <a:pt x="226" y="105"/>
                  <a:pt x="226" y="133"/>
                </a:cubicBezTo>
                <a:cubicBezTo>
                  <a:pt x="226" y="133"/>
                  <a:pt x="226" y="178"/>
                  <a:pt x="226" y="196"/>
                </a:cubicBezTo>
                <a:cubicBezTo>
                  <a:pt x="210" y="196"/>
                  <a:pt x="181" y="196"/>
                  <a:pt x="181" y="196"/>
                </a:cubicBezTo>
                <a:cubicBezTo>
                  <a:pt x="173" y="196"/>
                  <a:pt x="167" y="202"/>
                  <a:pt x="167" y="209"/>
                </a:cubicBezTo>
                <a:cubicBezTo>
                  <a:pt x="167" y="209"/>
                  <a:pt x="167" y="228"/>
                  <a:pt x="167" y="240"/>
                </a:cubicBezTo>
                <a:cubicBezTo>
                  <a:pt x="145" y="246"/>
                  <a:pt x="128" y="267"/>
                  <a:pt x="128" y="291"/>
                </a:cubicBezTo>
                <a:cubicBezTo>
                  <a:pt x="128" y="320"/>
                  <a:pt x="152" y="344"/>
                  <a:pt x="181" y="344"/>
                </a:cubicBezTo>
                <a:cubicBezTo>
                  <a:pt x="210" y="344"/>
                  <a:pt x="233" y="320"/>
                  <a:pt x="233" y="291"/>
                </a:cubicBezTo>
                <a:cubicBezTo>
                  <a:pt x="233" y="285"/>
                  <a:pt x="232" y="280"/>
                  <a:pt x="231" y="275"/>
                </a:cubicBezTo>
                <a:cubicBezTo>
                  <a:pt x="228" y="268"/>
                  <a:pt x="221" y="264"/>
                  <a:pt x="214" y="266"/>
                </a:cubicBezTo>
                <a:cubicBezTo>
                  <a:pt x="207" y="268"/>
                  <a:pt x="203" y="276"/>
                  <a:pt x="205" y="283"/>
                </a:cubicBezTo>
                <a:cubicBezTo>
                  <a:pt x="206" y="285"/>
                  <a:pt x="207" y="288"/>
                  <a:pt x="207" y="291"/>
                </a:cubicBezTo>
                <a:cubicBezTo>
                  <a:pt x="207" y="305"/>
                  <a:pt x="195" y="317"/>
                  <a:pt x="181" y="317"/>
                </a:cubicBezTo>
                <a:cubicBezTo>
                  <a:pt x="166" y="317"/>
                  <a:pt x="155" y="305"/>
                  <a:pt x="155" y="291"/>
                </a:cubicBezTo>
                <a:cubicBezTo>
                  <a:pt x="155" y="277"/>
                  <a:pt x="166" y="265"/>
                  <a:pt x="181" y="265"/>
                </a:cubicBezTo>
                <a:cubicBezTo>
                  <a:pt x="188" y="265"/>
                  <a:pt x="194" y="259"/>
                  <a:pt x="194" y="252"/>
                </a:cubicBezTo>
                <a:cubicBezTo>
                  <a:pt x="194" y="252"/>
                  <a:pt x="194" y="235"/>
                  <a:pt x="194" y="223"/>
                </a:cubicBezTo>
                <a:cubicBezTo>
                  <a:pt x="210" y="223"/>
                  <a:pt x="240" y="223"/>
                  <a:pt x="240" y="223"/>
                </a:cubicBezTo>
                <a:cubicBezTo>
                  <a:pt x="247" y="223"/>
                  <a:pt x="253" y="217"/>
                  <a:pt x="253" y="209"/>
                </a:cubicBezTo>
                <a:cubicBezTo>
                  <a:pt x="253" y="133"/>
                  <a:pt x="253" y="133"/>
                  <a:pt x="253" y="133"/>
                </a:cubicBezTo>
                <a:cubicBezTo>
                  <a:pt x="253" y="90"/>
                  <a:pt x="218" y="55"/>
                  <a:pt x="175" y="55"/>
                </a:cubicBezTo>
                <a:cubicBezTo>
                  <a:pt x="146" y="55"/>
                  <a:pt x="123" y="69"/>
                  <a:pt x="109" y="96"/>
                </a:cubicBezTo>
                <a:cubicBezTo>
                  <a:pt x="99" y="114"/>
                  <a:pt x="97" y="133"/>
                  <a:pt x="97" y="134"/>
                </a:cubicBezTo>
                <a:cubicBezTo>
                  <a:pt x="97" y="134"/>
                  <a:pt x="97" y="135"/>
                  <a:pt x="97" y="135"/>
                </a:cubicBezTo>
                <a:cubicBezTo>
                  <a:pt x="97" y="142"/>
                  <a:pt x="92" y="147"/>
                  <a:pt x="86" y="147"/>
                </a:cubicBezTo>
                <a:cubicBezTo>
                  <a:pt x="82" y="147"/>
                  <a:pt x="79" y="146"/>
                  <a:pt x="77" y="144"/>
                </a:cubicBezTo>
                <a:cubicBezTo>
                  <a:pt x="75" y="141"/>
                  <a:pt x="74" y="138"/>
                  <a:pt x="74" y="135"/>
                </a:cubicBezTo>
                <a:cubicBezTo>
                  <a:pt x="74" y="135"/>
                  <a:pt x="74" y="135"/>
                  <a:pt x="74" y="135"/>
                </a:cubicBezTo>
                <a:cubicBezTo>
                  <a:pt x="74" y="135"/>
                  <a:pt x="73" y="131"/>
                  <a:pt x="73" y="130"/>
                </a:cubicBezTo>
                <a:cubicBezTo>
                  <a:pt x="74" y="73"/>
                  <a:pt x="120" y="27"/>
                  <a:pt x="177" y="27"/>
                </a:cubicBezTo>
                <a:cubicBezTo>
                  <a:pt x="235" y="27"/>
                  <a:pt x="281" y="73"/>
                  <a:pt x="281" y="130"/>
                </a:cubicBezTo>
                <a:cubicBezTo>
                  <a:pt x="281" y="206"/>
                  <a:pt x="281" y="206"/>
                  <a:pt x="281" y="206"/>
                </a:cubicBezTo>
                <a:cubicBezTo>
                  <a:pt x="281" y="206"/>
                  <a:pt x="281" y="206"/>
                  <a:pt x="281" y="206"/>
                </a:cubicBezTo>
                <a:cubicBezTo>
                  <a:pt x="281" y="210"/>
                  <a:pt x="281" y="210"/>
                  <a:pt x="281" y="210"/>
                </a:cubicBezTo>
                <a:cubicBezTo>
                  <a:pt x="281" y="217"/>
                  <a:pt x="287" y="223"/>
                  <a:pt x="295" y="223"/>
                </a:cubicBezTo>
                <a:cubicBezTo>
                  <a:pt x="323" y="223"/>
                  <a:pt x="346" y="247"/>
                  <a:pt x="346" y="276"/>
                </a:cubicBezTo>
                <a:cubicBezTo>
                  <a:pt x="346" y="370"/>
                  <a:pt x="346" y="370"/>
                  <a:pt x="346" y="370"/>
                </a:cubicBezTo>
                <a:cubicBezTo>
                  <a:pt x="346" y="399"/>
                  <a:pt x="323" y="422"/>
                  <a:pt x="294" y="422"/>
                </a:cubicBezTo>
                <a:cubicBezTo>
                  <a:pt x="79" y="422"/>
                  <a:pt x="79" y="422"/>
                  <a:pt x="79" y="422"/>
                </a:cubicBezTo>
                <a:cubicBezTo>
                  <a:pt x="50" y="422"/>
                  <a:pt x="26" y="399"/>
                  <a:pt x="26" y="370"/>
                </a:cubicBezTo>
                <a:cubicBezTo>
                  <a:pt x="26" y="276"/>
                  <a:pt x="26" y="276"/>
                  <a:pt x="26" y="276"/>
                </a:cubicBezTo>
                <a:cubicBezTo>
                  <a:pt x="26" y="247"/>
                  <a:pt x="50" y="223"/>
                  <a:pt x="79" y="223"/>
                </a:cubicBezTo>
                <a:cubicBezTo>
                  <a:pt x="99" y="223"/>
                  <a:pt x="99" y="223"/>
                  <a:pt x="99" y="223"/>
                </a:cubicBezTo>
                <a:cubicBezTo>
                  <a:pt x="106" y="223"/>
                  <a:pt x="112" y="217"/>
                  <a:pt x="112" y="210"/>
                </a:cubicBezTo>
                <a:cubicBezTo>
                  <a:pt x="112" y="202"/>
                  <a:pt x="106" y="197"/>
                  <a:pt x="99" y="197"/>
                </a:cubicBezTo>
                <a:cubicBezTo>
                  <a:pt x="79" y="197"/>
                  <a:pt x="79" y="197"/>
                  <a:pt x="79" y="197"/>
                </a:cubicBezTo>
                <a:cubicBezTo>
                  <a:pt x="35" y="197"/>
                  <a:pt x="0" y="232"/>
                  <a:pt x="0" y="276"/>
                </a:cubicBezTo>
                <a:cubicBezTo>
                  <a:pt x="0" y="370"/>
                  <a:pt x="0" y="370"/>
                  <a:pt x="0" y="370"/>
                </a:cubicBezTo>
                <a:cubicBezTo>
                  <a:pt x="0" y="413"/>
                  <a:pt x="35" y="449"/>
                  <a:pt x="79" y="449"/>
                </a:cubicBezTo>
                <a:cubicBezTo>
                  <a:pt x="294" y="449"/>
                  <a:pt x="294" y="449"/>
                  <a:pt x="294" y="449"/>
                </a:cubicBezTo>
                <a:cubicBezTo>
                  <a:pt x="337" y="449"/>
                  <a:pt x="373" y="413"/>
                  <a:pt x="373" y="370"/>
                </a:cubicBezTo>
                <a:cubicBezTo>
                  <a:pt x="373" y="276"/>
                  <a:pt x="373" y="276"/>
                  <a:pt x="373" y="276"/>
                </a:cubicBezTo>
                <a:cubicBezTo>
                  <a:pt x="373" y="237"/>
                  <a:pt x="345" y="204"/>
                  <a:pt x="308" y="198"/>
                </a:cubicBezTo>
                <a:cubicBezTo>
                  <a:pt x="308" y="185"/>
                  <a:pt x="308" y="130"/>
                  <a:pt x="308" y="130"/>
                </a:cubicBezTo>
                <a:cubicBezTo>
                  <a:pt x="308" y="58"/>
                  <a:pt x="249" y="0"/>
                  <a:pt x="177" y="0"/>
                </a:cubicBezTo>
                <a:cubicBezTo>
                  <a:pt x="105" y="0"/>
                  <a:pt x="47" y="58"/>
                  <a:pt x="47" y="130"/>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algn="ctr"/>
            <a:endParaRPr lang="en-US" dirty="0"/>
          </a:p>
        </p:txBody>
      </p:sp>
      <p:sp>
        <p:nvSpPr>
          <p:cNvPr id="335" name="TextBox 334"/>
          <p:cNvSpPr txBox="1"/>
          <p:nvPr userDrawn="1"/>
        </p:nvSpPr>
        <p:spPr>
          <a:xfrm>
            <a:off x="5388538" y="1979324"/>
            <a:ext cx="816603" cy="184666"/>
          </a:xfrm>
          <a:prstGeom prst="rect">
            <a:avLst/>
          </a:prstGeom>
          <a:noFill/>
        </p:spPr>
        <p:txBody>
          <a:bodyPr wrap="square" lIns="68589" tIns="0" rIns="68589" bIns="0" rtlCol="0" anchor="b" anchorCtr="0">
            <a:spAutoFit/>
          </a:bodyPr>
          <a:lstStyle/>
          <a:p>
            <a:pPr algn="ctr"/>
            <a:r>
              <a:rPr lang="en-US" sz="600" b="1" dirty="0">
                <a:solidFill>
                  <a:schemeClr val="bg1"/>
                </a:solidFill>
                <a:latin typeface="Arial" pitchFamily="34" charset="0"/>
                <a:cs typeface="Arial" pitchFamily="34" charset="0"/>
              </a:rPr>
              <a:t>Access</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control</a:t>
            </a:r>
          </a:p>
        </p:txBody>
      </p:sp>
      <p:sp>
        <p:nvSpPr>
          <p:cNvPr id="336" name="Freeform 335"/>
          <p:cNvSpPr>
            <a:spLocks noChangeAspect="1"/>
          </p:cNvSpPr>
          <p:nvPr userDrawn="1"/>
        </p:nvSpPr>
        <p:spPr bwMode="auto">
          <a:xfrm>
            <a:off x="8461622" y="2250071"/>
            <a:ext cx="382124" cy="294894"/>
          </a:xfrm>
          <a:custGeom>
            <a:avLst/>
            <a:gdLst/>
            <a:ahLst/>
            <a:cxnLst>
              <a:cxn ang="0">
                <a:pos x="197" y="14"/>
              </a:cxn>
              <a:cxn ang="0">
                <a:pos x="180" y="79"/>
              </a:cxn>
              <a:cxn ang="0">
                <a:pos x="167" y="92"/>
              </a:cxn>
              <a:cxn ang="0">
                <a:pos x="196" y="139"/>
              </a:cxn>
              <a:cxn ang="0">
                <a:pos x="220" y="175"/>
              </a:cxn>
              <a:cxn ang="0">
                <a:pos x="234" y="185"/>
              </a:cxn>
              <a:cxn ang="0">
                <a:pos x="233" y="291"/>
              </a:cxn>
              <a:cxn ang="0">
                <a:pos x="185" y="188"/>
              </a:cxn>
              <a:cxn ang="0">
                <a:pos x="194" y="168"/>
              </a:cxn>
              <a:cxn ang="0">
                <a:pos x="125" y="79"/>
              </a:cxn>
              <a:cxn ang="0">
                <a:pos x="69" y="89"/>
              </a:cxn>
              <a:cxn ang="0">
                <a:pos x="3" y="354"/>
              </a:cxn>
              <a:cxn ang="0">
                <a:pos x="450" y="359"/>
              </a:cxn>
              <a:cxn ang="0">
                <a:pos x="463" y="343"/>
              </a:cxn>
              <a:cxn ang="0">
                <a:pos x="385" y="79"/>
              </a:cxn>
              <a:cxn ang="0">
                <a:pos x="316" y="92"/>
              </a:cxn>
              <a:cxn ang="0">
                <a:pos x="375" y="106"/>
              </a:cxn>
              <a:cxn ang="0">
                <a:pos x="31" y="333"/>
              </a:cxn>
              <a:cxn ang="0">
                <a:pos x="118" y="106"/>
              </a:cxn>
              <a:cxn ang="0">
                <a:pos x="72" y="241"/>
              </a:cxn>
              <a:cxn ang="0">
                <a:pos x="341" y="300"/>
              </a:cxn>
              <a:cxn ang="0">
                <a:pos x="342" y="180"/>
              </a:cxn>
              <a:cxn ang="0">
                <a:pos x="205" y="106"/>
              </a:cxn>
              <a:cxn ang="0">
                <a:pos x="223" y="92"/>
              </a:cxn>
              <a:cxn ang="0">
                <a:pos x="244" y="27"/>
              </a:cxn>
              <a:cxn ang="0">
                <a:pos x="257" y="106"/>
              </a:cxn>
              <a:cxn ang="0">
                <a:pos x="245" y="131"/>
              </a:cxn>
              <a:cxn ang="0">
                <a:pos x="248" y="150"/>
              </a:cxn>
              <a:cxn ang="0">
                <a:pos x="298" y="100"/>
              </a:cxn>
              <a:cxn ang="0">
                <a:pos x="287" y="79"/>
              </a:cxn>
              <a:cxn ang="0">
                <a:pos x="270" y="14"/>
              </a:cxn>
              <a:cxn ang="0">
                <a:pos x="210" y="0"/>
              </a:cxn>
            </a:cxnLst>
            <a:rect l="0" t="0" r="r" b="b"/>
            <a:pathLst>
              <a:path w="464" h="359">
                <a:moveTo>
                  <a:pt x="210" y="0"/>
                </a:moveTo>
                <a:cubicBezTo>
                  <a:pt x="203" y="0"/>
                  <a:pt x="197" y="6"/>
                  <a:pt x="197" y="14"/>
                </a:cubicBezTo>
                <a:cubicBezTo>
                  <a:pt x="197" y="14"/>
                  <a:pt x="197" y="61"/>
                  <a:pt x="197" y="79"/>
                </a:cubicBezTo>
                <a:cubicBezTo>
                  <a:pt x="188" y="79"/>
                  <a:pt x="180" y="79"/>
                  <a:pt x="180" y="79"/>
                </a:cubicBezTo>
                <a:cubicBezTo>
                  <a:pt x="175" y="79"/>
                  <a:pt x="171" y="82"/>
                  <a:pt x="168" y="86"/>
                </a:cubicBezTo>
                <a:cubicBezTo>
                  <a:pt x="167" y="88"/>
                  <a:pt x="167" y="90"/>
                  <a:pt x="167" y="92"/>
                </a:cubicBezTo>
                <a:cubicBezTo>
                  <a:pt x="167" y="95"/>
                  <a:pt x="168" y="98"/>
                  <a:pt x="169" y="100"/>
                </a:cubicBezTo>
                <a:cubicBezTo>
                  <a:pt x="196" y="139"/>
                  <a:pt x="196" y="139"/>
                  <a:pt x="196" y="139"/>
                </a:cubicBezTo>
                <a:cubicBezTo>
                  <a:pt x="214" y="166"/>
                  <a:pt x="214" y="166"/>
                  <a:pt x="214" y="166"/>
                </a:cubicBezTo>
                <a:cubicBezTo>
                  <a:pt x="220" y="175"/>
                  <a:pt x="220" y="175"/>
                  <a:pt x="220" y="175"/>
                </a:cubicBezTo>
                <a:cubicBezTo>
                  <a:pt x="224" y="180"/>
                  <a:pt x="226" y="184"/>
                  <a:pt x="233" y="185"/>
                </a:cubicBezTo>
                <a:cubicBezTo>
                  <a:pt x="233" y="185"/>
                  <a:pt x="234" y="185"/>
                  <a:pt x="234" y="185"/>
                </a:cubicBezTo>
                <a:cubicBezTo>
                  <a:pt x="311" y="185"/>
                  <a:pt x="365" y="215"/>
                  <a:pt x="365" y="241"/>
                </a:cubicBezTo>
                <a:cubicBezTo>
                  <a:pt x="365" y="266"/>
                  <a:pt x="316" y="291"/>
                  <a:pt x="233" y="291"/>
                </a:cubicBezTo>
                <a:cubicBezTo>
                  <a:pt x="150" y="291"/>
                  <a:pt x="99" y="265"/>
                  <a:pt x="99" y="241"/>
                </a:cubicBezTo>
                <a:cubicBezTo>
                  <a:pt x="99" y="219"/>
                  <a:pt x="135" y="197"/>
                  <a:pt x="185" y="188"/>
                </a:cubicBezTo>
                <a:cubicBezTo>
                  <a:pt x="190" y="188"/>
                  <a:pt x="193" y="185"/>
                  <a:pt x="195" y="180"/>
                </a:cubicBezTo>
                <a:cubicBezTo>
                  <a:pt x="197" y="176"/>
                  <a:pt x="196" y="171"/>
                  <a:pt x="194" y="168"/>
                </a:cubicBezTo>
                <a:cubicBezTo>
                  <a:pt x="136" y="85"/>
                  <a:pt x="136" y="85"/>
                  <a:pt x="136" y="85"/>
                </a:cubicBezTo>
                <a:cubicBezTo>
                  <a:pt x="134" y="81"/>
                  <a:pt x="130" y="79"/>
                  <a:pt x="125" y="79"/>
                </a:cubicBezTo>
                <a:cubicBezTo>
                  <a:pt x="82" y="79"/>
                  <a:pt x="82" y="79"/>
                  <a:pt x="82" y="79"/>
                </a:cubicBezTo>
                <a:cubicBezTo>
                  <a:pt x="76" y="79"/>
                  <a:pt x="70" y="83"/>
                  <a:pt x="69" y="89"/>
                </a:cubicBezTo>
                <a:cubicBezTo>
                  <a:pt x="1" y="342"/>
                  <a:pt x="1" y="342"/>
                  <a:pt x="1" y="342"/>
                </a:cubicBezTo>
                <a:cubicBezTo>
                  <a:pt x="0" y="346"/>
                  <a:pt x="1" y="351"/>
                  <a:pt x="3" y="354"/>
                </a:cubicBezTo>
                <a:cubicBezTo>
                  <a:pt x="6" y="357"/>
                  <a:pt x="10" y="359"/>
                  <a:pt x="14" y="359"/>
                </a:cubicBezTo>
                <a:cubicBezTo>
                  <a:pt x="450" y="359"/>
                  <a:pt x="450" y="359"/>
                  <a:pt x="450" y="359"/>
                </a:cubicBezTo>
                <a:cubicBezTo>
                  <a:pt x="454" y="359"/>
                  <a:pt x="458" y="357"/>
                  <a:pt x="461" y="354"/>
                </a:cubicBezTo>
                <a:cubicBezTo>
                  <a:pt x="463" y="351"/>
                  <a:pt x="464" y="347"/>
                  <a:pt x="463" y="343"/>
                </a:cubicBezTo>
                <a:cubicBezTo>
                  <a:pt x="398" y="89"/>
                  <a:pt x="398" y="89"/>
                  <a:pt x="398" y="89"/>
                </a:cubicBezTo>
                <a:cubicBezTo>
                  <a:pt x="397" y="83"/>
                  <a:pt x="391" y="79"/>
                  <a:pt x="385" y="79"/>
                </a:cubicBezTo>
                <a:cubicBezTo>
                  <a:pt x="329" y="79"/>
                  <a:pt x="329" y="79"/>
                  <a:pt x="329" y="79"/>
                </a:cubicBezTo>
                <a:cubicBezTo>
                  <a:pt x="321" y="79"/>
                  <a:pt x="316" y="85"/>
                  <a:pt x="316" y="92"/>
                </a:cubicBezTo>
                <a:cubicBezTo>
                  <a:pt x="316" y="100"/>
                  <a:pt x="321" y="106"/>
                  <a:pt x="329" y="106"/>
                </a:cubicBezTo>
                <a:cubicBezTo>
                  <a:pt x="329" y="106"/>
                  <a:pt x="361" y="106"/>
                  <a:pt x="375" y="106"/>
                </a:cubicBezTo>
                <a:cubicBezTo>
                  <a:pt x="379" y="123"/>
                  <a:pt x="426" y="305"/>
                  <a:pt x="433" y="333"/>
                </a:cubicBezTo>
                <a:cubicBezTo>
                  <a:pt x="403" y="333"/>
                  <a:pt x="62" y="333"/>
                  <a:pt x="31" y="333"/>
                </a:cubicBezTo>
                <a:cubicBezTo>
                  <a:pt x="39" y="304"/>
                  <a:pt x="87" y="123"/>
                  <a:pt x="92" y="106"/>
                </a:cubicBezTo>
                <a:cubicBezTo>
                  <a:pt x="101" y="106"/>
                  <a:pt x="111" y="106"/>
                  <a:pt x="118" y="106"/>
                </a:cubicBezTo>
                <a:cubicBezTo>
                  <a:pt x="124" y="113"/>
                  <a:pt x="147" y="147"/>
                  <a:pt x="160" y="166"/>
                </a:cubicBezTo>
                <a:cubicBezTo>
                  <a:pt x="106" y="180"/>
                  <a:pt x="72" y="208"/>
                  <a:pt x="72" y="241"/>
                </a:cubicBezTo>
                <a:cubicBezTo>
                  <a:pt x="72" y="286"/>
                  <a:pt x="138" y="318"/>
                  <a:pt x="233" y="318"/>
                </a:cubicBezTo>
                <a:cubicBezTo>
                  <a:pt x="275" y="318"/>
                  <a:pt x="313" y="311"/>
                  <a:pt x="341" y="300"/>
                </a:cubicBezTo>
                <a:cubicBezTo>
                  <a:pt x="374" y="286"/>
                  <a:pt x="392" y="265"/>
                  <a:pt x="392" y="241"/>
                </a:cubicBezTo>
                <a:cubicBezTo>
                  <a:pt x="392" y="217"/>
                  <a:pt x="374" y="195"/>
                  <a:pt x="342" y="180"/>
                </a:cubicBezTo>
                <a:cubicBezTo>
                  <a:pt x="315" y="167"/>
                  <a:pt x="279" y="159"/>
                  <a:pt x="241" y="158"/>
                </a:cubicBezTo>
                <a:cubicBezTo>
                  <a:pt x="234" y="148"/>
                  <a:pt x="218" y="125"/>
                  <a:pt x="205" y="106"/>
                </a:cubicBezTo>
                <a:cubicBezTo>
                  <a:pt x="206" y="106"/>
                  <a:pt x="210" y="106"/>
                  <a:pt x="210" y="106"/>
                </a:cubicBezTo>
                <a:cubicBezTo>
                  <a:pt x="217" y="106"/>
                  <a:pt x="223" y="100"/>
                  <a:pt x="223" y="92"/>
                </a:cubicBezTo>
                <a:cubicBezTo>
                  <a:pt x="223" y="92"/>
                  <a:pt x="223" y="45"/>
                  <a:pt x="223" y="27"/>
                </a:cubicBezTo>
                <a:cubicBezTo>
                  <a:pt x="232" y="27"/>
                  <a:pt x="235" y="27"/>
                  <a:pt x="244" y="27"/>
                </a:cubicBezTo>
                <a:cubicBezTo>
                  <a:pt x="244" y="45"/>
                  <a:pt x="244" y="92"/>
                  <a:pt x="244" y="92"/>
                </a:cubicBezTo>
                <a:cubicBezTo>
                  <a:pt x="244" y="100"/>
                  <a:pt x="250" y="106"/>
                  <a:pt x="257" y="106"/>
                </a:cubicBezTo>
                <a:cubicBezTo>
                  <a:pt x="257" y="106"/>
                  <a:pt x="261" y="106"/>
                  <a:pt x="262" y="106"/>
                </a:cubicBezTo>
                <a:cubicBezTo>
                  <a:pt x="253" y="118"/>
                  <a:pt x="245" y="131"/>
                  <a:pt x="245" y="131"/>
                </a:cubicBezTo>
                <a:cubicBezTo>
                  <a:pt x="243" y="133"/>
                  <a:pt x="242" y="136"/>
                  <a:pt x="242" y="139"/>
                </a:cubicBezTo>
                <a:cubicBezTo>
                  <a:pt x="242" y="143"/>
                  <a:pt x="244" y="147"/>
                  <a:pt x="248" y="150"/>
                </a:cubicBezTo>
                <a:cubicBezTo>
                  <a:pt x="254" y="154"/>
                  <a:pt x="262" y="152"/>
                  <a:pt x="267" y="146"/>
                </a:cubicBezTo>
                <a:cubicBezTo>
                  <a:pt x="298" y="100"/>
                  <a:pt x="298" y="100"/>
                  <a:pt x="298" y="100"/>
                </a:cubicBezTo>
                <a:cubicBezTo>
                  <a:pt x="301" y="96"/>
                  <a:pt x="301" y="91"/>
                  <a:pt x="299" y="86"/>
                </a:cubicBezTo>
                <a:cubicBezTo>
                  <a:pt x="296" y="82"/>
                  <a:pt x="292" y="79"/>
                  <a:pt x="287" y="79"/>
                </a:cubicBezTo>
                <a:cubicBezTo>
                  <a:pt x="287" y="79"/>
                  <a:pt x="279" y="79"/>
                  <a:pt x="270" y="79"/>
                </a:cubicBezTo>
                <a:cubicBezTo>
                  <a:pt x="270" y="61"/>
                  <a:pt x="270" y="14"/>
                  <a:pt x="270" y="14"/>
                </a:cubicBezTo>
                <a:cubicBezTo>
                  <a:pt x="270" y="6"/>
                  <a:pt x="265" y="0"/>
                  <a:pt x="257" y="0"/>
                </a:cubicBezTo>
                <a:lnTo>
                  <a:pt x="210" y="0"/>
                </a:ln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37" name="Freeform 160"/>
          <p:cNvSpPr>
            <a:spLocks noChangeAspect="1" noEditPoints="1"/>
          </p:cNvSpPr>
          <p:nvPr userDrawn="1"/>
        </p:nvSpPr>
        <p:spPr bwMode="auto">
          <a:xfrm>
            <a:off x="5590964" y="2868016"/>
            <a:ext cx="391360" cy="294894"/>
          </a:xfrm>
          <a:custGeom>
            <a:avLst/>
            <a:gdLst/>
            <a:ahLst/>
            <a:cxnLst>
              <a:cxn ang="0">
                <a:pos x="457" y="83"/>
              </a:cxn>
              <a:cxn ang="0">
                <a:pos x="449" y="73"/>
              </a:cxn>
              <a:cxn ang="0">
                <a:pos x="277" y="2"/>
              </a:cxn>
              <a:cxn ang="0">
                <a:pos x="264" y="3"/>
              </a:cxn>
              <a:cxn ang="0">
                <a:pos x="191" y="57"/>
              </a:cxn>
              <a:cxn ang="0">
                <a:pos x="186" y="69"/>
              </a:cxn>
              <a:cxn ang="0">
                <a:pos x="194" y="80"/>
              </a:cxn>
              <a:cxn ang="0">
                <a:pos x="311" y="126"/>
              </a:cxn>
              <a:cxn ang="0">
                <a:pos x="214" y="153"/>
              </a:cxn>
              <a:cxn ang="0">
                <a:pos x="179" y="87"/>
              </a:cxn>
              <a:cxn ang="0">
                <a:pos x="173" y="81"/>
              </a:cxn>
              <a:cxn ang="0">
                <a:pos x="21" y="7"/>
              </a:cxn>
              <a:cxn ang="0">
                <a:pos x="5" y="10"/>
              </a:cxn>
              <a:cxn ang="0">
                <a:pos x="3" y="26"/>
              </a:cxn>
              <a:cxn ang="0">
                <a:pos x="44" y="98"/>
              </a:cxn>
              <a:cxn ang="0">
                <a:pos x="44" y="250"/>
              </a:cxn>
              <a:cxn ang="0">
                <a:pos x="50" y="261"/>
              </a:cxn>
              <a:cxn ang="0">
                <a:pos x="168" y="336"/>
              </a:cxn>
              <a:cxn ang="0">
                <a:pos x="186" y="332"/>
              </a:cxn>
              <a:cxn ang="0">
                <a:pos x="182" y="314"/>
              </a:cxn>
              <a:cxn ang="0">
                <a:pos x="70" y="243"/>
              </a:cxn>
              <a:cxn ang="0">
                <a:pos x="70" y="95"/>
              </a:cxn>
              <a:cxn ang="0">
                <a:pos x="69" y="88"/>
              </a:cxn>
              <a:cxn ang="0">
                <a:pos x="47" y="50"/>
              </a:cxn>
              <a:cxn ang="0">
                <a:pos x="157" y="103"/>
              </a:cxn>
              <a:cxn ang="0">
                <a:pos x="176" y="139"/>
              </a:cxn>
              <a:cxn ang="0">
                <a:pos x="99" y="98"/>
              </a:cxn>
              <a:cxn ang="0">
                <a:pos x="81" y="104"/>
              </a:cxn>
              <a:cxn ang="0">
                <a:pos x="87" y="122"/>
              </a:cxn>
              <a:cxn ang="0">
                <a:pos x="196" y="179"/>
              </a:cxn>
              <a:cxn ang="0">
                <a:pos x="196" y="331"/>
              </a:cxn>
              <a:cxn ang="0">
                <a:pos x="201" y="342"/>
              </a:cxn>
              <a:cxn ang="0">
                <a:pos x="213" y="343"/>
              </a:cxn>
              <a:cxn ang="0">
                <a:pos x="389" y="285"/>
              </a:cxn>
              <a:cxn ang="0">
                <a:pos x="398" y="273"/>
              </a:cxn>
              <a:cxn ang="0">
                <a:pos x="398" y="139"/>
              </a:cxn>
              <a:cxn ang="0">
                <a:pos x="452" y="95"/>
              </a:cxn>
              <a:cxn ang="0">
                <a:pos x="457" y="83"/>
              </a:cxn>
              <a:cxn ang="0">
                <a:pos x="376" y="122"/>
              </a:cxn>
              <a:cxn ang="0">
                <a:pos x="371" y="133"/>
              </a:cxn>
              <a:cxn ang="0">
                <a:pos x="371" y="263"/>
              </a:cxn>
              <a:cxn ang="0">
                <a:pos x="222" y="312"/>
              </a:cxn>
              <a:cxn ang="0">
                <a:pos x="222" y="178"/>
              </a:cxn>
              <a:cxn ang="0">
                <a:pos x="357" y="141"/>
              </a:cxn>
              <a:cxn ang="0">
                <a:pos x="367" y="129"/>
              </a:cxn>
              <a:cxn ang="0">
                <a:pos x="359" y="116"/>
              </a:cxn>
              <a:cxn ang="0">
                <a:pos x="226" y="64"/>
              </a:cxn>
              <a:cxn ang="0">
                <a:pos x="274" y="29"/>
              </a:cxn>
              <a:cxn ang="0">
                <a:pos x="418" y="89"/>
              </a:cxn>
              <a:cxn ang="0">
                <a:pos x="376" y="122"/>
              </a:cxn>
            </a:cxnLst>
            <a:rect l="0" t="0" r="r" b="b"/>
            <a:pathLst>
              <a:path w="458" h="345">
                <a:moveTo>
                  <a:pt x="457" y="83"/>
                </a:moveTo>
                <a:cubicBezTo>
                  <a:pt x="456" y="78"/>
                  <a:pt x="453" y="75"/>
                  <a:pt x="449" y="73"/>
                </a:cubicBezTo>
                <a:cubicBezTo>
                  <a:pt x="277" y="2"/>
                  <a:pt x="277" y="2"/>
                  <a:pt x="277" y="2"/>
                </a:cubicBezTo>
                <a:cubicBezTo>
                  <a:pt x="273" y="0"/>
                  <a:pt x="268" y="0"/>
                  <a:pt x="264" y="3"/>
                </a:cubicBezTo>
                <a:cubicBezTo>
                  <a:pt x="191" y="57"/>
                  <a:pt x="191" y="57"/>
                  <a:pt x="191" y="57"/>
                </a:cubicBezTo>
                <a:cubicBezTo>
                  <a:pt x="187" y="59"/>
                  <a:pt x="185" y="64"/>
                  <a:pt x="186" y="69"/>
                </a:cubicBezTo>
                <a:cubicBezTo>
                  <a:pt x="186" y="74"/>
                  <a:pt x="189" y="78"/>
                  <a:pt x="194" y="80"/>
                </a:cubicBezTo>
                <a:cubicBezTo>
                  <a:pt x="311" y="126"/>
                  <a:pt x="311" y="126"/>
                  <a:pt x="311" y="126"/>
                </a:cubicBezTo>
                <a:cubicBezTo>
                  <a:pt x="214" y="153"/>
                  <a:pt x="214" y="153"/>
                  <a:pt x="214" y="153"/>
                </a:cubicBezTo>
                <a:cubicBezTo>
                  <a:pt x="179" y="87"/>
                  <a:pt x="179" y="87"/>
                  <a:pt x="179" y="87"/>
                </a:cubicBezTo>
                <a:cubicBezTo>
                  <a:pt x="177" y="84"/>
                  <a:pt x="175" y="82"/>
                  <a:pt x="173" y="81"/>
                </a:cubicBezTo>
                <a:cubicBezTo>
                  <a:pt x="21" y="7"/>
                  <a:pt x="21" y="7"/>
                  <a:pt x="21" y="7"/>
                </a:cubicBezTo>
                <a:cubicBezTo>
                  <a:pt x="15" y="5"/>
                  <a:pt x="9" y="6"/>
                  <a:pt x="5" y="10"/>
                </a:cubicBezTo>
                <a:cubicBezTo>
                  <a:pt x="1" y="14"/>
                  <a:pt x="0" y="21"/>
                  <a:pt x="3" y="26"/>
                </a:cubicBezTo>
                <a:cubicBezTo>
                  <a:pt x="44" y="98"/>
                  <a:pt x="44" y="98"/>
                  <a:pt x="44" y="98"/>
                </a:cubicBezTo>
                <a:cubicBezTo>
                  <a:pt x="44" y="250"/>
                  <a:pt x="44" y="250"/>
                  <a:pt x="44" y="250"/>
                </a:cubicBezTo>
                <a:cubicBezTo>
                  <a:pt x="44" y="254"/>
                  <a:pt x="46" y="259"/>
                  <a:pt x="50" y="261"/>
                </a:cubicBezTo>
                <a:cubicBezTo>
                  <a:pt x="168" y="336"/>
                  <a:pt x="168" y="336"/>
                  <a:pt x="168" y="336"/>
                </a:cubicBezTo>
                <a:cubicBezTo>
                  <a:pt x="174" y="340"/>
                  <a:pt x="182" y="339"/>
                  <a:pt x="186" y="332"/>
                </a:cubicBezTo>
                <a:cubicBezTo>
                  <a:pt x="190" y="326"/>
                  <a:pt x="189" y="318"/>
                  <a:pt x="182" y="314"/>
                </a:cubicBezTo>
                <a:cubicBezTo>
                  <a:pt x="70" y="243"/>
                  <a:pt x="70" y="243"/>
                  <a:pt x="70" y="243"/>
                </a:cubicBezTo>
                <a:cubicBezTo>
                  <a:pt x="70" y="95"/>
                  <a:pt x="70" y="95"/>
                  <a:pt x="70" y="95"/>
                </a:cubicBezTo>
                <a:cubicBezTo>
                  <a:pt x="70" y="92"/>
                  <a:pt x="70" y="90"/>
                  <a:pt x="69" y="88"/>
                </a:cubicBezTo>
                <a:cubicBezTo>
                  <a:pt x="47" y="50"/>
                  <a:pt x="47" y="50"/>
                  <a:pt x="47" y="50"/>
                </a:cubicBezTo>
                <a:cubicBezTo>
                  <a:pt x="157" y="103"/>
                  <a:pt x="157" y="103"/>
                  <a:pt x="157" y="103"/>
                </a:cubicBezTo>
                <a:cubicBezTo>
                  <a:pt x="176" y="139"/>
                  <a:pt x="176" y="139"/>
                  <a:pt x="176" y="139"/>
                </a:cubicBezTo>
                <a:cubicBezTo>
                  <a:pt x="99" y="98"/>
                  <a:pt x="99" y="98"/>
                  <a:pt x="99" y="98"/>
                </a:cubicBezTo>
                <a:cubicBezTo>
                  <a:pt x="93" y="95"/>
                  <a:pt x="84" y="97"/>
                  <a:pt x="81" y="104"/>
                </a:cubicBezTo>
                <a:cubicBezTo>
                  <a:pt x="78" y="110"/>
                  <a:pt x="80" y="118"/>
                  <a:pt x="87" y="122"/>
                </a:cubicBezTo>
                <a:cubicBezTo>
                  <a:pt x="196" y="179"/>
                  <a:pt x="196" y="179"/>
                  <a:pt x="196" y="179"/>
                </a:cubicBezTo>
                <a:cubicBezTo>
                  <a:pt x="196" y="331"/>
                  <a:pt x="196" y="331"/>
                  <a:pt x="196" y="331"/>
                </a:cubicBezTo>
                <a:cubicBezTo>
                  <a:pt x="196" y="335"/>
                  <a:pt x="198" y="339"/>
                  <a:pt x="201" y="342"/>
                </a:cubicBezTo>
                <a:cubicBezTo>
                  <a:pt x="205" y="344"/>
                  <a:pt x="209" y="345"/>
                  <a:pt x="213" y="343"/>
                </a:cubicBezTo>
                <a:cubicBezTo>
                  <a:pt x="389" y="285"/>
                  <a:pt x="389" y="285"/>
                  <a:pt x="389" y="285"/>
                </a:cubicBezTo>
                <a:cubicBezTo>
                  <a:pt x="394" y="284"/>
                  <a:pt x="398" y="279"/>
                  <a:pt x="398" y="273"/>
                </a:cubicBezTo>
                <a:cubicBezTo>
                  <a:pt x="398" y="139"/>
                  <a:pt x="398" y="139"/>
                  <a:pt x="398" y="139"/>
                </a:cubicBezTo>
                <a:cubicBezTo>
                  <a:pt x="452" y="95"/>
                  <a:pt x="452" y="95"/>
                  <a:pt x="452" y="95"/>
                </a:cubicBezTo>
                <a:cubicBezTo>
                  <a:pt x="456" y="92"/>
                  <a:pt x="458" y="88"/>
                  <a:pt x="457" y="83"/>
                </a:cubicBezTo>
                <a:close/>
                <a:moveTo>
                  <a:pt x="376" y="122"/>
                </a:moveTo>
                <a:cubicBezTo>
                  <a:pt x="373" y="125"/>
                  <a:pt x="371" y="129"/>
                  <a:pt x="371" y="133"/>
                </a:cubicBezTo>
                <a:cubicBezTo>
                  <a:pt x="371" y="263"/>
                  <a:pt x="371" y="263"/>
                  <a:pt x="371" y="263"/>
                </a:cubicBezTo>
                <a:cubicBezTo>
                  <a:pt x="222" y="312"/>
                  <a:pt x="222" y="312"/>
                  <a:pt x="222" y="312"/>
                </a:cubicBezTo>
                <a:cubicBezTo>
                  <a:pt x="222" y="178"/>
                  <a:pt x="222" y="178"/>
                  <a:pt x="222" y="178"/>
                </a:cubicBezTo>
                <a:cubicBezTo>
                  <a:pt x="357" y="141"/>
                  <a:pt x="357" y="141"/>
                  <a:pt x="357" y="141"/>
                </a:cubicBezTo>
                <a:cubicBezTo>
                  <a:pt x="363" y="140"/>
                  <a:pt x="367" y="135"/>
                  <a:pt x="367" y="129"/>
                </a:cubicBezTo>
                <a:cubicBezTo>
                  <a:pt x="367" y="123"/>
                  <a:pt x="364" y="118"/>
                  <a:pt x="359" y="116"/>
                </a:cubicBezTo>
                <a:cubicBezTo>
                  <a:pt x="226" y="64"/>
                  <a:pt x="226" y="64"/>
                  <a:pt x="226" y="64"/>
                </a:cubicBezTo>
                <a:cubicBezTo>
                  <a:pt x="274" y="29"/>
                  <a:pt x="274" y="29"/>
                  <a:pt x="274" y="29"/>
                </a:cubicBezTo>
                <a:cubicBezTo>
                  <a:pt x="418" y="89"/>
                  <a:pt x="418" y="89"/>
                  <a:pt x="418" y="89"/>
                </a:cubicBezTo>
                <a:lnTo>
                  <a:pt x="376" y="122"/>
                </a:ln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38" name="Freeform 164"/>
          <p:cNvSpPr>
            <a:spLocks noChangeAspect="1"/>
          </p:cNvSpPr>
          <p:nvPr userDrawn="1"/>
        </p:nvSpPr>
        <p:spPr bwMode="auto">
          <a:xfrm>
            <a:off x="7088465" y="2887066"/>
            <a:ext cx="294972" cy="294894"/>
          </a:xfrm>
          <a:custGeom>
            <a:avLst/>
            <a:gdLst/>
            <a:ahLst/>
            <a:cxnLst>
              <a:cxn ang="0">
                <a:pos x="307" y="183"/>
              </a:cxn>
              <a:cxn ang="0">
                <a:pos x="256" y="269"/>
              </a:cxn>
              <a:cxn ang="0">
                <a:pos x="207" y="180"/>
              </a:cxn>
              <a:cxn ang="0">
                <a:pos x="141" y="85"/>
              </a:cxn>
              <a:cxn ang="0">
                <a:pos x="27" y="183"/>
              </a:cxn>
              <a:cxn ang="0">
                <a:pos x="331" y="101"/>
              </a:cxn>
              <a:cxn ang="0">
                <a:pos x="369" y="143"/>
              </a:cxn>
              <a:cxn ang="0">
                <a:pos x="369" y="143"/>
              </a:cxn>
              <a:cxn ang="0">
                <a:pos x="371" y="144"/>
              </a:cxn>
              <a:cxn ang="0">
                <a:pos x="373" y="144"/>
              </a:cxn>
              <a:cxn ang="0">
                <a:pos x="375" y="144"/>
              </a:cxn>
              <a:cxn ang="0">
                <a:pos x="377" y="143"/>
              </a:cxn>
              <a:cxn ang="0">
                <a:pos x="379" y="143"/>
              </a:cxn>
              <a:cxn ang="0">
                <a:pos x="380" y="142"/>
              </a:cxn>
              <a:cxn ang="0">
                <a:pos x="382" y="141"/>
              </a:cxn>
              <a:cxn ang="0">
                <a:pos x="383" y="139"/>
              </a:cxn>
              <a:cxn ang="0">
                <a:pos x="384" y="138"/>
              </a:cxn>
              <a:cxn ang="0">
                <a:pos x="385" y="137"/>
              </a:cxn>
              <a:cxn ang="0">
                <a:pos x="386" y="135"/>
              </a:cxn>
              <a:cxn ang="0">
                <a:pos x="386" y="134"/>
              </a:cxn>
              <a:cxn ang="0">
                <a:pos x="387" y="132"/>
              </a:cxn>
              <a:cxn ang="0">
                <a:pos x="387" y="131"/>
              </a:cxn>
              <a:cxn ang="0">
                <a:pos x="363" y="79"/>
              </a:cxn>
              <a:cxn ang="0">
                <a:pos x="197" y="0"/>
              </a:cxn>
              <a:cxn ang="0">
                <a:pos x="86" y="210"/>
              </a:cxn>
              <a:cxn ang="0">
                <a:pos x="141" y="111"/>
              </a:cxn>
              <a:cxn ang="0">
                <a:pos x="185" y="200"/>
              </a:cxn>
              <a:cxn ang="0">
                <a:pos x="307" y="244"/>
              </a:cxn>
              <a:cxn ang="0">
                <a:pos x="197" y="367"/>
              </a:cxn>
              <a:cxn ang="0">
                <a:pos x="69" y="297"/>
              </a:cxn>
              <a:cxn ang="0">
                <a:pos x="29" y="251"/>
              </a:cxn>
              <a:cxn ang="0">
                <a:pos x="27" y="250"/>
              </a:cxn>
              <a:cxn ang="0">
                <a:pos x="21" y="250"/>
              </a:cxn>
              <a:cxn ang="0">
                <a:pos x="19" y="250"/>
              </a:cxn>
              <a:cxn ang="0">
                <a:pos x="18" y="251"/>
              </a:cxn>
              <a:cxn ang="0">
                <a:pos x="16" y="252"/>
              </a:cxn>
              <a:cxn ang="0">
                <a:pos x="15" y="253"/>
              </a:cxn>
              <a:cxn ang="0">
                <a:pos x="13" y="254"/>
              </a:cxn>
              <a:cxn ang="0">
                <a:pos x="11" y="259"/>
              </a:cxn>
              <a:cxn ang="0">
                <a:pos x="4" y="312"/>
              </a:cxn>
              <a:cxn ang="0">
                <a:pos x="30" y="315"/>
              </a:cxn>
              <a:cxn ang="0">
                <a:pos x="197" y="394"/>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39" name="TextBox 338"/>
          <p:cNvSpPr txBox="1"/>
          <p:nvPr userDrawn="1"/>
        </p:nvSpPr>
        <p:spPr>
          <a:xfrm>
            <a:off x="6851347" y="3213500"/>
            <a:ext cx="784574" cy="184666"/>
          </a:xfrm>
          <a:prstGeom prst="rect">
            <a:avLst/>
          </a:prstGeom>
          <a:noFill/>
        </p:spPr>
        <p:txBody>
          <a:bodyPr wrap="square" lIns="68589" tIns="0" rIns="68589" bIns="0" rtlCol="0" anchor="b" anchorCtr="0">
            <a:spAutoFit/>
          </a:bodyPr>
          <a:lstStyle/>
          <a:p>
            <a:pPr algn="ctr"/>
            <a:r>
              <a:rPr lang="en-US" sz="600" b="1" dirty="0">
                <a:solidFill>
                  <a:schemeClr val="bg1"/>
                </a:solidFill>
                <a:latin typeface="Arial" pitchFamily="34" charset="0"/>
                <a:cs typeface="Arial" pitchFamily="34" charset="0"/>
              </a:rPr>
              <a:t>Prosumer microgrid</a:t>
            </a:r>
          </a:p>
        </p:txBody>
      </p:sp>
      <p:sp>
        <p:nvSpPr>
          <p:cNvPr id="340" name="TextBox 339"/>
          <p:cNvSpPr txBox="1"/>
          <p:nvPr userDrawn="1"/>
        </p:nvSpPr>
        <p:spPr>
          <a:xfrm>
            <a:off x="5404552" y="3213500"/>
            <a:ext cx="784574" cy="184666"/>
          </a:xfrm>
          <a:prstGeom prst="rect">
            <a:avLst/>
          </a:prstGeom>
          <a:noFill/>
        </p:spPr>
        <p:txBody>
          <a:bodyPr wrap="square" lIns="68589" tIns="0" rIns="68589" bIns="0" rtlCol="0" anchor="b" anchorCtr="0">
            <a:spAutoFit/>
          </a:bodyPr>
          <a:lstStyle/>
          <a:p>
            <a:pPr algn="ctr"/>
            <a:r>
              <a:rPr lang="en-US" sz="600" b="1" dirty="0">
                <a:solidFill>
                  <a:schemeClr val="bg1"/>
                </a:solidFill>
                <a:latin typeface="Arial" pitchFamily="34" charset="0"/>
                <a:cs typeface="Arial" pitchFamily="34" charset="0"/>
              </a:rPr>
              <a:t>Packaging control</a:t>
            </a:r>
          </a:p>
        </p:txBody>
      </p:sp>
      <p:sp>
        <p:nvSpPr>
          <p:cNvPr id="341" name="TextBox 340"/>
          <p:cNvSpPr txBox="1"/>
          <p:nvPr userDrawn="1"/>
        </p:nvSpPr>
        <p:spPr>
          <a:xfrm>
            <a:off x="8270352" y="2597682"/>
            <a:ext cx="784574" cy="184666"/>
          </a:xfrm>
          <a:prstGeom prst="rect">
            <a:avLst/>
          </a:prstGeom>
          <a:noFill/>
        </p:spPr>
        <p:txBody>
          <a:bodyPr wrap="square" lIns="68589" tIns="0" rIns="68589" bIns="0" rtlCol="0" anchor="b" anchorCtr="0">
            <a:spAutoFit/>
          </a:bodyPr>
          <a:lstStyle/>
          <a:p>
            <a:pPr algn="ctr"/>
            <a:r>
              <a:rPr lang="en-US" sz="600" b="1" dirty="0">
                <a:solidFill>
                  <a:schemeClr val="bg1"/>
                </a:solidFill>
                <a:latin typeface="Arial" pitchFamily="34" charset="0"/>
                <a:cs typeface="Arial" pitchFamily="34" charset="0"/>
              </a:rPr>
              <a:t>Material</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working</a:t>
            </a:r>
          </a:p>
        </p:txBody>
      </p:sp>
      <p:sp>
        <p:nvSpPr>
          <p:cNvPr id="342" name="Freeform 673"/>
          <p:cNvSpPr>
            <a:spLocks noEditPoints="1"/>
          </p:cNvSpPr>
          <p:nvPr userDrawn="1"/>
        </p:nvSpPr>
        <p:spPr bwMode="auto">
          <a:xfrm>
            <a:off x="5680514" y="4184425"/>
            <a:ext cx="289815" cy="378050"/>
          </a:xfrm>
          <a:custGeom>
            <a:avLst/>
            <a:gdLst/>
            <a:ahLst/>
            <a:cxnLst>
              <a:cxn ang="0">
                <a:pos x="313" y="120"/>
              </a:cxn>
              <a:cxn ang="0">
                <a:pos x="299" y="120"/>
              </a:cxn>
              <a:cxn ang="0">
                <a:pos x="196" y="181"/>
              </a:cxn>
              <a:cxn ang="0">
                <a:pos x="191" y="199"/>
              </a:cxn>
              <a:cxn ang="0">
                <a:pos x="210" y="204"/>
              </a:cxn>
              <a:cxn ang="0">
                <a:pos x="291" y="156"/>
              </a:cxn>
              <a:cxn ang="0">
                <a:pos x="279" y="343"/>
              </a:cxn>
              <a:cxn ang="0">
                <a:pos x="179" y="421"/>
              </a:cxn>
              <a:cxn ang="0">
                <a:pos x="179" y="172"/>
              </a:cxn>
              <a:cxn ang="0">
                <a:pos x="313" y="94"/>
              </a:cxn>
              <a:cxn ang="0">
                <a:pos x="320" y="82"/>
              </a:cxn>
              <a:cxn ang="0">
                <a:pos x="320" y="82"/>
              </a:cxn>
              <a:cxn ang="0">
                <a:pos x="312" y="70"/>
              </a:cxn>
              <a:cxn ang="0">
                <a:pos x="157" y="2"/>
              </a:cxn>
              <a:cxn ang="0">
                <a:pos x="145" y="2"/>
              </a:cxn>
              <a:cxn ang="0">
                <a:pos x="8" y="69"/>
              </a:cxn>
              <a:cxn ang="0">
                <a:pos x="1" y="82"/>
              </a:cxn>
              <a:cxn ang="0">
                <a:pos x="18" y="362"/>
              </a:cxn>
              <a:cxn ang="0">
                <a:pos x="24" y="373"/>
              </a:cxn>
              <a:cxn ang="0">
                <a:pos x="115" y="437"/>
              </a:cxn>
              <a:cxn ang="0">
                <a:pos x="129" y="438"/>
              </a:cxn>
              <a:cxn ang="0">
                <a:pos x="136" y="426"/>
              </a:cxn>
              <a:cxn ang="0">
                <a:pos x="136" y="177"/>
              </a:cxn>
              <a:cxn ang="0">
                <a:pos x="123" y="163"/>
              </a:cxn>
              <a:cxn ang="0">
                <a:pos x="110" y="177"/>
              </a:cxn>
              <a:cxn ang="0">
                <a:pos x="110" y="400"/>
              </a:cxn>
              <a:cxn ang="0">
                <a:pos x="44" y="354"/>
              </a:cxn>
              <a:cxn ang="0">
                <a:pos x="28" y="89"/>
              </a:cxn>
              <a:cxn ang="0">
                <a:pos x="151" y="29"/>
              </a:cxn>
              <a:cxn ang="0">
                <a:pos x="277" y="84"/>
              </a:cxn>
              <a:cxn ang="0">
                <a:pos x="159" y="152"/>
              </a:cxn>
              <a:cxn ang="0">
                <a:pos x="153" y="164"/>
              </a:cxn>
              <a:cxn ang="0">
                <a:pos x="152" y="449"/>
              </a:cxn>
              <a:cxn ang="0">
                <a:pos x="160" y="461"/>
              </a:cxn>
              <a:cxn ang="0">
                <a:pos x="174" y="459"/>
              </a:cxn>
              <a:cxn ang="0">
                <a:pos x="300" y="360"/>
              </a:cxn>
              <a:cxn ang="0">
                <a:pos x="305" y="350"/>
              </a:cxn>
              <a:cxn ang="0">
                <a:pos x="319" y="132"/>
              </a:cxn>
              <a:cxn ang="0">
                <a:pos x="313" y="120"/>
              </a:cxn>
              <a:cxn ang="0">
                <a:pos x="274" y="279"/>
              </a:cxn>
              <a:cxn ang="0">
                <a:pos x="275" y="256"/>
              </a:cxn>
              <a:cxn ang="0">
                <a:pos x="262" y="242"/>
              </a:cxn>
              <a:cxn ang="0">
                <a:pos x="248" y="255"/>
              </a:cxn>
              <a:cxn ang="0">
                <a:pos x="247" y="278"/>
              </a:cxn>
              <a:cxn ang="0">
                <a:pos x="260" y="292"/>
              </a:cxn>
              <a:cxn ang="0">
                <a:pos x="274" y="279"/>
              </a:cxn>
            </a:cxnLst>
            <a:rect l="0" t="0" r="r" b="b"/>
            <a:pathLst>
              <a:path w="320" h="463">
                <a:moveTo>
                  <a:pt x="313" y="120"/>
                </a:moveTo>
                <a:cubicBezTo>
                  <a:pt x="309" y="117"/>
                  <a:pt x="303" y="117"/>
                  <a:pt x="299" y="120"/>
                </a:cubicBezTo>
                <a:cubicBezTo>
                  <a:pt x="196" y="181"/>
                  <a:pt x="196" y="181"/>
                  <a:pt x="196" y="181"/>
                </a:cubicBezTo>
                <a:cubicBezTo>
                  <a:pt x="190" y="185"/>
                  <a:pt x="188" y="193"/>
                  <a:pt x="191" y="199"/>
                </a:cubicBezTo>
                <a:cubicBezTo>
                  <a:pt x="195" y="206"/>
                  <a:pt x="203" y="208"/>
                  <a:pt x="210" y="204"/>
                </a:cubicBezTo>
                <a:cubicBezTo>
                  <a:pt x="210" y="204"/>
                  <a:pt x="264" y="172"/>
                  <a:pt x="291" y="156"/>
                </a:cubicBezTo>
                <a:cubicBezTo>
                  <a:pt x="288" y="194"/>
                  <a:pt x="279" y="333"/>
                  <a:pt x="279" y="343"/>
                </a:cubicBezTo>
                <a:cubicBezTo>
                  <a:pt x="271" y="348"/>
                  <a:pt x="207" y="399"/>
                  <a:pt x="179" y="421"/>
                </a:cubicBezTo>
                <a:cubicBezTo>
                  <a:pt x="179" y="378"/>
                  <a:pt x="179" y="185"/>
                  <a:pt x="179" y="172"/>
                </a:cubicBezTo>
                <a:cubicBezTo>
                  <a:pt x="191" y="165"/>
                  <a:pt x="313" y="94"/>
                  <a:pt x="313" y="94"/>
                </a:cubicBezTo>
                <a:cubicBezTo>
                  <a:pt x="317" y="91"/>
                  <a:pt x="320" y="87"/>
                  <a:pt x="320" y="82"/>
                </a:cubicBezTo>
                <a:cubicBezTo>
                  <a:pt x="320" y="82"/>
                  <a:pt x="320" y="82"/>
                  <a:pt x="320" y="82"/>
                </a:cubicBezTo>
                <a:cubicBezTo>
                  <a:pt x="320" y="77"/>
                  <a:pt x="317" y="72"/>
                  <a:pt x="312" y="70"/>
                </a:cubicBezTo>
                <a:cubicBezTo>
                  <a:pt x="157" y="2"/>
                  <a:pt x="157" y="2"/>
                  <a:pt x="157" y="2"/>
                </a:cubicBezTo>
                <a:cubicBezTo>
                  <a:pt x="153" y="0"/>
                  <a:pt x="149" y="0"/>
                  <a:pt x="145" y="2"/>
                </a:cubicBezTo>
                <a:cubicBezTo>
                  <a:pt x="8" y="69"/>
                  <a:pt x="8" y="69"/>
                  <a:pt x="8" y="69"/>
                </a:cubicBezTo>
                <a:cubicBezTo>
                  <a:pt x="3" y="71"/>
                  <a:pt x="0" y="77"/>
                  <a:pt x="1" y="82"/>
                </a:cubicBezTo>
                <a:cubicBezTo>
                  <a:pt x="18" y="362"/>
                  <a:pt x="18" y="362"/>
                  <a:pt x="18" y="362"/>
                </a:cubicBezTo>
                <a:cubicBezTo>
                  <a:pt x="19" y="367"/>
                  <a:pt x="21" y="370"/>
                  <a:pt x="24" y="373"/>
                </a:cubicBezTo>
                <a:cubicBezTo>
                  <a:pt x="115" y="437"/>
                  <a:pt x="115" y="437"/>
                  <a:pt x="115" y="437"/>
                </a:cubicBezTo>
                <a:cubicBezTo>
                  <a:pt x="119" y="439"/>
                  <a:pt x="125" y="440"/>
                  <a:pt x="129" y="438"/>
                </a:cubicBezTo>
                <a:cubicBezTo>
                  <a:pt x="134" y="435"/>
                  <a:pt x="136" y="431"/>
                  <a:pt x="136" y="426"/>
                </a:cubicBezTo>
                <a:cubicBezTo>
                  <a:pt x="136" y="177"/>
                  <a:pt x="136" y="177"/>
                  <a:pt x="136" y="177"/>
                </a:cubicBezTo>
                <a:cubicBezTo>
                  <a:pt x="136" y="169"/>
                  <a:pt x="130" y="163"/>
                  <a:pt x="123" y="163"/>
                </a:cubicBezTo>
                <a:cubicBezTo>
                  <a:pt x="116" y="163"/>
                  <a:pt x="110" y="169"/>
                  <a:pt x="110" y="177"/>
                </a:cubicBezTo>
                <a:cubicBezTo>
                  <a:pt x="110" y="177"/>
                  <a:pt x="110" y="359"/>
                  <a:pt x="110" y="400"/>
                </a:cubicBezTo>
                <a:cubicBezTo>
                  <a:pt x="87" y="384"/>
                  <a:pt x="52" y="359"/>
                  <a:pt x="44" y="354"/>
                </a:cubicBezTo>
                <a:cubicBezTo>
                  <a:pt x="44" y="343"/>
                  <a:pt x="29" y="105"/>
                  <a:pt x="28" y="89"/>
                </a:cubicBezTo>
                <a:cubicBezTo>
                  <a:pt x="41" y="83"/>
                  <a:pt x="142" y="33"/>
                  <a:pt x="151" y="29"/>
                </a:cubicBezTo>
                <a:cubicBezTo>
                  <a:pt x="160" y="32"/>
                  <a:pt x="244" y="69"/>
                  <a:pt x="277" y="84"/>
                </a:cubicBezTo>
                <a:cubicBezTo>
                  <a:pt x="245" y="102"/>
                  <a:pt x="159" y="152"/>
                  <a:pt x="159" y="152"/>
                </a:cubicBezTo>
                <a:cubicBezTo>
                  <a:pt x="155" y="155"/>
                  <a:pt x="153" y="159"/>
                  <a:pt x="153" y="164"/>
                </a:cubicBezTo>
                <a:cubicBezTo>
                  <a:pt x="153" y="164"/>
                  <a:pt x="152" y="449"/>
                  <a:pt x="152" y="449"/>
                </a:cubicBezTo>
                <a:cubicBezTo>
                  <a:pt x="152" y="454"/>
                  <a:pt x="155" y="459"/>
                  <a:pt x="160" y="461"/>
                </a:cubicBezTo>
                <a:cubicBezTo>
                  <a:pt x="164" y="463"/>
                  <a:pt x="170" y="462"/>
                  <a:pt x="174" y="459"/>
                </a:cubicBezTo>
                <a:cubicBezTo>
                  <a:pt x="300" y="360"/>
                  <a:pt x="300" y="360"/>
                  <a:pt x="300" y="360"/>
                </a:cubicBezTo>
                <a:cubicBezTo>
                  <a:pt x="303" y="358"/>
                  <a:pt x="304" y="354"/>
                  <a:pt x="305" y="350"/>
                </a:cubicBezTo>
                <a:cubicBezTo>
                  <a:pt x="319" y="132"/>
                  <a:pt x="319" y="132"/>
                  <a:pt x="319" y="132"/>
                </a:cubicBezTo>
                <a:cubicBezTo>
                  <a:pt x="320" y="127"/>
                  <a:pt x="317" y="122"/>
                  <a:pt x="313" y="120"/>
                </a:cubicBezTo>
                <a:close/>
                <a:moveTo>
                  <a:pt x="274" y="279"/>
                </a:moveTo>
                <a:cubicBezTo>
                  <a:pt x="275" y="256"/>
                  <a:pt x="275" y="256"/>
                  <a:pt x="275" y="256"/>
                </a:cubicBezTo>
                <a:cubicBezTo>
                  <a:pt x="275" y="249"/>
                  <a:pt x="270" y="242"/>
                  <a:pt x="262" y="242"/>
                </a:cubicBezTo>
                <a:cubicBezTo>
                  <a:pt x="255" y="242"/>
                  <a:pt x="249" y="247"/>
                  <a:pt x="248" y="255"/>
                </a:cubicBezTo>
                <a:cubicBezTo>
                  <a:pt x="247" y="278"/>
                  <a:pt x="247" y="278"/>
                  <a:pt x="247" y="278"/>
                </a:cubicBezTo>
                <a:cubicBezTo>
                  <a:pt x="247" y="285"/>
                  <a:pt x="253" y="291"/>
                  <a:pt x="260" y="292"/>
                </a:cubicBezTo>
                <a:cubicBezTo>
                  <a:pt x="267" y="292"/>
                  <a:pt x="273" y="286"/>
                  <a:pt x="274" y="279"/>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algn="ctr" defTabSz="685891" rtl="0" eaLnBrk="1" latinLnBrk="0" hangingPunct="1"/>
            <a:endParaRPr lang="en-US" sz="1400" kern="1200" dirty="0">
              <a:solidFill>
                <a:schemeClr val="tx1"/>
              </a:solidFill>
              <a:latin typeface="+mn-lt"/>
              <a:ea typeface="+mn-ea"/>
              <a:cs typeface="+mn-cs"/>
            </a:endParaRPr>
          </a:p>
        </p:txBody>
      </p:sp>
      <p:sp>
        <p:nvSpPr>
          <p:cNvPr id="343" name="TextBox 342"/>
          <p:cNvSpPr txBox="1"/>
          <p:nvPr userDrawn="1"/>
        </p:nvSpPr>
        <p:spPr>
          <a:xfrm>
            <a:off x="5484481" y="4540685"/>
            <a:ext cx="681881" cy="161583"/>
          </a:xfrm>
          <a:prstGeom prst="rect">
            <a:avLst/>
          </a:prstGeom>
          <a:noFill/>
        </p:spPr>
        <p:txBody>
          <a:bodyPr wrap="square" lIns="68589" tIns="34295" rIns="68589" bIns="34295" rtlCol="0" anchor="b" anchorCtr="0">
            <a:spAutoFit/>
          </a:bodyPr>
          <a:lstStyle/>
          <a:p>
            <a:pPr algn="ctr"/>
            <a:r>
              <a:rPr lang="en-US" sz="600" b="1" dirty="0">
                <a:solidFill>
                  <a:schemeClr val="bg1"/>
                </a:solidFill>
                <a:latin typeface="Arial" pitchFamily="34" charset="0"/>
                <a:cs typeface="Arial" pitchFamily="34" charset="0"/>
              </a:rPr>
              <a:t>Panel builders</a:t>
            </a:r>
          </a:p>
        </p:txBody>
      </p:sp>
      <p:sp>
        <p:nvSpPr>
          <p:cNvPr id="344" name="Rounded Rectangle 343"/>
          <p:cNvSpPr/>
          <p:nvPr userDrawn="1"/>
        </p:nvSpPr>
        <p:spPr>
          <a:xfrm>
            <a:off x="457200" y="3513206"/>
            <a:ext cx="3969508" cy="1208351"/>
          </a:xfrm>
          <a:prstGeom prst="roundRect">
            <a:avLst>
              <a:gd name="adj" fmla="val 942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4295" rIns="0" bIns="34295" rtlCol="0" anchor="ctr"/>
          <a:lstStyle/>
          <a:p>
            <a:pPr marL="390577" indent="-219104" algn="l">
              <a:spcAft>
                <a:spcPts val="150"/>
              </a:spcAft>
              <a:tabLst>
                <a:tab pos="129796" algn="l"/>
                <a:tab pos="342946" algn="l"/>
              </a:tabLst>
            </a:pPr>
            <a:r>
              <a:rPr lang="en-US" sz="1200" b="1" dirty="0">
                <a:solidFill>
                  <a:srgbClr val="009530"/>
                </a:solidFill>
              </a:rPr>
              <a:t>To</a:t>
            </a:r>
            <a:r>
              <a:rPr lang="en-US" sz="1200" b="1" baseline="0" dirty="0">
                <a:solidFill>
                  <a:srgbClr val="009530"/>
                </a:solidFill>
              </a:rPr>
              <a:t> add a picto to your presentation:</a:t>
            </a:r>
          </a:p>
          <a:p>
            <a:pPr marL="390577" indent="-219104" algn="l">
              <a:spcAft>
                <a:spcPts val="150"/>
              </a:spcAft>
              <a:buFont typeface="+mj-lt"/>
              <a:buAutoNum type="arabicPeriod"/>
              <a:tabLst>
                <a:tab pos="129796" algn="l"/>
                <a:tab pos="342946" algn="l"/>
              </a:tabLst>
            </a:pPr>
            <a:r>
              <a:rPr lang="en-US" sz="1100" baseline="0" dirty="0">
                <a:solidFill>
                  <a:srgbClr val="009530"/>
                </a:solidFill>
              </a:rPr>
              <a:t>Select view/slide master</a:t>
            </a:r>
          </a:p>
          <a:p>
            <a:pPr marL="390577" indent="-219104" algn="l">
              <a:spcAft>
                <a:spcPts val="150"/>
              </a:spcAft>
              <a:buFont typeface="+mj-lt"/>
              <a:buAutoNum type="arabicPeriod"/>
              <a:tabLst>
                <a:tab pos="129796" algn="l"/>
                <a:tab pos="342946" algn="l"/>
              </a:tabLst>
            </a:pPr>
            <a:r>
              <a:rPr lang="en-US" sz="1100" baseline="0" dirty="0">
                <a:solidFill>
                  <a:srgbClr val="009530"/>
                </a:solidFill>
              </a:rPr>
              <a:t>Go to slide with pictos</a:t>
            </a:r>
          </a:p>
          <a:p>
            <a:pPr marL="390577" indent="-219104" algn="l">
              <a:spcAft>
                <a:spcPts val="150"/>
              </a:spcAft>
              <a:buFont typeface="+mj-lt"/>
              <a:buAutoNum type="arabicPeriod"/>
              <a:tabLst>
                <a:tab pos="129796" algn="l"/>
                <a:tab pos="342946" algn="l"/>
              </a:tabLst>
            </a:pPr>
            <a:r>
              <a:rPr lang="en-US" sz="1100" baseline="0" dirty="0">
                <a:solidFill>
                  <a:srgbClr val="009530"/>
                </a:solidFill>
              </a:rPr>
              <a:t>Select and copy the picto that you would like to add (ctrl-c)</a:t>
            </a:r>
          </a:p>
          <a:p>
            <a:pPr marL="390577" indent="-219104" algn="l">
              <a:spcAft>
                <a:spcPts val="150"/>
              </a:spcAft>
              <a:buFont typeface="+mj-lt"/>
              <a:buAutoNum type="arabicPeriod"/>
              <a:tabLst>
                <a:tab pos="129796" algn="l"/>
                <a:tab pos="342946" algn="l"/>
              </a:tabLst>
            </a:pPr>
            <a:r>
              <a:rPr lang="en-US" sz="1100" baseline="0" dirty="0">
                <a:solidFill>
                  <a:srgbClr val="009530"/>
                </a:solidFill>
              </a:rPr>
              <a:t>Close master view</a:t>
            </a:r>
          </a:p>
          <a:p>
            <a:pPr marL="390577" indent="-219104" algn="l">
              <a:spcAft>
                <a:spcPts val="150"/>
              </a:spcAft>
              <a:buFont typeface="+mj-lt"/>
              <a:buAutoNum type="arabicPeriod"/>
              <a:tabLst>
                <a:tab pos="129796" algn="l"/>
                <a:tab pos="342946" algn="l"/>
              </a:tabLst>
            </a:pPr>
            <a:r>
              <a:rPr lang="en-US" sz="1100" baseline="0" dirty="0">
                <a:solidFill>
                  <a:srgbClr val="009530"/>
                </a:solidFill>
              </a:rPr>
              <a:t>Paste picto onto your slide (ctrl-p)</a:t>
            </a:r>
            <a:endParaRPr lang="en-US" sz="1100" dirty="0">
              <a:solidFill>
                <a:srgbClr val="009530"/>
              </a:solidFill>
            </a:endParaRPr>
          </a:p>
        </p:txBody>
      </p:sp>
      <p:sp>
        <p:nvSpPr>
          <p:cNvPr id="345" name="TextBox 344"/>
          <p:cNvSpPr txBox="1"/>
          <p:nvPr userDrawn="1"/>
        </p:nvSpPr>
        <p:spPr>
          <a:xfrm>
            <a:off x="371517" y="926584"/>
            <a:ext cx="638655" cy="238537"/>
          </a:xfrm>
          <a:prstGeom prst="rect">
            <a:avLst/>
          </a:prstGeom>
          <a:noFill/>
        </p:spPr>
        <p:txBody>
          <a:bodyPr wrap="none" lIns="68589" tIns="34295" rIns="68589" bIns="34295" rtlCol="0">
            <a:spAutoFit/>
          </a:bodyPr>
          <a:lstStyle/>
          <a:p>
            <a:pPr algn="r"/>
            <a:r>
              <a:rPr lang="en-US" sz="1100" dirty="0">
                <a:solidFill>
                  <a:schemeClr val="bg1"/>
                </a:solidFill>
                <a:latin typeface="Arial" pitchFamily="34" charset="0"/>
                <a:cs typeface="Arial" pitchFamily="34" charset="0"/>
              </a:rPr>
              <a:t>Markets</a:t>
            </a:r>
          </a:p>
        </p:txBody>
      </p:sp>
      <p:sp>
        <p:nvSpPr>
          <p:cNvPr id="346" name="TextBox 345"/>
          <p:cNvSpPr txBox="1"/>
          <p:nvPr userDrawn="1"/>
        </p:nvSpPr>
        <p:spPr>
          <a:xfrm>
            <a:off x="246392" y="1646355"/>
            <a:ext cx="773307" cy="407814"/>
          </a:xfrm>
          <a:prstGeom prst="rect">
            <a:avLst/>
          </a:prstGeom>
          <a:noFill/>
        </p:spPr>
        <p:txBody>
          <a:bodyPr wrap="none" lIns="68589" tIns="34295" rIns="68589" bIns="34295" rtlCol="0">
            <a:spAutoFit/>
          </a:bodyPr>
          <a:lstStyle/>
          <a:p>
            <a:pPr algn="r"/>
            <a:r>
              <a:rPr lang="en-US" sz="1100" dirty="0">
                <a:solidFill>
                  <a:schemeClr val="bg1"/>
                </a:solidFill>
                <a:latin typeface="Arial" pitchFamily="34" charset="0"/>
                <a:cs typeface="Arial" pitchFamily="34" charset="0"/>
              </a:rPr>
              <a:t>Market </a:t>
            </a:r>
          </a:p>
          <a:p>
            <a:pPr algn="r"/>
            <a:r>
              <a:rPr lang="en-US" sz="1100" dirty="0">
                <a:solidFill>
                  <a:schemeClr val="bg1"/>
                </a:solidFill>
                <a:latin typeface="Arial" pitchFamily="34" charset="0"/>
                <a:cs typeface="Arial" pitchFamily="34" charset="0"/>
              </a:rPr>
              <a:t>Segments</a:t>
            </a:r>
          </a:p>
        </p:txBody>
      </p:sp>
      <p:sp>
        <p:nvSpPr>
          <p:cNvPr id="347" name="TextBox 346"/>
          <p:cNvSpPr txBox="1"/>
          <p:nvPr userDrawn="1"/>
        </p:nvSpPr>
        <p:spPr>
          <a:xfrm>
            <a:off x="4832035" y="923447"/>
            <a:ext cx="696363" cy="238537"/>
          </a:xfrm>
          <a:prstGeom prst="rect">
            <a:avLst/>
          </a:prstGeom>
          <a:noFill/>
        </p:spPr>
        <p:txBody>
          <a:bodyPr wrap="none" lIns="68589" tIns="34295" rIns="68589" bIns="34295" rtlCol="0">
            <a:spAutoFit/>
          </a:bodyPr>
          <a:lstStyle/>
          <a:p>
            <a:pPr algn="r"/>
            <a:r>
              <a:rPr lang="en-US" sz="1100" dirty="0">
                <a:solidFill>
                  <a:schemeClr val="bg1"/>
                </a:solidFill>
                <a:latin typeface="Arial" pitchFamily="34" charset="0"/>
                <a:cs typeface="Arial" pitchFamily="34" charset="0"/>
              </a:rPr>
              <a:t>Domains</a:t>
            </a:r>
          </a:p>
        </p:txBody>
      </p:sp>
      <p:sp>
        <p:nvSpPr>
          <p:cNvPr id="348" name="TextBox 347"/>
          <p:cNvSpPr txBox="1"/>
          <p:nvPr userDrawn="1"/>
        </p:nvSpPr>
        <p:spPr>
          <a:xfrm>
            <a:off x="4626851" y="1640350"/>
            <a:ext cx="901547" cy="238537"/>
          </a:xfrm>
          <a:prstGeom prst="rect">
            <a:avLst/>
          </a:prstGeom>
          <a:noFill/>
        </p:spPr>
        <p:txBody>
          <a:bodyPr wrap="none" lIns="68589" tIns="34295" rIns="68589" bIns="34295" rtlCol="0">
            <a:spAutoFit/>
          </a:bodyPr>
          <a:lstStyle/>
          <a:p>
            <a:pPr algn="r"/>
            <a:r>
              <a:rPr lang="en-US" sz="1100" dirty="0">
                <a:solidFill>
                  <a:schemeClr val="bg1"/>
                </a:solidFill>
                <a:latin typeface="Arial" pitchFamily="34" charset="0"/>
                <a:cs typeface="Arial" pitchFamily="34" charset="0"/>
              </a:rPr>
              <a:t>Applications</a:t>
            </a:r>
          </a:p>
        </p:txBody>
      </p:sp>
      <p:sp>
        <p:nvSpPr>
          <p:cNvPr id="349" name="TextBox 348"/>
          <p:cNvSpPr txBox="1"/>
          <p:nvPr userDrawn="1"/>
        </p:nvSpPr>
        <p:spPr>
          <a:xfrm>
            <a:off x="4497007" y="4292261"/>
            <a:ext cx="1031391" cy="238537"/>
          </a:xfrm>
          <a:prstGeom prst="rect">
            <a:avLst/>
          </a:prstGeom>
          <a:noFill/>
        </p:spPr>
        <p:txBody>
          <a:bodyPr wrap="none" lIns="68589" tIns="34295" rIns="68589" bIns="34295" rtlCol="0">
            <a:spAutoFit/>
          </a:bodyPr>
          <a:lstStyle/>
          <a:p>
            <a:pPr algn="r"/>
            <a:r>
              <a:rPr lang="en-US" sz="1100" dirty="0">
                <a:solidFill>
                  <a:schemeClr val="bg1"/>
                </a:solidFill>
                <a:latin typeface="Arial" pitchFamily="34" charset="0"/>
                <a:cs typeface="Arial" pitchFamily="34" charset="0"/>
              </a:rPr>
              <a:t>Intermediaries</a:t>
            </a:r>
          </a:p>
        </p:txBody>
      </p:sp>
      <p:sp>
        <p:nvSpPr>
          <p:cNvPr id="94" name="TextBox 93"/>
          <p:cNvSpPr txBox="1"/>
          <p:nvPr userDrawn="1"/>
        </p:nvSpPr>
        <p:spPr>
          <a:xfrm>
            <a:off x="456129" y="4759465"/>
            <a:ext cx="2130481" cy="92333"/>
          </a:xfrm>
          <a:prstGeom prst="rect">
            <a:avLst/>
          </a:prstGeom>
          <a:noFill/>
        </p:spPr>
        <p:txBody>
          <a:bodyPr wrap="square" lIns="0" tIns="0" rIns="0" bIns="0" rtlCol="0" anchor="b" anchorCtr="0">
            <a:spAutoFit/>
          </a:bodyPr>
          <a:lstStyle/>
          <a:p>
            <a:r>
              <a:rPr lang="en-US" sz="600" dirty="0">
                <a:solidFill>
                  <a:schemeClr val="bg1"/>
                </a:solidFill>
                <a:latin typeface="Arial" pitchFamily="34" charset="0"/>
                <a:cs typeface="Arial" pitchFamily="34" charset="0"/>
              </a:rPr>
              <a:t>Confidential Property of Schneider Electric</a:t>
            </a:r>
          </a:p>
        </p:txBody>
      </p:sp>
      <p:sp>
        <p:nvSpPr>
          <p:cNvPr id="95" name="Slide Number Placeholder 3"/>
          <p:cNvSpPr txBox="1">
            <a:spLocks/>
          </p:cNvSpPr>
          <p:nvPr userDrawn="1"/>
        </p:nvSpPr>
        <p:spPr>
          <a:xfrm>
            <a:off x="8388947" y="4708922"/>
            <a:ext cx="297734" cy="142875"/>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289370020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eneric Pictos_Gree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lvl1pPr>
          </a:lstStyle>
          <a:p>
            <a:r>
              <a:rPr lang="en-US" dirty="0"/>
              <a:t>Generic Pictograms and Symbols</a:t>
            </a:r>
            <a:endParaRPr lang="en-US" noProof="0" dirty="0"/>
          </a:p>
        </p:txBody>
      </p:sp>
      <p:sp>
        <p:nvSpPr>
          <p:cNvPr id="5" name="Freeform 171"/>
          <p:cNvSpPr>
            <a:spLocks/>
          </p:cNvSpPr>
          <p:nvPr userDrawn="1"/>
        </p:nvSpPr>
        <p:spPr bwMode="auto">
          <a:xfrm>
            <a:off x="414939" y="872433"/>
            <a:ext cx="350135" cy="388144"/>
          </a:xfrm>
          <a:custGeom>
            <a:avLst/>
            <a:gdLst/>
            <a:ahLst/>
            <a:cxnLst>
              <a:cxn ang="0">
                <a:pos x="201" y="427"/>
              </a:cxn>
              <a:cxn ang="0">
                <a:pos x="166" y="301"/>
              </a:cxn>
              <a:cxn ang="0">
                <a:pos x="141" y="194"/>
              </a:cxn>
              <a:cxn ang="0">
                <a:pos x="128" y="238"/>
              </a:cxn>
              <a:cxn ang="0">
                <a:pos x="50" y="224"/>
              </a:cxn>
              <a:cxn ang="0">
                <a:pos x="63" y="122"/>
              </a:cxn>
              <a:cxn ang="0">
                <a:pos x="166" y="106"/>
              </a:cxn>
              <a:cxn ang="0">
                <a:pos x="39" y="97"/>
              </a:cxn>
              <a:cxn ang="0">
                <a:pos x="27" y="106"/>
              </a:cxn>
              <a:cxn ang="0">
                <a:pos x="115" y="416"/>
              </a:cxn>
              <a:cxn ang="0">
                <a:pos x="142" y="323"/>
              </a:cxn>
              <a:cxn ang="0">
                <a:pos x="129" y="442"/>
              </a:cxn>
              <a:cxn ang="0">
                <a:pos x="0" y="429"/>
              </a:cxn>
              <a:cxn ang="0">
                <a:pos x="39" y="70"/>
              </a:cxn>
              <a:cxn ang="0">
                <a:pos x="183" y="81"/>
              </a:cxn>
              <a:cxn ang="0">
                <a:pos x="179" y="148"/>
              </a:cxn>
              <a:cxn ang="0">
                <a:pos x="115" y="180"/>
              </a:cxn>
              <a:cxn ang="0">
                <a:pos x="179" y="167"/>
              </a:cxn>
              <a:cxn ang="0">
                <a:pos x="193" y="290"/>
              </a:cxn>
              <a:cxn ang="0">
                <a:pos x="193" y="346"/>
              </a:cxn>
              <a:cxn ang="0">
                <a:pos x="284" y="432"/>
              </a:cxn>
              <a:cxn ang="0">
                <a:pos x="333" y="422"/>
              </a:cxn>
              <a:cxn ang="0">
                <a:pos x="365" y="259"/>
              </a:cxn>
              <a:cxn ang="0">
                <a:pos x="303" y="179"/>
              </a:cxn>
              <a:cxn ang="0">
                <a:pos x="312" y="168"/>
              </a:cxn>
              <a:cxn ang="0">
                <a:pos x="321" y="164"/>
              </a:cxn>
              <a:cxn ang="0">
                <a:pos x="348" y="132"/>
              </a:cxn>
              <a:cxn ang="0">
                <a:pos x="349" y="95"/>
              </a:cxn>
              <a:cxn ang="0">
                <a:pos x="344" y="95"/>
              </a:cxn>
              <a:cxn ang="0">
                <a:pos x="330" y="32"/>
              </a:cxn>
              <a:cxn ang="0">
                <a:pos x="326" y="27"/>
              </a:cxn>
              <a:cxn ang="0">
                <a:pos x="321" y="81"/>
              </a:cxn>
              <a:cxn ang="0">
                <a:pos x="308" y="94"/>
              </a:cxn>
              <a:cxn ang="0">
                <a:pos x="261" y="81"/>
              </a:cxn>
              <a:cxn ang="0">
                <a:pos x="257" y="27"/>
              </a:cxn>
              <a:cxn ang="0">
                <a:pos x="252" y="32"/>
              </a:cxn>
              <a:cxn ang="0">
                <a:pos x="237" y="95"/>
              </a:cxn>
              <a:cxn ang="0">
                <a:pos x="233" y="95"/>
              </a:cxn>
              <a:cxn ang="0">
                <a:pos x="234" y="139"/>
              </a:cxn>
              <a:cxn ang="0">
                <a:pos x="240" y="152"/>
              </a:cxn>
              <a:cxn ang="0">
                <a:pos x="271" y="167"/>
              </a:cxn>
              <a:cxn ang="0">
                <a:pos x="264" y="192"/>
              </a:cxn>
              <a:cxn ang="0">
                <a:pos x="209" y="150"/>
              </a:cxn>
              <a:cxn ang="0">
                <a:pos x="207" y="132"/>
              </a:cxn>
              <a:cxn ang="0">
                <a:pos x="210" y="80"/>
              </a:cxn>
              <a:cxn ang="0">
                <a:pos x="225" y="70"/>
              </a:cxn>
              <a:cxn ang="0">
                <a:pos x="257" y="0"/>
              </a:cxn>
              <a:cxn ang="0">
                <a:pos x="287" y="32"/>
              </a:cxn>
              <a:cxn ang="0">
                <a:pos x="295" y="32"/>
              </a:cxn>
              <a:cxn ang="0">
                <a:pos x="348" y="10"/>
              </a:cxn>
              <a:cxn ang="0">
                <a:pos x="356" y="70"/>
              </a:cxn>
              <a:cxn ang="0">
                <a:pos x="375" y="111"/>
              </a:cxn>
              <a:cxn ang="0">
                <a:pos x="368" y="160"/>
              </a:cxn>
              <a:cxn ang="0">
                <a:pos x="388" y="246"/>
              </a:cxn>
              <a:cxn ang="0">
                <a:pos x="398" y="394"/>
              </a:cxn>
              <a:cxn ang="0">
                <a:pos x="285" y="459"/>
              </a:cxn>
            </a:cxnLst>
            <a:rect l="0" t="0" r="r" b="b"/>
            <a:pathLst>
              <a:path w="413" h="459">
                <a:moveTo>
                  <a:pt x="285" y="459"/>
                </a:moveTo>
                <a:cubicBezTo>
                  <a:pt x="285" y="459"/>
                  <a:pt x="284" y="459"/>
                  <a:pt x="284" y="459"/>
                </a:cubicBezTo>
                <a:cubicBezTo>
                  <a:pt x="284" y="459"/>
                  <a:pt x="284" y="459"/>
                  <a:pt x="284" y="459"/>
                </a:cubicBezTo>
                <a:cubicBezTo>
                  <a:pt x="246" y="459"/>
                  <a:pt x="219" y="445"/>
                  <a:pt x="201" y="427"/>
                </a:cubicBezTo>
                <a:cubicBezTo>
                  <a:pt x="201" y="427"/>
                  <a:pt x="201" y="427"/>
                  <a:pt x="201" y="427"/>
                </a:cubicBezTo>
                <a:cubicBezTo>
                  <a:pt x="183" y="409"/>
                  <a:pt x="175" y="388"/>
                  <a:pt x="171" y="372"/>
                </a:cubicBezTo>
                <a:cubicBezTo>
                  <a:pt x="171" y="372"/>
                  <a:pt x="171" y="372"/>
                  <a:pt x="171" y="372"/>
                </a:cubicBezTo>
                <a:cubicBezTo>
                  <a:pt x="168" y="361"/>
                  <a:pt x="167" y="352"/>
                  <a:pt x="167" y="348"/>
                </a:cubicBezTo>
                <a:cubicBezTo>
                  <a:pt x="167" y="348"/>
                  <a:pt x="167" y="348"/>
                  <a:pt x="167" y="348"/>
                </a:cubicBezTo>
                <a:cubicBezTo>
                  <a:pt x="166" y="335"/>
                  <a:pt x="166" y="314"/>
                  <a:pt x="166" y="301"/>
                </a:cubicBezTo>
                <a:cubicBezTo>
                  <a:pt x="166" y="301"/>
                  <a:pt x="166" y="301"/>
                  <a:pt x="166" y="301"/>
                </a:cubicBezTo>
                <a:cubicBezTo>
                  <a:pt x="166" y="294"/>
                  <a:pt x="166" y="290"/>
                  <a:pt x="166" y="290"/>
                </a:cubicBezTo>
                <a:cubicBezTo>
                  <a:pt x="166" y="290"/>
                  <a:pt x="166" y="290"/>
                  <a:pt x="166" y="290"/>
                </a:cubicBezTo>
                <a:cubicBezTo>
                  <a:pt x="166" y="194"/>
                  <a:pt x="166" y="194"/>
                  <a:pt x="166" y="194"/>
                </a:cubicBezTo>
                <a:cubicBezTo>
                  <a:pt x="141" y="194"/>
                  <a:pt x="141" y="194"/>
                  <a:pt x="141" y="194"/>
                </a:cubicBezTo>
                <a:cubicBezTo>
                  <a:pt x="141" y="224"/>
                  <a:pt x="141" y="224"/>
                  <a:pt x="141" y="224"/>
                </a:cubicBezTo>
                <a:cubicBezTo>
                  <a:pt x="141" y="228"/>
                  <a:pt x="140" y="231"/>
                  <a:pt x="137" y="234"/>
                </a:cubicBezTo>
                <a:cubicBezTo>
                  <a:pt x="137" y="234"/>
                  <a:pt x="137" y="234"/>
                  <a:pt x="137" y="234"/>
                </a:cubicBezTo>
                <a:cubicBezTo>
                  <a:pt x="135" y="236"/>
                  <a:pt x="132" y="238"/>
                  <a:pt x="128" y="238"/>
                </a:cubicBezTo>
                <a:cubicBezTo>
                  <a:pt x="128" y="238"/>
                  <a:pt x="128" y="238"/>
                  <a:pt x="128" y="238"/>
                </a:cubicBezTo>
                <a:cubicBezTo>
                  <a:pt x="63" y="238"/>
                  <a:pt x="63" y="238"/>
                  <a:pt x="63" y="238"/>
                </a:cubicBezTo>
                <a:cubicBezTo>
                  <a:pt x="60" y="238"/>
                  <a:pt x="56" y="236"/>
                  <a:pt x="54" y="234"/>
                </a:cubicBezTo>
                <a:cubicBezTo>
                  <a:pt x="54" y="234"/>
                  <a:pt x="54" y="234"/>
                  <a:pt x="54" y="234"/>
                </a:cubicBezTo>
                <a:cubicBezTo>
                  <a:pt x="51" y="231"/>
                  <a:pt x="50" y="228"/>
                  <a:pt x="50" y="224"/>
                </a:cubicBezTo>
                <a:cubicBezTo>
                  <a:pt x="50" y="224"/>
                  <a:pt x="50" y="224"/>
                  <a:pt x="50" y="224"/>
                </a:cubicBezTo>
                <a:cubicBezTo>
                  <a:pt x="50" y="135"/>
                  <a:pt x="50" y="135"/>
                  <a:pt x="50" y="135"/>
                </a:cubicBezTo>
                <a:cubicBezTo>
                  <a:pt x="50" y="131"/>
                  <a:pt x="51" y="128"/>
                  <a:pt x="54" y="126"/>
                </a:cubicBezTo>
                <a:cubicBezTo>
                  <a:pt x="54" y="126"/>
                  <a:pt x="54" y="126"/>
                  <a:pt x="54" y="126"/>
                </a:cubicBezTo>
                <a:cubicBezTo>
                  <a:pt x="56" y="123"/>
                  <a:pt x="60" y="122"/>
                  <a:pt x="63" y="122"/>
                </a:cubicBezTo>
                <a:cubicBezTo>
                  <a:pt x="63" y="122"/>
                  <a:pt x="63" y="122"/>
                  <a:pt x="63" y="122"/>
                </a:cubicBezTo>
                <a:cubicBezTo>
                  <a:pt x="166" y="122"/>
                  <a:pt x="166" y="122"/>
                  <a:pt x="166" y="122"/>
                </a:cubicBezTo>
                <a:cubicBezTo>
                  <a:pt x="166" y="122"/>
                  <a:pt x="166" y="122"/>
                  <a:pt x="166" y="122"/>
                </a:cubicBezTo>
                <a:cubicBezTo>
                  <a:pt x="166" y="122"/>
                  <a:pt x="166" y="122"/>
                  <a:pt x="166" y="122"/>
                </a:cubicBezTo>
                <a:cubicBezTo>
                  <a:pt x="166" y="115"/>
                  <a:pt x="166" y="107"/>
                  <a:pt x="166" y="106"/>
                </a:cubicBezTo>
                <a:cubicBezTo>
                  <a:pt x="166" y="106"/>
                  <a:pt x="166" y="106"/>
                  <a:pt x="166" y="106"/>
                </a:cubicBezTo>
                <a:cubicBezTo>
                  <a:pt x="166" y="103"/>
                  <a:pt x="165" y="101"/>
                  <a:pt x="164" y="99"/>
                </a:cubicBezTo>
                <a:cubicBezTo>
                  <a:pt x="164" y="99"/>
                  <a:pt x="164" y="99"/>
                  <a:pt x="164" y="99"/>
                </a:cubicBezTo>
                <a:cubicBezTo>
                  <a:pt x="162" y="98"/>
                  <a:pt x="160" y="97"/>
                  <a:pt x="159" y="97"/>
                </a:cubicBezTo>
                <a:cubicBezTo>
                  <a:pt x="159" y="97"/>
                  <a:pt x="159" y="97"/>
                  <a:pt x="159" y="97"/>
                </a:cubicBezTo>
                <a:cubicBezTo>
                  <a:pt x="128" y="97"/>
                  <a:pt x="52" y="97"/>
                  <a:pt x="39" y="97"/>
                </a:cubicBezTo>
                <a:cubicBezTo>
                  <a:pt x="39" y="97"/>
                  <a:pt x="39" y="97"/>
                  <a:pt x="39" y="97"/>
                </a:cubicBezTo>
                <a:cubicBezTo>
                  <a:pt x="32" y="97"/>
                  <a:pt x="30" y="99"/>
                  <a:pt x="29" y="100"/>
                </a:cubicBezTo>
                <a:cubicBezTo>
                  <a:pt x="29" y="100"/>
                  <a:pt x="29" y="100"/>
                  <a:pt x="29" y="100"/>
                </a:cubicBezTo>
                <a:cubicBezTo>
                  <a:pt x="28" y="101"/>
                  <a:pt x="27" y="104"/>
                  <a:pt x="27" y="106"/>
                </a:cubicBezTo>
                <a:cubicBezTo>
                  <a:pt x="27" y="106"/>
                  <a:pt x="27" y="106"/>
                  <a:pt x="27" y="106"/>
                </a:cubicBezTo>
                <a:cubicBezTo>
                  <a:pt x="27" y="108"/>
                  <a:pt x="27" y="188"/>
                  <a:pt x="27" y="269"/>
                </a:cubicBezTo>
                <a:cubicBezTo>
                  <a:pt x="27" y="269"/>
                  <a:pt x="27" y="269"/>
                  <a:pt x="27" y="269"/>
                </a:cubicBezTo>
                <a:cubicBezTo>
                  <a:pt x="27" y="329"/>
                  <a:pt x="27" y="390"/>
                  <a:pt x="27" y="416"/>
                </a:cubicBezTo>
                <a:cubicBezTo>
                  <a:pt x="27" y="416"/>
                  <a:pt x="27" y="416"/>
                  <a:pt x="27" y="416"/>
                </a:cubicBezTo>
                <a:cubicBezTo>
                  <a:pt x="115" y="416"/>
                  <a:pt x="115" y="416"/>
                  <a:pt x="115" y="416"/>
                </a:cubicBezTo>
                <a:cubicBezTo>
                  <a:pt x="115" y="323"/>
                  <a:pt x="115" y="323"/>
                  <a:pt x="115" y="323"/>
                </a:cubicBezTo>
                <a:cubicBezTo>
                  <a:pt x="115" y="316"/>
                  <a:pt x="121" y="310"/>
                  <a:pt x="129" y="310"/>
                </a:cubicBezTo>
                <a:cubicBezTo>
                  <a:pt x="129" y="310"/>
                  <a:pt x="129" y="310"/>
                  <a:pt x="129" y="310"/>
                </a:cubicBezTo>
                <a:cubicBezTo>
                  <a:pt x="136" y="310"/>
                  <a:pt x="142" y="316"/>
                  <a:pt x="142" y="323"/>
                </a:cubicBezTo>
                <a:cubicBezTo>
                  <a:pt x="142" y="323"/>
                  <a:pt x="142" y="323"/>
                  <a:pt x="142" y="323"/>
                </a:cubicBezTo>
                <a:cubicBezTo>
                  <a:pt x="142" y="429"/>
                  <a:pt x="142" y="429"/>
                  <a:pt x="142" y="429"/>
                </a:cubicBezTo>
                <a:cubicBezTo>
                  <a:pt x="142" y="433"/>
                  <a:pt x="141" y="436"/>
                  <a:pt x="138" y="438"/>
                </a:cubicBezTo>
                <a:cubicBezTo>
                  <a:pt x="138" y="438"/>
                  <a:pt x="138" y="438"/>
                  <a:pt x="138" y="438"/>
                </a:cubicBezTo>
                <a:cubicBezTo>
                  <a:pt x="136" y="441"/>
                  <a:pt x="132" y="442"/>
                  <a:pt x="129" y="442"/>
                </a:cubicBezTo>
                <a:cubicBezTo>
                  <a:pt x="129" y="442"/>
                  <a:pt x="129" y="442"/>
                  <a:pt x="129" y="442"/>
                </a:cubicBezTo>
                <a:cubicBezTo>
                  <a:pt x="13" y="442"/>
                  <a:pt x="13" y="442"/>
                  <a:pt x="13" y="442"/>
                </a:cubicBezTo>
                <a:cubicBezTo>
                  <a:pt x="10" y="442"/>
                  <a:pt x="6" y="441"/>
                  <a:pt x="4" y="438"/>
                </a:cubicBezTo>
                <a:cubicBezTo>
                  <a:pt x="4" y="438"/>
                  <a:pt x="4" y="438"/>
                  <a:pt x="4" y="438"/>
                </a:cubicBezTo>
                <a:cubicBezTo>
                  <a:pt x="1" y="436"/>
                  <a:pt x="0" y="433"/>
                  <a:pt x="0" y="429"/>
                </a:cubicBezTo>
                <a:cubicBezTo>
                  <a:pt x="0" y="429"/>
                  <a:pt x="0" y="429"/>
                  <a:pt x="0" y="429"/>
                </a:cubicBezTo>
                <a:cubicBezTo>
                  <a:pt x="0" y="429"/>
                  <a:pt x="0" y="109"/>
                  <a:pt x="0" y="106"/>
                </a:cubicBezTo>
                <a:cubicBezTo>
                  <a:pt x="0" y="106"/>
                  <a:pt x="0" y="106"/>
                  <a:pt x="0" y="106"/>
                </a:cubicBezTo>
                <a:cubicBezTo>
                  <a:pt x="0" y="98"/>
                  <a:pt x="3" y="89"/>
                  <a:pt x="9" y="82"/>
                </a:cubicBezTo>
                <a:cubicBezTo>
                  <a:pt x="9" y="82"/>
                  <a:pt x="9" y="82"/>
                  <a:pt x="9" y="82"/>
                </a:cubicBezTo>
                <a:cubicBezTo>
                  <a:pt x="16" y="75"/>
                  <a:pt x="27" y="70"/>
                  <a:pt x="39" y="70"/>
                </a:cubicBezTo>
                <a:cubicBezTo>
                  <a:pt x="39" y="70"/>
                  <a:pt x="39" y="70"/>
                  <a:pt x="39" y="70"/>
                </a:cubicBezTo>
                <a:cubicBezTo>
                  <a:pt x="52" y="70"/>
                  <a:pt x="128" y="70"/>
                  <a:pt x="159" y="70"/>
                </a:cubicBezTo>
                <a:cubicBezTo>
                  <a:pt x="159" y="70"/>
                  <a:pt x="159" y="70"/>
                  <a:pt x="159" y="70"/>
                </a:cubicBezTo>
                <a:cubicBezTo>
                  <a:pt x="168" y="70"/>
                  <a:pt x="176" y="74"/>
                  <a:pt x="183" y="81"/>
                </a:cubicBezTo>
                <a:cubicBezTo>
                  <a:pt x="183" y="81"/>
                  <a:pt x="183" y="81"/>
                  <a:pt x="183" y="81"/>
                </a:cubicBezTo>
                <a:cubicBezTo>
                  <a:pt x="189" y="87"/>
                  <a:pt x="193" y="96"/>
                  <a:pt x="193" y="106"/>
                </a:cubicBezTo>
                <a:cubicBezTo>
                  <a:pt x="193" y="106"/>
                  <a:pt x="193" y="106"/>
                  <a:pt x="193" y="106"/>
                </a:cubicBezTo>
                <a:cubicBezTo>
                  <a:pt x="193" y="110"/>
                  <a:pt x="193" y="135"/>
                  <a:pt x="193" y="135"/>
                </a:cubicBezTo>
                <a:cubicBezTo>
                  <a:pt x="193" y="135"/>
                  <a:pt x="193" y="135"/>
                  <a:pt x="193" y="135"/>
                </a:cubicBezTo>
                <a:cubicBezTo>
                  <a:pt x="193" y="143"/>
                  <a:pt x="187" y="148"/>
                  <a:pt x="179" y="148"/>
                </a:cubicBezTo>
                <a:cubicBezTo>
                  <a:pt x="179" y="148"/>
                  <a:pt x="179" y="148"/>
                  <a:pt x="179" y="148"/>
                </a:cubicBezTo>
                <a:cubicBezTo>
                  <a:pt x="77" y="148"/>
                  <a:pt x="77" y="148"/>
                  <a:pt x="77" y="148"/>
                </a:cubicBezTo>
                <a:cubicBezTo>
                  <a:pt x="77" y="211"/>
                  <a:pt x="77" y="211"/>
                  <a:pt x="77" y="211"/>
                </a:cubicBezTo>
                <a:cubicBezTo>
                  <a:pt x="115" y="211"/>
                  <a:pt x="115" y="211"/>
                  <a:pt x="115" y="211"/>
                </a:cubicBezTo>
                <a:cubicBezTo>
                  <a:pt x="115" y="180"/>
                  <a:pt x="115" y="180"/>
                  <a:pt x="115" y="180"/>
                </a:cubicBezTo>
                <a:cubicBezTo>
                  <a:pt x="115" y="177"/>
                  <a:pt x="116" y="173"/>
                  <a:pt x="119" y="171"/>
                </a:cubicBezTo>
                <a:cubicBezTo>
                  <a:pt x="119" y="171"/>
                  <a:pt x="119" y="171"/>
                  <a:pt x="119" y="171"/>
                </a:cubicBezTo>
                <a:cubicBezTo>
                  <a:pt x="121" y="168"/>
                  <a:pt x="124" y="167"/>
                  <a:pt x="128" y="167"/>
                </a:cubicBezTo>
                <a:cubicBezTo>
                  <a:pt x="128" y="167"/>
                  <a:pt x="128" y="167"/>
                  <a:pt x="128" y="167"/>
                </a:cubicBezTo>
                <a:cubicBezTo>
                  <a:pt x="179" y="167"/>
                  <a:pt x="179" y="167"/>
                  <a:pt x="179" y="167"/>
                </a:cubicBezTo>
                <a:cubicBezTo>
                  <a:pt x="183" y="167"/>
                  <a:pt x="186" y="168"/>
                  <a:pt x="189" y="171"/>
                </a:cubicBezTo>
                <a:cubicBezTo>
                  <a:pt x="189" y="171"/>
                  <a:pt x="189" y="171"/>
                  <a:pt x="189" y="171"/>
                </a:cubicBezTo>
                <a:cubicBezTo>
                  <a:pt x="191" y="173"/>
                  <a:pt x="193" y="177"/>
                  <a:pt x="193" y="180"/>
                </a:cubicBezTo>
                <a:cubicBezTo>
                  <a:pt x="193" y="180"/>
                  <a:pt x="193" y="180"/>
                  <a:pt x="193" y="180"/>
                </a:cubicBezTo>
                <a:cubicBezTo>
                  <a:pt x="193" y="290"/>
                  <a:pt x="193" y="290"/>
                  <a:pt x="193" y="290"/>
                </a:cubicBezTo>
                <a:cubicBezTo>
                  <a:pt x="193" y="290"/>
                  <a:pt x="193" y="290"/>
                  <a:pt x="193" y="290"/>
                </a:cubicBezTo>
                <a:cubicBezTo>
                  <a:pt x="193" y="290"/>
                  <a:pt x="193" y="294"/>
                  <a:pt x="193" y="301"/>
                </a:cubicBezTo>
                <a:cubicBezTo>
                  <a:pt x="193" y="301"/>
                  <a:pt x="193" y="301"/>
                  <a:pt x="193" y="301"/>
                </a:cubicBezTo>
                <a:cubicBezTo>
                  <a:pt x="193" y="314"/>
                  <a:pt x="193" y="334"/>
                  <a:pt x="193" y="346"/>
                </a:cubicBezTo>
                <a:cubicBezTo>
                  <a:pt x="193" y="346"/>
                  <a:pt x="193" y="346"/>
                  <a:pt x="193" y="346"/>
                </a:cubicBezTo>
                <a:cubicBezTo>
                  <a:pt x="193" y="350"/>
                  <a:pt x="195" y="364"/>
                  <a:pt x="201" y="379"/>
                </a:cubicBezTo>
                <a:cubicBezTo>
                  <a:pt x="201" y="379"/>
                  <a:pt x="201" y="379"/>
                  <a:pt x="201" y="379"/>
                </a:cubicBezTo>
                <a:cubicBezTo>
                  <a:pt x="207" y="394"/>
                  <a:pt x="218" y="410"/>
                  <a:pt x="235" y="420"/>
                </a:cubicBezTo>
                <a:cubicBezTo>
                  <a:pt x="235" y="420"/>
                  <a:pt x="235" y="420"/>
                  <a:pt x="235" y="420"/>
                </a:cubicBezTo>
                <a:cubicBezTo>
                  <a:pt x="247" y="427"/>
                  <a:pt x="263" y="432"/>
                  <a:pt x="284" y="432"/>
                </a:cubicBezTo>
                <a:cubicBezTo>
                  <a:pt x="284" y="432"/>
                  <a:pt x="284" y="432"/>
                  <a:pt x="284" y="432"/>
                </a:cubicBezTo>
                <a:cubicBezTo>
                  <a:pt x="284" y="432"/>
                  <a:pt x="285" y="432"/>
                  <a:pt x="285" y="432"/>
                </a:cubicBezTo>
                <a:cubicBezTo>
                  <a:pt x="285" y="432"/>
                  <a:pt x="285" y="432"/>
                  <a:pt x="285" y="432"/>
                </a:cubicBezTo>
                <a:cubicBezTo>
                  <a:pt x="304" y="432"/>
                  <a:pt x="320" y="429"/>
                  <a:pt x="333" y="422"/>
                </a:cubicBezTo>
                <a:cubicBezTo>
                  <a:pt x="333" y="422"/>
                  <a:pt x="333" y="422"/>
                  <a:pt x="333" y="422"/>
                </a:cubicBezTo>
                <a:cubicBezTo>
                  <a:pt x="345" y="416"/>
                  <a:pt x="356" y="408"/>
                  <a:pt x="364" y="398"/>
                </a:cubicBezTo>
                <a:cubicBezTo>
                  <a:pt x="364" y="398"/>
                  <a:pt x="364" y="398"/>
                  <a:pt x="364" y="398"/>
                </a:cubicBezTo>
                <a:cubicBezTo>
                  <a:pt x="380" y="378"/>
                  <a:pt x="387" y="352"/>
                  <a:pt x="387" y="330"/>
                </a:cubicBezTo>
                <a:cubicBezTo>
                  <a:pt x="387" y="330"/>
                  <a:pt x="387" y="330"/>
                  <a:pt x="387" y="330"/>
                </a:cubicBezTo>
                <a:cubicBezTo>
                  <a:pt x="387" y="308"/>
                  <a:pt x="379" y="283"/>
                  <a:pt x="365" y="259"/>
                </a:cubicBezTo>
                <a:cubicBezTo>
                  <a:pt x="365" y="259"/>
                  <a:pt x="365" y="259"/>
                  <a:pt x="365" y="259"/>
                </a:cubicBezTo>
                <a:cubicBezTo>
                  <a:pt x="351" y="234"/>
                  <a:pt x="331" y="211"/>
                  <a:pt x="308" y="191"/>
                </a:cubicBezTo>
                <a:cubicBezTo>
                  <a:pt x="308" y="191"/>
                  <a:pt x="308" y="191"/>
                  <a:pt x="308" y="191"/>
                </a:cubicBezTo>
                <a:cubicBezTo>
                  <a:pt x="304" y="188"/>
                  <a:pt x="303" y="184"/>
                  <a:pt x="303" y="179"/>
                </a:cubicBezTo>
                <a:cubicBezTo>
                  <a:pt x="303" y="179"/>
                  <a:pt x="303" y="179"/>
                  <a:pt x="303" y="179"/>
                </a:cubicBezTo>
                <a:cubicBezTo>
                  <a:pt x="304" y="174"/>
                  <a:pt x="307" y="170"/>
                  <a:pt x="311" y="169"/>
                </a:cubicBezTo>
                <a:cubicBezTo>
                  <a:pt x="311" y="169"/>
                  <a:pt x="311" y="169"/>
                  <a:pt x="311" y="169"/>
                </a:cubicBezTo>
                <a:cubicBezTo>
                  <a:pt x="311" y="169"/>
                  <a:pt x="311" y="169"/>
                  <a:pt x="312" y="169"/>
                </a:cubicBezTo>
                <a:cubicBezTo>
                  <a:pt x="312" y="169"/>
                  <a:pt x="312" y="169"/>
                  <a:pt x="312" y="169"/>
                </a:cubicBezTo>
                <a:cubicBezTo>
                  <a:pt x="312" y="169"/>
                  <a:pt x="312" y="168"/>
                  <a:pt x="312" y="168"/>
                </a:cubicBezTo>
                <a:cubicBezTo>
                  <a:pt x="312" y="168"/>
                  <a:pt x="312" y="168"/>
                  <a:pt x="312" y="168"/>
                </a:cubicBezTo>
                <a:cubicBezTo>
                  <a:pt x="313" y="168"/>
                  <a:pt x="313" y="168"/>
                  <a:pt x="314" y="168"/>
                </a:cubicBezTo>
                <a:cubicBezTo>
                  <a:pt x="314" y="168"/>
                  <a:pt x="314" y="168"/>
                  <a:pt x="314" y="168"/>
                </a:cubicBezTo>
                <a:cubicBezTo>
                  <a:pt x="316" y="167"/>
                  <a:pt x="318" y="166"/>
                  <a:pt x="321" y="164"/>
                </a:cubicBezTo>
                <a:cubicBezTo>
                  <a:pt x="321" y="164"/>
                  <a:pt x="321" y="164"/>
                  <a:pt x="321" y="164"/>
                </a:cubicBezTo>
                <a:cubicBezTo>
                  <a:pt x="327" y="161"/>
                  <a:pt x="333" y="158"/>
                  <a:pt x="338" y="154"/>
                </a:cubicBezTo>
                <a:cubicBezTo>
                  <a:pt x="338" y="154"/>
                  <a:pt x="338" y="154"/>
                  <a:pt x="338" y="154"/>
                </a:cubicBezTo>
                <a:cubicBezTo>
                  <a:pt x="342" y="151"/>
                  <a:pt x="344" y="148"/>
                  <a:pt x="344" y="147"/>
                </a:cubicBezTo>
                <a:cubicBezTo>
                  <a:pt x="344" y="147"/>
                  <a:pt x="344" y="147"/>
                  <a:pt x="344" y="147"/>
                </a:cubicBezTo>
                <a:cubicBezTo>
                  <a:pt x="346" y="145"/>
                  <a:pt x="347" y="139"/>
                  <a:pt x="348" y="132"/>
                </a:cubicBezTo>
                <a:cubicBezTo>
                  <a:pt x="348" y="132"/>
                  <a:pt x="348" y="132"/>
                  <a:pt x="348" y="132"/>
                </a:cubicBezTo>
                <a:cubicBezTo>
                  <a:pt x="349" y="125"/>
                  <a:pt x="349" y="117"/>
                  <a:pt x="349" y="111"/>
                </a:cubicBezTo>
                <a:cubicBezTo>
                  <a:pt x="349" y="111"/>
                  <a:pt x="349" y="111"/>
                  <a:pt x="349" y="111"/>
                </a:cubicBezTo>
                <a:cubicBezTo>
                  <a:pt x="349" y="104"/>
                  <a:pt x="349" y="99"/>
                  <a:pt x="349" y="95"/>
                </a:cubicBezTo>
                <a:cubicBezTo>
                  <a:pt x="349" y="95"/>
                  <a:pt x="349" y="95"/>
                  <a:pt x="349" y="95"/>
                </a:cubicBezTo>
                <a:cubicBezTo>
                  <a:pt x="348" y="95"/>
                  <a:pt x="346" y="95"/>
                  <a:pt x="345" y="95"/>
                </a:cubicBezTo>
                <a:cubicBezTo>
                  <a:pt x="345" y="95"/>
                  <a:pt x="345" y="95"/>
                  <a:pt x="345" y="95"/>
                </a:cubicBezTo>
                <a:cubicBezTo>
                  <a:pt x="344" y="95"/>
                  <a:pt x="344" y="95"/>
                  <a:pt x="344" y="95"/>
                </a:cubicBezTo>
                <a:cubicBezTo>
                  <a:pt x="344" y="95"/>
                  <a:pt x="344" y="95"/>
                  <a:pt x="344" y="95"/>
                </a:cubicBezTo>
                <a:cubicBezTo>
                  <a:pt x="344" y="95"/>
                  <a:pt x="344" y="95"/>
                  <a:pt x="344" y="95"/>
                </a:cubicBezTo>
                <a:cubicBezTo>
                  <a:pt x="340" y="95"/>
                  <a:pt x="337" y="94"/>
                  <a:pt x="334" y="91"/>
                </a:cubicBezTo>
                <a:cubicBezTo>
                  <a:pt x="334" y="91"/>
                  <a:pt x="334" y="91"/>
                  <a:pt x="334" y="91"/>
                </a:cubicBezTo>
                <a:cubicBezTo>
                  <a:pt x="331" y="89"/>
                  <a:pt x="330" y="85"/>
                  <a:pt x="330" y="81"/>
                </a:cubicBezTo>
                <a:cubicBezTo>
                  <a:pt x="330" y="81"/>
                  <a:pt x="330" y="81"/>
                  <a:pt x="330" y="81"/>
                </a:cubicBezTo>
                <a:cubicBezTo>
                  <a:pt x="330" y="81"/>
                  <a:pt x="330" y="40"/>
                  <a:pt x="330" y="32"/>
                </a:cubicBezTo>
                <a:cubicBezTo>
                  <a:pt x="330" y="32"/>
                  <a:pt x="330" y="32"/>
                  <a:pt x="330" y="32"/>
                </a:cubicBezTo>
                <a:cubicBezTo>
                  <a:pt x="330" y="30"/>
                  <a:pt x="329" y="28"/>
                  <a:pt x="328" y="28"/>
                </a:cubicBezTo>
                <a:cubicBezTo>
                  <a:pt x="328" y="28"/>
                  <a:pt x="328" y="28"/>
                  <a:pt x="328" y="28"/>
                </a:cubicBezTo>
                <a:cubicBezTo>
                  <a:pt x="328" y="27"/>
                  <a:pt x="327" y="27"/>
                  <a:pt x="326" y="27"/>
                </a:cubicBezTo>
                <a:cubicBezTo>
                  <a:pt x="326" y="27"/>
                  <a:pt x="326" y="27"/>
                  <a:pt x="326" y="27"/>
                </a:cubicBezTo>
                <a:cubicBezTo>
                  <a:pt x="324" y="27"/>
                  <a:pt x="323" y="27"/>
                  <a:pt x="323" y="28"/>
                </a:cubicBezTo>
                <a:cubicBezTo>
                  <a:pt x="323" y="28"/>
                  <a:pt x="323" y="28"/>
                  <a:pt x="323" y="28"/>
                </a:cubicBezTo>
                <a:cubicBezTo>
                  <a:pt x="322" y="28"/>
                  <a:pt x="321" y="29"/>
                  <a:pt x="321" y="32"/>
                </a:cubicBezTo>
                <a:cubicBezTo>
                  <a:pt x="321" y="32"/>
                  <a:pt x="321" y="32"/>
                  <a:pt x="321" y="32"/>
                </a:cubicBezTo>
                <a:cubicBezTo>
                  <a:pt x="321" y="41"/>
                  <a:pt x="321" y="76"/>
                  <a:pt x="321" y="81"/>
                </a:cubicBezTo>
                <a:cubicBezTo>
                  <a:pt x="321" y="81"/>
                  <a:pt x="321" y="81"/>
                  <a:pt x="321" y="81"/>
                </a:cubicBezTo>
                <a:cubicBezTo>
                  <a:pt x="321" y="85"/>
                  <a:pt x="320" y="88"/>
                  <a:pt x="317" y="90"/>
                </a:cubicBezTo>
                <a:cubicBezTo>
                  <a:pt x="317" y="90"/>
                  <a:pt x="317" y="90"/>
                  <a:pt x="317" y="90"/>
                </a:cubicBezTo>
                <a:cubicBezTo>
                  <a:pt x="315" y="93"/>
                  <a:pt x="312" y="94"/>
                  <a:pt x="308" y="94"/>
                </a:cubicBezTo>
                <a:cubicBezTo>
                  <a:pt x="308" y="94"/>
                  <a:pt x="308" y="94"/>
                  <a:pt x="308" y="94"/>
                </a:cubicBezTo>
                <a:cubicBezTo>
                  <a:pt x="274" y="94"/>
                  <a:pt x="274" y="94"/>
                  <a:pt x="274" y="94"/>
                </a:cubicBezTo>
                <a:cubicBezTo>
                  <a:pt x="270" y="94"/>
                  <a:pt x="267" y="93"/>
                  <a:pt x="265" y="90"/>
                </a:cubicBezTo>
                <a:cubicBezTo>
                  <a:pt x="265" y="90"/>
                  <a:pt x="265" y="90"/>
                  <a:pt x="265" y="90"/>
                </a:cubicBezTo>
                <a:cubicBezTo>
                  <a:pt x="262" y="88"/>
                  <a:pt x="261" y="85"/>
                  <a:pt x="261" y="81"/>
                </a:cubicBezTo>
                <a:cubicBezTo>
                  <a:pt x="261" y="81"/>
                  <a:pt x="261" y="81"/>
                  <a:pt x="261" y="81"/>
                </a:cubicBezTo>
                <a:cubicBezTo>
                  <a:pt x="261" y="81"/>
                  <a:pt x="261" y="42"/>
                  <a:pt x="261" y="32"/>
                </a:cubicBezTo>
                <a:cubicBezTo>
                  <a:pt x="261" y="32"/>
                  <a:pt x="261" y="32"/>
                  <a:pt x="261" y="32"/>
                </a:cubicBezTo>
                <a:cubicBezTo>
                  <a:pt x="261" y="29"/>
                  <a:pt x="260" y="28"/>
                  <a:pt x="259" y="28"/>
                </a:cubicBezTo>
                <a:cubicBezTo>
                  <a:pt x="259" y="28"/>
                  <a:pt x="259" y="28"/>
                  <a:pt x="259" y="28"/>
                </a:cubicBezTo>
                <a:cubicBezTo>
                  <a:pt x="259" y="27"/>
                  <a:pt x="258" y="27"/>
                  <a:pt x="257" y="27"/>
                </a:cubicBezTo>
                <a:cubicBezTo>
                  <a:pt x="257" y="27"/>
                  <a:pt x="257" y="27"/>
                  <a:pt x="257" y="27"/>
                </a:cubicBezTo>
                <a:cubicBezTo>
                  <a:pt x="255" y="27"/>
                  <a:pt x="254" y="27"/>
                  <a:pt x="253" y="28"/>
                </a:cubicBezTo>
                <a:cubicBezTo>
                  <a:pt x="253" y="28"/>
                  <a:pt x="253" y="28"/>
                  <a:pt x="253" y="28"/>
                </a:cubicBezTo>
                <a:cubicBezTo>
                  <a:pt x="253" y="28"/>
                  <a:pt x="252" y="29"/>
                  <a:pt x="252" y="32"/>
                </a:cubicBezTo>
                <a:cubicBezTo>
                  <a:pt x="252" y="32"/>
                  <a:pt x="252" y="32"/>
                  <a:pt x="252" y="32"/>
                </a:cubicBezTo>
                <a:cubicBezTo>
                  <a:pt x="252" y="41"/>
                  <a:pt x="252" y="74"/>
                  <a:pt x="252" y="82"/>
                </a:cubicBezTo>
                <a:cubicBezTo>
                  <a:pt x="252" y="82"/>
                  <a:pt x="252" y="82"/>
                  <a:pt x="252" y="82"/>
                </a:cubicBezTo>
                <a:cubicBezTo>
                  <a:pt x="252" y="86"/>
                  <a:pt x="250" y="89"/>
                  <a:pt x="247" y="92"/>
                </a:cubicBezTo>
                <a:cubicBezTo>
                  <a:pt x="247" y="92"/>
                  <a:pt x="247" y="92"/>
                  <a:pt x="247" y="92"/>
                </a:cubicBezTo>
                <a:cubicBezTo>
                  <a:pt x="245" y="94"/>
                  <a:pt x="241" y="95"/>
                  <a:pt x="237" y="95"/>
                </a:cubicBezTo>
                <a:cubicBezTo>
                  <a:pt x="237" y="95"/>
                  <a:pt x="237" y="95"/>
                  <a:pt x="237" y="95"/>
                </a:cubicBezTo>
                <a:cubicBezTo>
                  <a:pt x="237" y="95"/>
                  <a:pt x="237" y="95"/>
                  <a:pt x="237" y="95"/>
                </a:cubicBezTo>
                <a:cubicBezTo>
                  <a:pt x="237" y="95"/>
                  <a:pt x="236" y="95"/>
                  <a:pt x="236" y="95"/>
                </a:cubicBezTo>
                <a:cubicBezTo>
                  <a:pt x="236" y="95"/>
                  <a:pt x="236" y="95"/>
                  <a:pt x="236" y="95"/>
                </a:cubicBezTo>
                <a:cubicBezTo>
                  <a:pt x="235" y="95"/>
                  <a:pt x="234" y="95"/>
                  <a:pt x="233" y="95"/>
                </a:cubicBezTo>
                <a:cubicBezTo>
                  <a:pt x="233" y="95"/>
                  <a:pt x="233" y="95"/>
                  <a:pt x="233" y="95"/>
                </a:cubicBezTo>
                <a:cubicBezTo>
                  <a:pt x="233" y="98"/>
                  <a:pt x="233" y="102"/>
                  <a:pt x="233" y="106"/>
                </a:cubicBezTo>
                <a:cubicBezTo>
                  <a:pt x="233" y="106"/>
                  <a:pt x="233" y="106"/>
                  <a:pt x="233" y="106"/>
                </a:cubicBezTo>
                <a:cubicBezTo>
                  <a:pt x="233" y="116"/>
                  <a:pt x="233" y="130"/>
                  <a:pt x="234" y="139"/>
                </a:cubicBezTo>
                <a:cubicBezTo>
                  <a:pt x="234" y="139"/>
                  <a:pt x="234" y="139"/>
                  <a:pt x="234" y="139"/>
                </a:cubicBezTo>
                <a:cubicBezTo>
                  <a:pt x="234" y="142"/>
                  <a:pt x="235" y="144"/>
                  <a:pt x="235" y="145"/>
                </a:cubicBezTo>
                <a:cubicBezTo>
                  <a:pt x="235" y="145"/>
                  <a:pt x="235" y="145"/>
                  <a:pt x="235" y="145"/>
                </a:cubicBezTo>
                <a:cubicBezTo>
                  <a:pt x="235" y="145"/>
                  <a:pt x="235" y="145"/>
                  <a:pt x="235" y="145"/>
                </a:cubicBezTo>
                <a:cubicBezTo>
                  <a:pt x="235" y="145"/>
                  <a:pt x="235" y="145"/>
                  <a:pt x="235" y="145"/>
                </a:cubicBezTo>
                <a:cubicBezTo>
                  <a:pt x="236" y="148"/>
                  <a:pt x="238" y="150"/>
                  <a:pt x="240" y="152"/>
                </a:cubicBezTo>
                <a:cubicBezTo>
                  <a:pt x="240" y="152"/>
                  <a:pt x="240" y="152"/>
                  <a:pt x="240" y="152"/>
                </a:cubicBezTo>
                <a:cubicBezTo>
                  <a:pt x="242" y="154"/>
                  <a:pt x="246" y="156"/>
                  <a:pt x="249" y="158"/>
                </a:cubicBezTo>
                <a:cubicBezTo>
                  <a:pt x="249" y="158"/>
                  <a:pt x="249" y="158"/>
                  <a:pt x="249" y="158"/>
                </a:cubicBezTo>
                <a:cubicBezTo>
                  <a:pt x="256" y="162"/>
                  <a:pt x="265" y="165"/>
                  <a:pt x="271" y="167"/>
                </a:cubicBezTo>
                <a:cubicBezTo>
                  <a:pt x="271" y="167"/>
                  <a:pt x="271" y="167"/>
                  <a:pt x="271" y="167"/>
                </a:cubicBezTo>
                <a:cubicBezTo>
                  <a:pt x="271" y="167"/>
                  <a:pt x="271" y="167"/>
                  <a:pt x="271" y="167"/>
                </a:cubicBezTo>
                <a:cubicBezTo>
                  <a:pt x="279" y="169"/>
                  <a:pt x="283" y="176"/>
                  <a:pt x="281" y="183"/>
                </a:cubicBezTo>
                <a:cubicBezTo>
                  <a:pt x="281" y="183"/>
                  <a:pt x="281" y="183"/>
                  <a:pt x="281" y="183"/>
                </a:cubicBezTo>
                <a:cubicBezTo>
                  <a:pt x="279" y="190"/>
                  <a:pt x="271" y="194"/>
                  <a:pt x="264" y="192"/>
                </a:cubicBezTo>
                <a:cubicBezTo>
                  <a:pt x="264" y="192"/>
                  <a:pt x="264" y="192"/>
                  <a:pt x="264" y="192"/>
                </a:cubicBezTo>
                <a:cubicBezTo>
                  <a:pt x="253" y="189"/>
                  <a:pt x="236" y="184"/>
                  <a:pt x="222" y="172"/>
                </a:cubicBezTo>
                <a:cubicBezTo>
                  <a:pt x="222" y="172"/>
                  <a:pt x="222" y="172"/>
                  <a:pt x="222" y="172"/>
                </a:cubicBezTo>
                <a:cubicBezTo>
                  <a:pt x="217" y="167"/>
                  <a:pt x="213" y="162"/>
                  <a:pt x="210" y="156"/>
                </a:cubicBezTo>
                <a:cubicBezTo>
                  <a:pt x="210" y="156"/>
                  <a:pt x="210" y="156"/>
                  <a:pt x="210" y="156"/>
                </a:cubicBezTo>
                <a:cubicBezTo>
                  <a:pt x="210" y="154"/>
                  <a:pt x="209" y="152"/>
                  <a:pt x="209" y="150"/>
                </a:cubicBezTo>
                <a:cubicBezTo>
                  <a:pt x="209" y="150"/>
                  <a:pt x="209" y="150"/>
                  <a:pt x="209" y="150"/>
                </a:cubicBezTo>
                <a:cubicBezTo>
                  <a:pt x="208" y="148"/>
                  <a:pt x="208" y="147"/>
                  <a:pt x="208" y="145"/>
                </a:cubicBezTo>
                <a:cubicBezTo>
                  <a:pt x="208" y="145"/>
                  <a:pt x="208" y="145"/>
                  <a:pt x="208" y="145"/>
                </a:cubicBezTo>
                <a:cubicBezTo>
                  <a:pt x="207" y="141"/>
                  <a:pt x="207" y="137"/>
                  <a:pt x="207" y="132"/>
                </a:cubicBezTo>
                <a:cubicBezTo>
                  <a:pt x="207" y="132"/>
                  <a:pt x="207" y="132"/>
                  <a:pt x="207" y="132"/>
                </a:cubicBezTo>
                <a:cubicBezTo>
                  <a:pt x="206" y="124"/>
                  <a:pt x="206" y="114"/>
                  <a:pt x="206" y="106"/>
                </a:cubicBezTo>
                <a:cubicBezTo>
                  <a:pt x="206" y="106"/>
                  <a:pt x="206" y="106"/>
                  <a:pt x="206" y="106"/>
                </a:cubicBezTo>
                <a:cubicBezTo>
                  <a:pt x="206" y="101"/>
                  <a:pt x="206" y="97"/>
                  <a:pt x="206" y="94"/>
                </a:cubicBezTo>
                <a:cubicBezTo>
                  <a:pt x="206" y="94"/>
                  <a:pt x="206" y="94"/>
                  <a:pt x="206" y="94"/>
                </a:cubicBezTo>
                <a:cubicBezTo>
                  <a:pt x="206" y="89"/>
                  <a:pt x="208" y="84"/>
                  <a:pt x="210" y="80"/>
                </a:cubicBezTo>
                <a:cubicBezTo>
                  <a:pt x="210" y="80"/>
                  <a:pt x="210" y="80"/>
                  <a:pt x="210" y="80"/>
                </a:cubicBezTo>
                <a:cubicBezTo>
                  <a:pt x="213" y="76"/>
                  <a:pt x="216" y="74"/>
                  <a:pt x="220" y="72"/>
                </a:cubicBezTo>
                <a:cubicBezTo>
                  <a:pt x="220" y="72"/>
                  <a:pt x="220" y="72"/>
                  <a:pt x="220" y="72"/>
                </a:cubicBezTo>
                <a:cubicBezTo>
                  <a:pt x="222" y="71"/>
                  <a:pt x="223" y="70"/>
                  <a:pt x="225" y="70"/>
                </a:cubicBezTo>
                <a:cubicBezTo>
                  <a:pt x="225" y="70"/>
                  <a:pt x="225" y="70"/>
                  <a:pt x="225" y="70"/>
                </a:cubicBezTo>
                <a:cubicBezTo>
                  <a:pt x="225" y="57"/>
                  <a:pt x="225" y="38"/>
                  <a:pt x="225" y="32"/>
                </a:cubicBezTo>
                <a:cubicBezTo>
                  <a:pt x="225" y="32"/>
                  <a:pt x="225" y="32"/>
                  <a:pt x="225" y="32"/>
                </a:cubicBezTo>
                <a:cubicBezTo>
                  <a:pt x="225" y="23"/>
                  <a:pt x="229" y="14"/>
                  <a:pt x="235" y="8"/>
                </a:cubicBezTo>
                <a:cubicBezTo>
                  <a:pt x="235" y="8"/>
                  <a:pt x="235" y="8"/>
                  <a:pt x="235" y="8"/>
                </a:cubicBezTo>
                <a:cubicBezTo>
                  <a:pt x="242" y="2"/>
                  <a:pt x="249" y="0"/>
                  <a:pt x="257" y="0"/>
                </a:cubicBezTo>
                <a:cubicBezTo>
                  <a:pt x="257" y="0"/>
                  <a:pt x="257" y="0"/>
                  <a:pt x="257" y="0"/>
                </a:cubicBezTo>
                <a:cubicBezTo>
                  <a:pt x="265" y="0"/>
                  <a:pt x="273" y="3"/>
                  <a:pt x="278" y="9"/>
                </a:cubicBezTo>
                <a:cubicBezTo>
                  <a:pt x="278" y="9"/>
                  <a:pt x="278" y="9"/>
                  <a:pt x="278" y="9"/>
                </a:cubicBezTo>
                <a:cubicBezTo>
                  <a:pt x="284" y="15"/>
                  <a:pt x="287" y="23"/>
                  <a:pt x="287" y="32"/>
                </a:cubicBezTo>
                <a:cubicBezTo>
                  <a:pt x="287" y="32"/>
                  <a:pt x="287" y="32"/>
                  <a:pt x="287" y="32"/>
                </a:cubicBezTo>
                <a:cubicBezTo>
                  <a:pt x="287" y="38"/>
                  <a:pt x="287" y="55"/>
                  <a:pt x="287" y="68"/>
                </a:cubicBezTo>
                <a:cubicBezTo>
                  <a:pt x="287" y="68"/>
                  <a:pt x="287" y="68"/>
                  <a:pt x="287" y="68"/>
                </a:cubicBezTo>
                <a:cubicBezTo>
                  <a:pt x="295" y="68"/>
                  <a:pt x="295" y="68"/>
                  <a:pt x="295" y="68"/>
                </a:cubicBezTo>
                <a:cubicBezTo>
                  <a:pt x="295" y="55"/>
                  <a:pt x="295" y="38"/>
                  <a:pt x="295" y="32"/>
                </a:cubicBezTo>
                <a:cubicBezTo>
                  <a:pt x="295" y="32"/>
                  <a:pt x="295" y="32"/>
                  <a:pt x="295" y="32"/>
                </a:cubicBezTo>
                <a:cubicBezTo>
                  <a:pt x="295" y="23"/>
                  <a:pt x="298" y="15"/>
                  <a:pt x="304" y="9"/>
                </a:cubicBezTo>
                <a:cubicBezTo>
                  <a:pt x="304" y="9"/>
                  <a:pt x="304" y="9"/>
                  <a:pt x="304" y="9"/>
                </a:cubicBezTo>
                <a:cubicBezTo>
                  <a:pt x="309" y="3"/>
                  <a:pt x="318" y="0"/>
                  <a:pt x="326" y="0"/>
                </a:cubicBezTo>
                <a:cubicBezTo>
                  <a:pt x="326" y="0"/>
                  <a:pt x="326" y="0"/>
                  <a:pt x="326" y="0"/>
                </a:cubicBezTo>
                <a:cubicBezTo>
                  <a:pt x="334" y="0"/>
                  <a:pt x="342" y="4"/>
                  <a:pt x="348" y="10"/>
                </a:cubicBezTo>
                <a:cubicBezTo>
                  <a:pt x="348" y="10"/>
                  <a:pt x="348" y="10"/>
                  <a:pt x="348" y="10"/>
                </a:cubicBezTo>
                <a:cubicBezTo>
                  <a:pt x="353" y="15"/>
                  <a:pt x="356" y="24"/>
                  <a:pt x="356" y="32"/>
                </a:cubicBezTo>
                <a:cubicBezTo>
                  <a:pt x="356" y="32"/>
                  <a:pt x="356" y="32"/>
                  <a:pt x="356" y="32"/>
                </a:cubicBezTo>
                <a:cubicBezTo>
                  <a:pt x="356" y="37"/>
                  <a:pt x="356" y="57"/>
                  <a:pt x="356" y="70"/>
                </a:cubicBezTo>
                <a:cubicBezTo>
                  <a:pt x="356" y="70"/>
                  <a:pt x="356" y="70"/>
                  <a:pt x="356" y="70"/>
                </a:cubicBezTo>
                <a:cubicBezTo>
                  <a:pt x="361" y="71"/>
                  <a:pt x="367" y="74"/>
                  <a:pt x="371" y="80"/>
                </a:cubicBezTo>
                <a:cubicBezTo>
                  <a:pt x="371" y="80"/>
                  <a:pt x="371" y="80"/>
                  <a:pt x="371" y="80"/>
                </a:cubicBezTo>
                <a:cubicBezTo>
                  <a:pt x="374" y="84"/>
                  <a:pt x="375" y="89"/>
                  <a:pt x="375" y="95"/>
                </a:cubicBezTo>
                <a:cubicBezTo>
                  <a:pt x="375" y="95"/>
                  <a:pt x="375" y="95"/>
                  <a:pt x="375" y="95"/>
                </a:cubicBezTo>
                <a:cubicBezTo>
                  <a:pt x="375" y="98"/>
                  <a:pt x="375" y="104"/>
                  <a:pt x="375" y="111"/>
                </a:cubicBezTo>
                <a:cubicBezTo>
                  <a:pt x="375" y="111"/>
                  <a:pt x="375" y="111"/>
                  <a:pt x="375" y="111"/>
                </a:cubicBezTo>
                <a:cubicBezTo>
                  <a:pt x="375" y="118"/>
                  <a:pt x="375" y="127"/>
                  <a:pt x="374" y="135"/>
                </a:cubicBezTo>
                <a:cubicBezTo>
                  <a:pt x="374" y="135"/>
                  <a:pt x="374" y="135"/>
                  <a:pt x="374" y="135"/>
                </a:cubicBezTo>
                <a:cubicBezTo>
                  <a:pt x="373" y="144"/>
                  <a:pt x="372" y="152"/>
                  <a:pt x="368" y="160"/>
                </a:cubicBezTo>
                <a:cubicBezTo>
                  <a:pt x="368" y="160"/>
                  <a:pt x="368" y="160"/>
                  <a:pt x="368" y="160"/>
                </a:cubicBezTo>
                <a:cubicBezTo>
                  <a:pt x="364" y="166"/>
                  <a:pt x="360" y="171"/>
                  <a:pt x="355" y="174"/>
                </a:cubicBezTo>
                <a:cubicBezTo>
                  <a:pt x="355" y="174"/>
                  <a:pt x="355" y="174"/>
                  <a:pt x="355" y="174"/>
                </a:cubicBezTo>
                <a:cubicBezTo>
                  <a:pt x="350" y="178"/>
                  <a:pt x="345" y="182"/>
                  <a:pt x="340" y="184"/>
                </a:cubicBezTo>
                <a:cubicBezTo>
                  <a:pt x="340" y="184"/>
                  <a:pt x="340" y="184"/>
                  <a:pt x="340" y="184"/>
                </a:cubicBezTo>
                <a:cubicBezTo>
                  <a:pt x="359" y="203"/>
                  <a:pt x="376" y="224"/>
                  <a:pt x="388" y="246"/>
                </a:cubicBezTo>
                <a:cubicBezTo>
                  <a:pt x="388" y="246"/>
                  <a:pt x="388" y="246"/>
                  <a:pt x="388" y="246"/>
                </a:cubicBezTo>
                <a:cubicBezTo>
                  <a:pt x="404" y="273"/>
                  <a:pt x="413" y="302"/>
                  <a:pt x="413" y="330"/>
                </a:cubicBezTo>
                <a:cubicBezTo>
                  <a:pt x="413" y="330"/>
                  <a:pt x="413" y="330"/>
                  <a:pt x="413" y="330"/>
                </a:cubicBezTo>
                <a:cubicBezTo>
                  <a:pt x="413" y="351"/>
                  <a:pt x="409" y="373"/>
                  <a:pt x="398" y="394"/>
                </a:cubicBezTo>
                <a:cubicBezTo>
                  <a:pt x="398" y="394"/>
                  <a:pt x="398" y="394"/>
                  <a:pt x="398" y="394"/>
                </a:cubicBezTo>
                <a:cubicBezTo>
                  <a:pt x="387" y="415"/>
                  <a:pt x="369" y="435"/>
                  <a:pt x="344" y="447"/>
                </a:cubicBezTo>
                <a:cubicBezTo>
                  <a:pt x="344" y="447"/>
                  <a:pt x="344" y="447"/>
                  <a:pt x="344" y="447"/>
                </a:cubicBezTo>
                <a:cubicBezTo>
                  <a:pt x="328" y="454"/>
                  <a:pt x="308" y="459"/>
                  <a:pt x="285" y="459"/>
                </a:cubicBezTo>
                <a:cubicBezTo>
                  <a:pt x="285" y="459"/>
                  <a:pt x="285" y="459"/>
                  <a:pt x="285" y="459"/>
                </a:cubicBezTo>
                <a:cubicBezTo>
                  <a:pt x="285" y="459"/>
                  <a:pt x="285" y="459"/>
                  <a:pt x="285" y="459"/>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 name="Freeform 175"/>
          <p:cNvSpPr>
            <a:spLocks/>
          </p:cNvSpPr>
          <p:nvPr userDrawn="1"/>
        </p:nvSpPr>
        <p:spPr bwMode="auto">
          <a:xfrm>
            <a:off x="438758" y="1309615"/>
            <a:ext cx="302498" cy="386954"/>
          </a:xfrm>
          <a:custGeom>
            <a:avLst/>
            <a:gdLst/>
            <a:ahLst/>
            <a:cxnLst>
              <a:cxn ang="0">
                <a:pos x="113" y="28"/>
              </a:cxn>
              <a:cxn ang="0">
                <a:pos x="89" y="84"/>
              </a:cxn>
              <a:cxn ang="0">
                <a:pos x="101" y="134"/>
              </a:cxn>
              <a:cxn ang="0">
                <a:pos x="13" y="134"/>
              </a:cxn>
              <a:cxn ang="0">
                <a:pos x="0" y="147"/>
              </a:cxn>
              <a:cxn ang="0">
                <a:pos x="0" y="266"/>
              </a:cxn>
              <a:cxn ang="0">
                <a:pos x="8" y="278"/>
              </a:cxn>
              <a:cxn ang="0">
                <a:pos x="22" y="276"/>
              </a:cxn>
              <a:cxn ang="0">
                <a:pos x="66" y="268"/>
              </a:cxn>
              <a:cxn ang="0">
                <a:pos x="79" y="329"/>
              </a:cxn>
              <a:cxn ang="0">
                <a:pos x="18" y="337"/>
              </a:cxn>
              <a:cxn ang="0">
                <a:pos x="5" y="338"/>
              </a:cxn>
              <a:cxn ang="0">
                <a:pos x="0" y="349"/>
              </a:cxn>
              <a:cxn ang="0">
                <a:pos x="0" y="444"/>
              </a:cxn>
              <a:cxn ang="0">
                <a:pos x="13" y="457"/>
              </a:cxn>
              <a:cxn ang="0">
                <a:pos x="26" y="444"/>
              </a:cxn>
              <a:cxn ang="0">
                <a:pos x="26" y="367"/>
              </a:cxn>
              <a:cxn ang="0">
                <a:pos x="102" y="342"/>
              </a:cxn>
              <a:cxn ang="0">
                <a:pos x="82" y="247"/>
              </a:cxn>
              <a:cxn ang="0">
                <a:pos x="26" y="241"/>
              </a:cxn>
              <a:cxn ang="0">
                <a:pos x="26" y="161"/>
              </a:cxn>
              <a:cxn ang="0">
                <a:pos x="123" y="161"/>
              </a:cxn>
              <a:cxn ang="0">
                <a:pos x="134" y="154"/>
              </a:cxn>
              <a:cxn ang="0">
                <a:pos x="136" y="147"/>
              </a:cxn>
              <a:cxn ang="0">
                <a:pos x="134" y="141"/>
              </a:cxn>
              <a:cxn ang="0">
                <a:pos x="116" y="83"/>
              </a:cxn>
              <a:cxn ang="0">
                <a:pos x="131" y="47"/>
              </a:cxn>
              <a:cxn ang="0">
                <a:pos x="200" y="44"/>
              </a:cxn>
              <a:cxn ang="0">
                <a:pos x="213" y="142"/>
              </a:cxn>
              <a:cxn ang="0">
                <a:pos x="214" y="155"/>
              </a:cxn>
              <a:cxn ang="0">
                <a:pos x="225" y="161"/>
              </a:cxn>
              <a:cxn ang="0">
                <a:pos x="332" y="161"/>
              </a:cxn>
              <a:cxn ang="0">
                <a:pos x="332" y="226"/>
              </a:cxn>
              <a:cxn ang="0">
                <a:pos x="253" y="245"/>
              </a:cxn>
              <a:cxn ang="0">
                <a:pos x="252" y="330"/>
              </a:cxn>
              <a:cxn ang="0">
                <a:pos x="332" y="356"/>
              </a:cxn>
              <a:cxn ang="0">
                <a:pos x="332" y="431"/>
              </a:cxn>
              <a:cxn ang="0">
                <a:pos x="122" y="431"/>
              </a:cxn>
              <a:cxn ang="0">
                <a:pos x="109" y="444"/>
              </a:cxn>
              <a:cxn ang="0">
                <a:pos x="122" y="457"/>
              </a:cxn>
              <a:cxn ang="0">
                <a:pos x="346" y="457"/>
              </a:cxn>
              <a:cxn ang="0">
                <a:pos x="359" y="444"/>
              </a:cxn>
              <a:cxn ang="0">
                <a:pos x="359" y="338"/>
              </a:cxn>
              <a:cxn ang="0">
                <a:pos x="353" y="327"/>
              </a:cxn>
              <a:cxn ang="0">
                <a:pos x="341" y="326"/>
              </a:cxn>
              <a:cxn ang="0">
                <a:pos x="274" y="314"/>
              </a:cxn>
              <a:cxn ang="0">
                <a:pos x="274" y="262"/>
              </a:cxn>
              <a:cxn ang="0">
                <a:pos x="340" y="258"/>
              </a:cxn>
              <a:cxn ang="0">
                <a:pos x="353" y="257"/>
              </a:cxn>
              <a:cxn ang="0">
                <a:pos x="359" y="245"/>
              </a:cxn>
              <a:cxn ang="0">
                <a:pos x="359" y="147"/>
              </a:cxn>
              <a:cxn ang="0">
                <a:pos x="346" y="134"/>
              </a:cxn>
              <a:cxn ang="0">
                <a:pos x="244" y="134"/>
              </a:cxn>
              <a:cxn ang="0">
                <a:pos x="250" y="93"/>
              </a:cxn>
              <a:cxn ang="0">
                <a:pos x="248" y="72"/>
              </a:cxn>
              <a:cxn ang="0">
                <a:pos x="215" y="22"/>
              </a:cxn>
              <a:cxn ang="0">
                <a:pos x="113" y="28"/>
              </a:cxn>
            </a:cxnLst>
            <a:rect l="0" t="0" r="r" b="b"/>
            <a:pathLst>
              <a:path w="359" h="457">
                <a:moveTo>
                  <a:pt x="113" y="28"/>
                </a:moveTo>
                <a:cubicBezTo>
                  <a:pt x="104" y="36"/>
                  <a:pt x="89" y="54"/>
                  <a:pt x="89" y="84"/>
                </a:cubicBezTo>
                <a:cubicBezTo>
                  <a:pt x="89" y="98"/>
                  <a:pt x="93" y="114"/>
                  <a:pt x="101" y="134"/>
                </a:cubicBezTo>
                <a:cubicBezTo>
                  <a:pt x="73" y="134"/>
                  <a:pt x="13" y="134"/>
                  <a:pt x="13" y="134"/>
                </a:cubicBezTo>
                <a:cubicBezTo>
                  <a:pt x="6" y="134"/>
                  <a:pt x="0" y="140"/>
                  <a:pt x="0" y="147"/>
                </a:cubicBezTo>
                <a:cubicBezTo>
                  <a:pt x="0" y="266"/>
                  <a:pt x="0" y="266"/>
                  <a:pt x="0" y="266"/>
                </a:cubicBezTo>
                <a:cubicBezTo>
                  <a:pt x="0" y="272"/>
                  <a:pt x="3" y="276"/>
                  <a:pt x="8" y="278"/>
                </a:cubicBezTo>
                <a:cubicBezTo>
                  <a:pt x="13" y="281"/>
                  <a:pt x="18" y="280"/>
                  <a:pt x="22" y="276"/>
                </a:cubicBezTo>
                <a:cubicBezTo>
                  <a:pt x="39" y="261"/>
                  <a:pt x="53" y="259"/>
                  <a:pt x="66" y="268"/>
                </a:cubicBezTo>
                <a:cubicBezTo>
                  <a:pt x="82" y="281"/>
                  <a:pt x="89" y="311"/>
                  <a:pt x="79" y="329"/>
                </a:cubicBezTo>
                <a:cubicBezTo>
                  <a:pt x="67" y="350"/>
                  <a:pt x="35" y="343"/>
                  <a:pt x="18" y="337"/>
                </a:cubicBezTo>
                <a:cubicBezTo>
                  <a:pt x="13" y="335"/>
                  <a:pt x="9" y="336"/>
                  <a:pt x="5" y="338"/>
                </a:cubicBezTo>
                <a:cubicBezTo>
                  <a:pt x="2" y="341"/>
                  <a:pt x="0" y="345"/>
                  <a:pt x="0" y="349"/>
                </a:cubicBezTo>
                <a:cubicBezTo>
                  <a:pt x="0" y="444"/>
                  <a:pt x="0" y="444"/>
                  <a:pt x="0" y="444"/>
                </a:cubicBezTo>
                <a:cubicBezTo>
                  <a:pt x="0" y="451"/>
                  <a:pt x="6" y="457"/>
                  <a:pt x="13" y="457"/>
                </a:cubicBezTo>
                <a:cubicBezTo>
                  <a:pt x="20" y="457"/>
                  <a:pt x="26" y="451"/>
                  <a:pt x="26" y="444"/>
                </a:cubicBezTo>
                <a:cubicBezTo>
                  <a:pt x="26" y="444"/>
                  <a:pt x="26" y="390"/>
                  <a:pt x="26" y="367"/>
                </a:cubicBezTo>
                <a:cubicBezTo>
                  <a:pt x="76" y="378"/>
                  <a:pt x="96" y="354"/>
                  <a:pt x="102" y="342"/>
                </a:cubicBezTo>
                <a:cubicBezTo>
                  <a:pt x="118" y="313"/>
                  <a:pt x="109" y="269"/>
                  <a:pt x="82" y="247"/>
                </a:cubicBezTo>
                <a:cubicBezTo>
                  <a:pt x="66" y="234"/>
                  <a:pt x="46" y="233"/>
                  <a:pt x="26" y="241"/>
                </a:cubicBezTo>
                <a:cubicBezTo>
                  <a:pt x="26" y="215"/>
                  <a:pt x="26" y="177"/>
                  <a:pt x="26" y="161"/>
                </a:cubicBezTo>
                <a:cubicBezTo>
                  <a:pt x="47" y="161"/>
                  <a:pt x="123" y="161"/>
                  <a:pt x="123" y="161"/>
                </a:cubicBezTo>
                <a:cubicBezTo>
                  <a:pt x="127" y="161"/>
                  <a:pt x="132" y="158"/>
                  <a:pt x="134" y="154"/>
                </a:cubicBezTo>
                <a:cubicBezTo>
                  <a:pt x="135" y="152"/>
                  <a:pt x="136" y="150"/>
                  <a:pt x="136" y="147"/>
                </a:cubicBezTo>
                <a:cubicBezTo>
                  <a:pt x="136" y="145"/>
                  <a:pt x="135" y="143"/>
                  <a:pt x="134" y="141"/>
                </a:cubicBezTo>
                <a:cubicBezTo>
                  <a:pt x="122" y="119"/>
                  <a:pt x="116" y="100"/>
                  <a:pt x="116" y="83"/>
                </a:cubicBezTo>
                <a:cubicBezTo>
                  <a:pt x="116" y="69"/>
                  <a:pt x="121" y="56"/>
                  <a:pt x="131" y="47"/>
                </a:cubicBezTo>
                <a:cubicBezTo>
                  <a:pt x="149" y="31"/>
                  <a:pt x="179" y="29"/>
                  <a:pt x="200" y="44"/>
                </a:cubicBezTo>
                <a:cubicBezTo>
                  <a:pt x="226" y="61"/>
                  <a:pt x="230" y="97"/>
                  <a:pt x="213" y="142"/>
                </a:cubicBezTo>
                <a:cubicBezTo>
                  <a:pt x="211" y="146"/>
                  <a:pt x="212" y="151"/>
                  <a:pt x="214" y="155"/>
                </a:cubicBezTo>
                <a:cubicBezTo>
                  <a:pt x="216" y="158"/>
                  <a:pt x="221" y="161"/>
                  <a:pt x="225" y="161"/>
                </a:cubicBezTo>
                <a:cubicBezTo>
                  <a:pt x="225" y="161"/>
                  <a:pt x="311" y="161"/>
                  <a:pt x="332" y="161"/>
                </a:cubicBezTo>
                <a:cubicBezTo>
                  <a:pt x="332" y="176"/>
                  <a:pt x="332" y="206"/>
                  <a:pt x="332" y="226"/>
                </a:cubicBezTo>
                <a:cubicBezTo>
                  <a:pt x="286" y="213"/>
                  <a:pt x="262" y="234"/>
                  <a:pt x="253" y="245"/>
                </a:cubicBezTo>
                <a:cubicBezTo>
                  <a:pt x="234" y="268"/>
                  <a:pt x="234" y="305"/>
                  <a:pt x="252" y="330"/>
                </a:cubicBezTo>
                <a:cubicBezTo>
                  <a:pt x="269" y="354"/>
                  <a:pt x="298" y="363"/>
                  <a:pt x="332" y="356"/>
                </a:cubicBezTo>
                <a:cubicBezTo>
                  <a:pt x="332" y="377"/>
                  <a:pt x="332" y="414"/>
                  <a:pt x="332" y="431"/>
                </a:cubicBezTo>
                <a:cubicBezTo>
                  <a:pt x="309" y="431"/>
                  <a:pt x="122" y="431"/>
                  <a:pt x="122" y="431"/>
                </a:cubicBezTo>
                <a:cubicBezTo>
                  <a:pt x="115" y="431"/>
                  <a:pt x="109" y="437"/>
                  <a:pt x="109" y="444"/>
                </a:cubicBezTo>
                <a:cubicBezTo>
                  <a:pt x="109" y="451"/>
                  <a:pt x="115" y="457"/>
                  <a:pt x="122" y="457"/>
                </a:cubicBezTo>
                <a:cubicBezTo>
                  <a:pt x="346" y="457"/>
                  <a:pt x="346" y="457"/>
                  <a:pt x="346" y="457"/>
                </a:cubicBezTo>
                <a:cubicBezTo>
                  <a:pt x="353" y="457"/>
                  <a:pt x="359" y="451"/>
                  <a:pt x="359" y="444"/>
                </a:cubicBezTo>
                <a:cubicBezTo>
                  <a:pt x="359" y="338"/>
                  <a:pt x="359" y="338"/>
                  <a:pt x="359" y="338"/>
                </a:cubicBezTo>
                <a:cubicBezTo>
                  <a:pt x="359" y="334"/>
                  <a:pt x="357" y="330"/>
                  <a:pt x="353" y="327"/>
                </a:cubicBezTo>
                <a:cubicBezTo>
                  <a:pt x="350" y="325"/>
                  <a:pt x="345" y="324"/>
                  <a:pt x="341" y="326"/>
                </a:cubicBezTo>
                <a:cubicBezTo>
                  <a:pt x="311" y="337"/>
                  <a:pt x="286" y="333"/>
                  <a:pt x="274" y="314"/>
                </a:cubicBezTo>
                <a:cubicBezTo>
                  <a:pt x="262" y="299"/>
                  <a:pt x="263" y="276"/>
                  <a:pt x="274" y="262"/>
                </a:cubicBezTo>
                <a:cubicBezTo>
                  <a:pt x="286" y="246"/>
                  <a:pt x="311" y="245"/>
                  <a:pt x="340" y="258"/>
                </a:cubicBezTo>
                <a:cubicBezTo>
                  <a:pt x="344" y="259"/>
                  <a:pt x="349" y="259"/>
                  <a:pt x="353" y="257"/>
                </a:cubicBezTo>
                <a:cubicBezTo>
                  <a:pt x="357" y="254"/>
                  <a:pt x="359" y="250"/>
                  <a:pt x="359" y="245"/>
                </a:cubicBezTo>
                <a:cubicBezTo>
                  <a:pt x="359" y="147"/>
                  <a:pt x="359" y="147"/>
                  <a:pt x="359" y="147"/>
                </a:cubicBezTo>
                <a:cubicBezTo>
                  <a:pt x="359" y="140"/>
                  <a:pt x="353" y="134"/>
                  <a:pt x="346" y="134"/>
                </a:cubicBezTo>
                <a:cubicBezTo>
                  <a:pt x="346" y="134"/>
                  <a:pt x="270" y="134"/>
                  <a:pt x="244" y="134"/>
                </a:cubicBezTo>
                <a:cubicBezTo>
                  <a:pt x="248" y="119"/>
                  <a:pt x="250" y="106"/>
                  <a:pt x="250" y="93"/>
                </a:cubicBezTo>
                <a:cubicBezTo>
                  <a:pt x="250" y="86"/>
                  <a:pt x="249" y="79"/>
                  <a:pt x="248" y="72"/>
                </a:cubicBezTo>
                <a:cubicBezTo>
                  <a:pt x="243" y="51"/>
                  <a:pt x="232" y="34"/>
                  <a:pt x="215" y="22"/>
                </a:cubicBezTo>
                <a:cubicBezTo>
                  <a:pt x="184" y="0"/>
                  <a:pt x="140" y="3"/>
                  <a:pt x="113" y="2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 name="Freeform 191"/>
          <p:cNvSpPr>
            <a:spLocks/>
          </p:cNvSpPr>
          <p:nvPr userDrawn="1"/>
        </p:nvSpPr>
        <p:spPr bwMode="auto">
          <a:xfrm>
            <a:off x="429231" y="1787887"/>
            <a:ext cx="321552" cy="386953"/>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 name="Freeform 195"/>
          <p:cNvSpPr>
            <a:spLocks/>
          </p:cNvSpPr>
          <p:nvPr userDrawn="1"/>
        </p:nvSpPr>
        <p:spPr bwMode="auto">
          <a:xfrm>
            <a:off x="403030" y="2247981"/>
            <a:ext cx="373954" cy="376238"/>
          </a:xfrm>
          <a:custGeom>
            <a:avLst/>
            <a:gdLst/>
            <a:ahLst/>
            <a:cxnLst>
              <a:cxn ang="0">
                <a:pos x="5" y="5"/>
              </a:cxn>
              <a:cxn ang="0">
                <a:pos x="5" y="24"/>
              </a:cxn>
              <a:cxn ang="0">
                <a:pos x="212" y="231"/>
              </a:cxn>
              <a:cxn ang="0">
                <a:pos x="221" y="235"/>
              </a:cxn>
              <a:cxn ang="0">
                <a:pos x="231" y="231"/>
              </a:cxn>
              <a:cxn ang="0">
                <a:pos x="255" y="207"/>
              </a:cxn>
              <a:cxn ang="0">
                <a:pos x="263" y="215"/>
              </a:cxn>
              <a:cxn ang="0">
                <a:pos x="263" y="234"/>
              </a:cxn>
              <a:cxn ang="0">
                <a:pos x="270" y="246"/>
              </a:cxn>
              <a:cxn ang="0">
                <a:pos x="318" y="270"/>
              </a:cxn>
              <a:cxn ang="0">
                <a:pos x="409" y="361"/>
              </a:cxn>
              <a:cxn ang="0">
                <a:pos x="415" y="376"/>
              </a:cxn>
              <a:cxn ang="0">
                <a:pos x="409" y="391"/>
              </a:cxn>
              <a:cxn ang="0">
                <a:pos x="391" y="408"/>
              </a:cxn>
              <a:cxn ang="0">
                <a:pos x="361" y="408"/>
              </a:cxn>
              <a:cxn ang="0">
                <a:pos x="270" y="317"/>
              </a:cxn>
              <a:cxn ang="0">
                <a:pos x="246" y="270"/>
              </a:cxn>
              <a:cxn ang="0">
                <a:pos x="234" y="263"/>
              </a:cxn>
              <a:cxn ang="0">
                <a:pos x="209" y="263"/>
              </a:cxn>
              <a:cxn ang="0">
                <a:pos x="196" y="276"/>
              </a:cxn>
              <a:cxn ang="0">
                <a:pos x="209" y="289"/>
              </a:cxn>
              <a:cxn ang="0">
                <a:pos x="226" y="289"/>
              </a:cxn>
              <a:cxn ang="0">
                <a:pos x="247" y="331"/>
              </a:cxn>
              <a:cxn ang="0">
                <a:pos x="250" y="335"/>
              </a:cxn>
              <a:cxn ang="0">
                <a:pos x="342" y="427"/>
              </a:cxn>
              <a:cxn ang="0">
                <a:pos x="410" y="427"/>
              </a:cxn>
              <a:cxn ang="0">
                <a:pos x="428" y="410"/>
              </a:cxn>
              <a:cxn ang="0">
                <a:pos x="442" y="376"/>
              </a:cxn>
              <a:cxn ang="0">
                <a:pos x="428" y="342"/>
              </a:cxn>
              <a:cxn ang="0">
                <a:pos x="335" y="249"/>
              </a:cxn>
              <a:cxn ang="0">
                <a:pos x="332" y="247"/>
              </a:cxn>
              <a:cxn ang="0">
                <a:pos x="290" y="226"/>
              </a:cxn>
              <a:cxn ang="0">
                <a:pos x="290" y="209"/>
              </a:cxn>
              <a:cxn ang="0">
                <a:pos x="286" y="200"/>
              </a:cxn>
              <a:cxn ang="0">
                <a:pos x="265" y="179"/>
              </a:cxn>
              <a:cxn ang="0">
                <a:pos x="255" y="175"/>
              </a:cxn>
              <a:cxn ang="0">
                <a:pos x="246" y="179"/>
              </a:cxn>
              <a:cxn ang="0">
                <a:pos x="221" y="203"/>
              </a:cxn>
              <a:cxn ang="0">
                <a:pos x="24" y="5"/>
              </a:cxn>
              <a:cxn ang="0">
                <a:pos x="5" y="5"/>
              </a:cxn>
            </a:cxnLst>
            <a:rect l="0" t="0" r="r" b="b"/>
            <a:pathLst>
              <a:path w="442" h="446">
                <a:moveTo>
                  <a:pt x="5" y="5"/>
                </a:moveTo>
                <a:cubicBezTo>
                  <a:pt x="0" y="11"/>
                  <a:pt x="0" y="19"/>
                  <a:pt x="5" y="24"/>
                </a:cubicBezTo>
                <a:cubicBezTo>
                  <a:pt x="212" y="231"/>
                  <a:pt x="212" y="231"/>
                  <a:pt x="212" y="231"/>
                </a:cubicBezTo>
                <a:cubicBezTo>
                  <a:pt x="215" y="234"/>
                  <a:pt x="218" y="235"/>
                  <a:pt x="221" y="235"/>
                </a:cubicBezTo>
                <a:cubicBezTo>
                  <a:pt x="225" y="235"/>
                  <a:pt x="228" y="234"/>
                  <a:pt x="231" y="231"/>
                </a:cubicBezTo>
                <a:cubicBezTo>
                  <a:pt x="231" y="231"/>
                  <a:pt x="246" y="217"/>
                  <a:pt x="255" y="207"/>
                </a:cubicBezTo>
                <a:cubicBezTo>
                  <a:pt x="259" y="211"/>
                  <a:pt x="261" y="212"/>
                  <a:pt x="263" y="215"/>
                </a:cubicBezTo>
                <a:cubicBezTo>
                  <a:pt x="263" y="221"/>
                  <a:pt x="263" y="234"/>
                  <a:pt x="263" y="234"/>
                </a:cubicBezTo>
                <a:cubicBezTo>
                  <a:pt x="263" y="239"/>
                  <a:pt x="266" y="244"/>
                  <a:pt x="270" y="246"/>
                </a:cubicBezTo>
                <a:cubicBezTo>
                  <a:pt x="270" y="246"/>
                  <a:pt x="314" y="268"/>
                  <a:pt x="318" y="270"/>
                </a:cubicBezTo>
                <a:cubicBezTo>
                  <a:pt x="321" y="273"/>
                  <a:pt x="409" y="361"/>
                  <a:pt x="409" y="361"/>
                </a:cubicBezTo>
                <a:cubicBezTo>
                  <a:pt x="413" y="365"/>
                  <a:pt x="415" y="370"/>
                  <a:pt x="415" y="376"/>
                </a:cubicBezTo>
                <a:cubicBezTo>
                  <a:pt x="415" y="381"/>
                  <a:pt x="413" y="387"/>
                  <a:pt x="409" y="391"/>
                </a:cubicBezTo>
                <a:cubicBezTo>
                  <a:pt x="391" y="408"/>
                  <a:pt x="391" y="408"/>
                  <a:pt x="391" y="408"/>
                </a:cubicBezTo>
                <a:cubicBezTo>
                  <a:pt x="383" y="417"/>
                  <a:pt x="369" y="417"/>
                  <a:pt x="361" y="408"/>
                </a:cubicBezTo>
                <a:cubicBezTo>
                  <a:pt x="361" y="408"/>
                  <a:pt x="273" y="320"/>
                  <a:pt x="270" y="317"/>
                </a:cubicBezTo>
                <a:cubicBezTo>
                  <a:pt x="268" y="314"/>
                  <a:pt x="246" y="270"/>
                  <a:pt x="246" y="270"/>
                </a:cubicBezTo>
                <a:cubicBezTo>
                  <a:pt x="244" y="266"/>
                  <a:pt x="239" y="263"/>
                  <a:pt x="234" y="263"/>
                </a:cubicBezTo>
                <a:cubicBezTo>
                  <a:pt x="209" y="263"/>
                  <a:pt x="209" y="263"/>
                  <a:pt x="209" y="263"/>
                </a:cubicBezTo>
                <a:cubicBezTo>
                  <a:pt x="202" y="263"/>
                  <a:pt x="196" y="269"/>
                  <a:pt x="196" y="276"/>
                </a:cubicBezTo>
                <a:cubicBezTo>
                  <a:pt x="196" y="283"/>
                  <a:pt x="202" y="289"/>
                  <a:pt x="209" y="289"/>
                </a:cubicBezTo>
                <a:cubicBezTo>
                  <a:pt x="209" y="289"/>
                  <a:pt x="219" y="289"/>
                  <a:pt x="226" y="289"/>
                </a:cubicBezTo>
                <a:cubicBezTo>
                  <a:pt x="231" y="300"/>
                  <a:pt x="247" y="331"/>
                  <a:pt x="247" y="331"/>
                </a:cubicBezTo>
                <a:cubicBezTo>
                  <a:pt x="248" y="332"/>
                  <a:pt x="249" y="334"/>
                  <a:pt x="250" y="335"/>
                </a:cubicBezTo>
                <a:cubicBezTo>
                  <a:pt x="342" y="427"/>
                  <a:pt x="342" y="427"/>
                  <a:pt x="342" y="427"/>
                </a:cubicBezTo>
                <a:cubicBezTo>
                  <a:pt x="361" y="446"/>
                  <a:pt x="391" y="446"/>
                  <a:pt x="410" y="427"/>
                </a:cubicBezTo>
                <a:cubicBezTo>
                  <a:pt x="428" y="410"/>
                  <a:pt x="428" y="410"/>
                  <a:pt x="428" y="410"/>
                </a:cubicBezTo>
                <a:cubicBezTo>
                  <a:pt x="437" y="400"/>
                  <a:pt x="442" y="388"/>
                  <a:pt x="442" y="376"/>
                </a:cubicBezTo>
                <a:cubicBezTo>
                  <a:pt x="442" y="363"/>
                  <a:pt x="437" y="351"/>
                  <a:pt x="428" y="342"/>
                </a:cubicBezTo>
                <a:cubicBezTo>
                  <a:pt x="335" y="249"/>
                  <a:pt x="335" y="249"/>
                  <a:pt x="335" y="249"/>
                </a:cubicBezTo>
                <a:cubicBezTo>
                  <a:pt x="334" y="248"/>
                  <a:pt x="333" y="247"/>
                  <a:pt x="332" y="247"/>
                </a:cubicBezTo>
                <a:cubicBezTo>
                  <a:pt x="332" y="247"/>
                  <a:pt x="300" y="231"/>
                  <a:pt x="290" y="226"/>
                </a:cubicBezTo>
                <a:cubicBezTo>
                  <a:pt x="290" y="218"/>
                  <a:pt x="290" y="209"/>
                  <a:pt x="290" y="209"/>
                </a:cubicBezTo>
                <a:cubicBezTo>
                  <a:pt x="290" y="205"/>
                  <a:pt x="288" y="202"/>
                  <a:pt x="286" y="200"/>
                </a:cubicBezTo>
                <a:cubicBezTo>
                  <a:pt x="265" y="179"/>
                  <a:pt x="265" y="179"/>
                  <a:pt x="265" y="179"/>
                </a:cubicBezTo>
                <a:cubicBezTo>
                  <a:pt x="262" y="176"/>
                  <a:pt x="259" y="175"/>
                  <a:pt x="255" y="175"/>
                </a:cubicBezTo>
                <a:cubicBezTo>
                  <a:pt x="252" y="175"/>
                  <a:pt x="248" y="176"/>
                  <a:pt x="246" y="179"/>
                </a:cubicBezTo>
                <a:cubicBezTo>
                  <a:pt x="246" y="179"/>
                  <a:pt x="231" y="193"/>
                  <a:pt x="221" y="203"/>
                </a:cubicBezTo>
                <a:cubicBezTo>
                  <a:pt x="204" y="186"/>
                  <a:pt x="24" y="5"/>
                  <a:pt x="24" y="5"/>
                </a:cubicBezTo>
                <a:cubicBezTo>
                  <a:pt x="19" y="0"/>
                  <a:pt x="10" y="0"/>
                  <a:pt x="5" y="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 name="Freeform 199"/>
          <p:cNvSpPr>
            <a:spLocks/>
          </p:cNvSpPr>
          <p:nvPr userDrawn="1"/>
        </p:nvSpPr>
        <p:spPr bwMode="auto">
          <a:xfrm>
            <a:off x="417321" y="2758424"/>
            <a:ext cx="345371" cy="388144"/>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 name="Freeform 207"/>
          <p:cNvSpPr>
            <a:spLocks/>
          </p:cNvSpPr>
          <p:nvPr userDrawn="1"/>
        </p:nvSpPr>
        <p:spPr bwMode="auto">
          <a:xfrm>
            <a:off x="413748" y="3314914"/>
            <a:ext cx="352517" cy="361950"/>
          </a:xfrm>
          <a:custGeom>
            <a:avLst/>
            <a:gdLst/>
            <a:ahLst/>
            <a:cxnLst>
              <a:cxn ang="0">
                <a:pos x="199" y="31"/>
              </a:cxn>
              <a:cxn ang="0">
                <a:pos x="197" y="40"/>
              </a:cxn>
              <a:cxn ang="0">
                <a:pos x="194" y="53"/>
              </a:cxn>
              <a:cxn ang="0">
                <a:pos x="183" y="63"/>
              </a:cxn>
              <a:cxn ang="0">
                <a:pos x="117" y="123"/>
              </a:cxn>
              <a:cxn ang="0">
                <a:pos x="99" y="197"/>
              </a:cxn>
              <a:cxn ang="0">
                <a:pos x="91" y="286"/>
              </a:cxn>
              <a:cxn ang="0">
                <a:pos x="53" y="351"/>
              </a:cxn>
              <a:cxn ang="0">
                <a:pos x="31" y="363"/>
              </a:cxn>
              <a:cxn ang="0">
                <a:pos x="31" y="376"/>
              </a:cxn>
              <a:cxn ang="0">
                <a:pos x="117" y="376"/>
              </a:cxn>
              <a:cxn ang="0">
                <a:pos x="154" y="376"/>
              </a:cxn>
              <a:cxn ang="0">
                <a:pos x="157" y="377"/>
              </a:cxn>
              <a:cxn ang="0">
                <a:pos x="163" y="380"/>
              </a:cxn>
              <a:cxn ang="0">
                <a:pos x="202" y="397"/>
              </a:cxn>
              <a:cxn ang="0">
                <a:pos x="233" y="381"/>
              </a:cxn>
              <a:cxn ang="0">
                <a:pos x="233" y="381"/>
              </a:cxn>
              <a:cxn ang="0">
                <a:pos x="255" y="378"/>
              </a:cxn>
              <a:cxn ang="0">
                <a:pos x="258" y="399"/>
              </a:cxn>
              <a:cxn ang="0">
                <a:pos x="244" y="414"/>
              </a:cxn>
              <a:cxn ang="0">
                <a:pos x="202" y="428"/>
              </a:cxn>
              <a:cxn ang="0">
                <a:pos x="202" y="428"/>
              </a:cxn>
              <a:cxn ang="0">
                <a:pos x="148" y="407"/>
              </a:cxn>
              <a:cxn ang="0">
                <a:pos x="143" y="407"/>
              </a:cxn>
              <a:cxn ang="0">
                <a:pos x="117" y="407"/>
              </a:cxn>
              <a:cxn ang="0">
                <a:pos x="16" y="407"/>
              </a:cxn>
              <a:cxn ang="0">
                <a:pos x="5" y="403"/>
              </a:cxn>
              <a:cxn ang="0">
                <a:pos x="0" y="392"/>
              </a:cxn>
              <a:cxn ang="0">
                <a:pos x="0" y="352"/>
              </a:cxn>
              <a:cxn ang="0">
                <a:pos x="12" y="337"/>
              </a:cxn>
              <a:cxn ang="0">
                <a:pos x="12" y="337"/>
              </a:cxn>
              <a:cxn ang="0">
                <a:pos x="14" y="336"/>
              </a:cxn>
              <a:cxn ang="0">
                <a:pos x="19" y="335"/>
              </a:cxn>
              <a:cxn ang="0">
                <a:pos x="36" y="326"/>
              </a:cxn>
              <a:cxn ang="0">
                <a:pos x="60" y="284"/>
              </a:cxn>
              <a:cxn ang="0">
                <a:pos x="68" y="193"/>
              </a:cxn>
              <a:cxn ang="0">
                <a:pos x="90" y="108"/>
              </a:cxn>
              <a:cxn ang="0">
                <a:pos x="166" y="37"/>
              </a:cxn>
              <a:cxn ang="0">
                <a:pos x="167" y="35"/>
              </a:cxn>
              <a:cxn ang="0">
                <a:pos x="177" y="9"/>
              </a:cxn>
              <a:cxn ang="0">
                <a:pos x="202" y="0"/>
              </a:cxn>
              <a:cxn ang="0">
                <a:pos x="235" y="11"/>
              </a:cxn>
              <a:cxn ang="0">
                <a:pos x="247" y="39"/>
              </a:cxn>
              <a:cxn ang="0">
                <a:pos x="267" y="47"/>
              </a:cxn>
              <a:cxn ang="0">
                <a:pos x="324" y="110"/>
              </a:cxn>
              <a:cxn ang="0">
                <a:pos x="355" y="282"/>
              </a:cxn>
              <a:cxn ang="0">
                <a:pos x="376" y="322"/>
              </a:cxn>
              <a:cxn ang="0">
                <a:pos x="402" y="335"/>
              </a:cxn>
              <a:cxn ang="0">
                <a:pos x="404" y="335"/>
              </a:cxn>
              <a:cxn ang="0">
                <a:pos x="417" y="350"/>
              </a:cxn>
              <a:cxn ang="0">
                <a:pos x="412" y="402"/>
              </a:cxn>
              <a:cxn ang="0">
                <a:pos x="401" y="406"/>
              </a:cxn>
              <a:cxn ang="0">
                <a:pos x="301" y="406"/>
              </a:cxn>
              <a:cxn ang="0">
                <a:pos x="285" y="391"/>
              </a:cxn>
              <a:cxn ang="0">
                <a:pos x="301" y="376"/>
              </a:cxn>
              <a:cxn ang="0">
                <a:pos x="386" y="362"/>
              </a:cxn>
              <a:cxn ang="0">
                <a:pos x="364" y="352"/>
              </a:cxn>
              <a:cxn ang="0">
                <a:pos x="324" y="285"/>
              </a:cxn>
              <a:cxn ang="0">
                <a:pos x="296" y="123"/>
              </a:cxn>
              <a:cxn ang="0">
                <a:pos x="260" y="78"/>
              </a:cxn>
              <a:cxn ang="0">
                <a:pos x="231" y="66"/>
              </a:cxn>
              <a:cxn ang="0">
                <a:pos x="222" y="61"/>
              </a:cxn>
              <a:cxn ang="0">
                <a:pos x="216" y="49"/>
              </a:cxn>
            </a:cxnLst>
            <a:rect l="0" t="0" r="r" b="b"/>
            <a:pathLst>
              <a:path w="417" h="428">
                <a:moveTo>
                  <a:pt x="214" y="32"/>
                </a:moveTo>
                <a:cubicBezTo>
                  <a:pt x="214" y="32"/>
                  <a:pt x="208" y="30"/>
                  <a:pt x="199" y="31"/>
                </a:cubicBezTo>
                <a:cubicBezTo>
                  <a:pt x="199" y="31"/>
                  <a:pt x="199" y="31"/>
                  <a:pt x="199" y="31"/>
                </a:cubicBezTo>
                <a:cubicBezTo>
                  <a:pt x="198" y="32"/>
                  <a:pt x="197" y="35"/>
                  <a:pt x="197" y="40"/>
                </a:cubicBezTo>
                <a:cubicBezTo>
                  <a:pt x="197" y="40"/>
                  <a:pt x="197" y="40"/>
                  <a:pt x="197" y="40"/>
                </a:cubicBezTo>
                <a:cubicBezTo>
                  <a:pt x="196" y="44"/>
                  <a:pt x="196" y="47"/>
                  <a:pt x="194" y="53"/>
                </a:cubicBezTo>
                <a:cubicBezTo>
                  <a:pt x="194" y="53"/>
                  <a:pt x="194" y="53"/>
                  <a:pt x="194" y="53"/>
                </a:cubicBezTo>
                <a:cubicBezTo>
                  <a:pt x="192" y="56"/>
                  <a:pt x="189" y="61"/>
                  <a:pt x="183" y="63"/>
                </a:cubicBezTo>
                <a:cubicBezTo>
                  <a:pt x="183" y="63"/>
                  <a:pt x="183" y="63"/>
                  <a:pt x="183" y="63"/>
                </a:cubicBezTo>
                <a:cubicBezTo>
                  <a:pt x="150" y="77"/>
                  <a:pt x="137" y="86"/>
                  <a:pt x="117" y="123"/>
                </a:cubicBezTo>
                <a:cubicBezTo>
                  <a:pt x="117" y="123"/>
                  <a:pt x="117" y="123"/>
                  <a:pt x="117" y="123"/>
                </a:cubicBezTo>
                <a:cubicBezTo>
                  <a:pt x="109" y="139"/>
                  <a:pt x="102" y="167"/>
                  <a:pt x="99" y="197"/>
                </a:cubicBezTo>
                <a:cubicBezTo>
                  <a:pt x="99" y="197"/>
                  <a:pt x="99" y="197"/>
                  <a:pt x="99" y="197"/>
                </a:cubicBezTo>
                <a:cubicBezTo>
                  <a:pt x="95" y="227"/>
                  <a:pt x="93" y="259"/>
                  <a:pt x="91" y="286"/>
                </a:cubicBezTo>
                <a:cubicBezTo>
                  <a:pt x="91" y="286"/>
                  <a:pt x="91" y="286"/>
                  <a:pt x="91" y="286"/>
                </a:cubicBezTo>
                <a:cubicBezTo>
                  <a:pt x="89" y="319"/>
                  <a:pt x="70" y="340"/>
                  <a:pt x="53" y="351"/>
                </a:cubicBezTo>
                <a:cubicBezTo>
                  <a:pt x="53" y="351"/>
                  <a:pt x="53" y="351"/>
                  <a:pt x="53" y="351"/>
                </a:cubicBezTo>
                <a:cubicBezTo>
                  <a:pt x="45" y="357"/>
                  <a:pt x="37" y="361"/>
                  <a:pt x="31" y="363"/>
                </a:cubicBezTo>
                <a:cubicBezTo>
                  <a:pt x="31" y="363"/>
                  <a:pt x="31" y="363"/>
                  <a:pt x="31" y="363"/>
                </a:cubicBezTo>
                <a:cubicBezTo>
                  <a:pt x="31" y="376"/>
                  <a:pt x="31" y="376"/>
                  <a:pt x="31" y="376"/>
                </a:cubicBezTo>
                <a:cubicBezTo>
                  <a:pt x="52" y="376"/>
                  <a:pt x="89" y="376"/>
                  <a:pt x="117" y="376"/>
                </a:cubicBezTo>
                <a:cubicBezTo>
                  <a:pt x="117" y="376"/>
                  <a:pt x="117" y="376"/>
                  <a:pt x="117" y="376"/>
                </a:cubicBezTo>
                <a:cubicBezTo>
                  <a:pt x="137" y="376"/>
                  <a:pt x="150" y="376"/>
                  <a:pt x="154" y="376"/>
                </a:cubicBezTo>
                <a:cubicBezTo>
                  <a:pt x="154" y="376"/>
                  <a:pt x="154" y="376"/>
                  <a:pt x="154" y="376"/>
                </a:cubicBezTo>
                <a:cubicBezTo>
                  <a:pt x="155" y="376"/>
                  <a:pt x="154" y="376"/>
                  <a:pt x="157" y="377"/>
                </a:cubicBezTo>
                <a:cubicBezTo>
                  <a:pt x="157" y="377"/>
                  <a:pt x="157" y="377"/>
                  <a:pt x="157" y="377"/>
                </a:cubicBezTo>
                <a:cubicBezTo>
                  <a:pt x="158" y="377"/>
                  <a:pt x="159" y="377"/>
                  <a:pt x="163" y="380"/>
                </a:cubicBezTo>
                <a:cubicBezTo>
                  <a:pt x="163" y="380"/>
                  <a:pt x="163" y="380"/>
                  <a:pt x="163" y="380"/>
                </a:cubicBezTo>
                <a:cubicBezTo>
                  <a:pt x="180" y="394"/>
                  <a:pt x="193" y="397"/>
                  <a:pt x="202" y="397"/>
                </a:cubicBezTo>
                <a:cubicBezTo>
                  <a:pt x="202" y="397"/>
                  <a:pt x="202" y="397"/>
                  <a:pt x="202" y="397"/>
                </a:cubicBezTo>
                <a:cubicBezTo>
                  <a:pt x="220" y="397"/>
                  <a:pt x="232" y="383"/>
                  <a:pt x="233" y="381"/>
                </a:cubicBezTo>
                <a:cubicBezTo>
                  <a:pt x="233" y="381"/>
                  <a:pt x="233" y="381"/>
                  <a:pt x="233" y="381"/>
                </a:cubicBezTo>
                <a:cubicBezTo>
                  <a:pt x="233" y="381"/>
                  <a:pt x="233" y="381"/>
                  <a:pt x="233" y="381"/>
                </a:cubicBezTo>
                <a:cubicBezTo>
                  <a:pt x="233" y="381"/>
                  <a:pt x="233" y="381"/>
                  <a:pt x="233" y="381"/>
                </a:cubicBezTo>
                <a:cubicBezTo>
                  <a:pt x="233" y="381"/>
                  <a:pt x="233" y="381"/>
                  <a:pt x="233" y="381"/>
                </a:cubicBezTo>
                <a:cubicBezTo>
                  <a:pt x="238" y="374"/>
                  <a:pt x="248" y="373"/>
                  <a:pt x="255" y="378"/>
                </a:cubicBezTo>
                <a:cubicBezTo>
                  <a:pt x="255" y="378"/>
                  <a:pt x="255" y="378"/>
                  <a:pt x="255" y="378"/>
                </a:cubicBezTo>
                <a:cubicBezTo>
                  <a:pt x="262" y="383"/>
                  <a:pt x="263" y="392"/>
                  <a:pt x="258" y="399"/>
                </a:cubicBezTo>
                <a:cubicBezTo>
                  <a:pt x="258" y="399"/>
                  <a:pt x="258" y="399"/>
                  <a:pt x="258" y="399"/>
                </a:cubicBezTo>
                <a:cubicBezTo>
                  <a:pt x="258" y="400"/>
                  <a:pt x="253" y="407"/>
                  <a:pt x="244" y="414"/>
                </a:cubicBezTo>
                <a:cubicBezTo>
                  <a:pt x="244" y="414"/>
                  <a:pt x="244" y="414"/>
                  <a:pt x="244" y="414"/>
                </a:cubicBezTo>
                <a:cubicBezTo>
                  <a:pt x="234" y="421"/>
                  <a:pt x="220" y="428"/>
                  <a:pt x="202" y="428"/>
                </a:cubicBezTo>
                <a:cubicBezTo>
                  <a:pt x="202" y="428"/>
                  <a:pt x="202" y="428"/>
                  <a:pt x="202" y="428"/>
                </a:cubicBezTo>
                <a:cubicBezTo>
                  <a:pt x="202" y="428"/>
                  <a:pt x="202" y="428"/>
                  <a:pt x="202" y="428"/>
                </a:cubicBezTo>
                <a:cubicBezTo>
                  <a:pt x="202" y="428"/>
                  <a:pt x="202" y="428"/>
                  <a:pt x="202" y="428"/>
                </a:cubicBezTo>
                <a:cubicBezTo>
                  <a:pt x="185" y="428"/>
                  <a:pt x="167" y="422"/>
                  <a:pt x="148" y="407"/>
                </a:cubicBezTo>
                <a:cubicBezTo>
                  <a:pt x="148" y="407"/>
                  <a:pt x="148" y="407"/>
                  <a:pt x="148" y="407"/>
                </a:cubicBezTo>
                <a:cubicBezTo>
                  <a:pt x="146" y="407"/>
                  <a:pt x="145" y="407"/>
                  <a:pt x="143" y="407"/>
                </a:cubicBezTo>
                <a:cubicBezTo>
                  <a:pt x="143" y="407"/>
                  <a:pt x="143" y="407"/>
                  <a:pt x="143" y="407"/>
                </a:cubicBezTo>
                <a:cubicBezTo>
                  <a:pt x="136" y="407"/>
                  <a:pt x="128" y="407"/>
                  <a:pt x="117" y="407"/>
                </a:cubicBezTo>
                <a:cubicBezTo>
                  <a:pt x="117" y="407"/>
                  <a:pt x="117" y="407"/>
                  <a:pt x="117" y="407"/>
                </a:cubicBezTo>
                <a:cubicBezTo>
                  <a:pt x="77" y="407"/>
                  <a:pt x="16" y="407"/>
                  <a:pt x="16" y="407"/>
                </a:cubicBezTo>
                <a:cubicBezTo>
                  <a:pt x="16" y="407"/>
                  <a:pt x="16" y="407"/>
                  <a:pt x="16" y="407"/>
                </a:cubicBezTo>
                <a:cubicBezTo>
                  <a:pt x="12" y="407"/>
                  <a:pt x="8" y="406"/>
                  <a:pt x="5" y="403"/>
                </a:cubicBezTo>
                <a:cubicBezTo>
                  <a:pt x="5" y="403"/>
                  <a:pt x="5" y="403"/>
                  <a:pt x="5" y="403"/>
                </a:cubicBezTo>
                <a:cubicBezTo>
                  <a:pt x="2" y="400"/>
                  <a:pt x="0" y="396"/>
                  <a:pt x="0" y="392"/>
                </a:cubicBezTo>
                <a:cubicBezTo>
                  <a:pt x="0" y="392"/>
                  <a:pt x="0" y="392"/>
                  <a:pt x="0" y="392"/>
                </a:cubicBezTo>
                <a:cubicBezTo>
                  <a:pt x="0" y="352"/>
                  <a:pt x="0" y="352"/>
                  <a:pt x="0" y="352"/>
                </a:cubicBezTo>
                <a:cubicBezTo>
                  <a:pt x="0" y="345"/>
                  <a:pt x="5" y="338"/>
                  <a:pt x="12" y="337"/>
                </a:cubicBezTo>
                <a:cubicBezTo>
                  <a:pt x="12" y="337"/>
                  <a:pt x="12" y="337"/>
                  <a:pt x="12" y="337"/>
                </a:cubicBezTo>
                <a:cubicBezTo>
                  <a:pt x="12" y="337"/>
                  <a:pt x="12" y="337"/>
                  <a:pt x="12" y="337"/>
                </a:cubicBezTo>
                <a:cubicBezTo>
                  <a:pt x="12" y="337"/>
                  <a:pt x="12" y="337"/>
                  <a:pt x="12" y="337"/>
                </a:cubicBezTo>
                <a:cubicBezTo>
                  <a:pt x="13" y="337"/>
                  <a:pt x="13" y="337"/>
                  <a:pt x="14" y="336"/>
                </a:cubicBezTo>
                <a:cubicBezTo>
                  <a:pt x="14" y="336"/>
                  <a:pt x="14" y="336"/>
                  <a:pt x="14" y="336"/>
                </a:cubicBezTo>
                <a:cubicBezTo>
                  <a:pt x="15" y="336"/>
                  <a:pt x="17" y="335"/>
                  <a:pt x="19" y="335"/>
                </a:cubicBezTo>
                <a:cubicBezTo>
                  <a:pt x="19" y="335"/>
                  <a:pt x="19" y="335"/>
                  <a:pt x="19" y="335"/>
                </a:cubicBezTo>
                <a:cubicBezTo>
                  <a:pt x="24" y="333"/>
                  <a:pt x="30" y="330"/>
                  <a:pt x="36" y="326"/>
                </a:cubicBezTo>
                <a:cubicBezTo>
                  <a:pt x="36" y="326"/>
                  <a:pt x="36" y="326"/>
                  <a:pt x="36" y="326"/>
                </a:cubicBezTo>
                <a:cubicBezTo>
                  <a:pt x="48" y="317"/>
                  <a:pt x="59" y="305"/>
                  <a:pt x="60" y="284"/>
                </a:cubicBezTo>
                <a:cubicBezTo>
                  <a:pt x="60" y="284"/>
                  <a:pt x="60" y="284"/>
                  <a:pt x="60" y="284"/>
                </a:cubicBezTo>
                <a:cubicBezTo>
                  <a:pt x="62" y="257"/>
                  <a:pt x="64" y="224"/>
                  <a:pt x="68" y="193"/>
                </a:cubicBezTo>
                <a:cubicBezTo>
                  <a:pt x="68" y="193"/>
                  <a:pt x="68" y="193"/>
                  <a:pt x="68" y="193"/>
                </a:cubicBezTo>
                <a:cubicBezTo>
                  <a:pt x="72" y="161"/>
                  <a:pt x="78" y="131"/>
                  <a:pt x="90" y="108"/>
                </a:cubicBezTo>
                <a:cubicBezTo>
                  <a:pt x="90" y="108"/>
                  <a:pt x="90" y="108"/>
                  <a:pt x="90" y="108"/>
                </a:cubicBezTo>
                <a:cubicBezTo>
                  <a:pt x="110" y="69"/>
                  <a:pt x="133" y="50"/>
                  <a:pt x="166" y="37"/>
                </a:cubicBezTo>
                <a:cubicBezTo>
                  <a:pt x="166" y="37"/>
                  <a:pt x="166" y="37"/>
                  <a:pt x="166" y="37"/>
                </a:cubicBezTo>
                <a:cubicBezTo>
                  <a:pt x="166" y="36"/>
                  <a:pt x="166" y="35"/>
                  <a:pt x="167" y="35"/>
                </a:cubicBezTo>
                <a:cubicBezTo>
                  <a:pt x="167" y="35"/>
                  <a:pt x="167" y="35"/>
                  <a:pt x="167" y="35"/>
                </a:cubicBezTo>
                <a:cubicBezTo>
                  <a:pt x="168" y="29"/>
                  <a:pt x="168" y="18"/>
                  <a:pt x="177" y="9"/>
                </a:cubicBezTo>
                <a:cubicBezTo>
                  <a:pt x="177" y="9"/>
                  <a:pt x="177" y="9"/>
                  <a:pt x="177" y="9"/>
                </a:cubicBezTo>
                <a:cubicBezTo>
                  <a:pt x="184" y="3"/>
                  <a:pt x="193" y="0"/>
                  <a:pt x="202" y="0"/>
                </a:cubicBezTo>
                <a:cubicBezTo>
                  <a:pt x="202" y="0"/>
                  <a:pt x="202" y="0"/>
                  <a:pt x="202" y="0"/>
                </a:cubicBezTo>
                <a:cubicBezTo>
                  <a:pt x="215" y="0"/>
                  <a:pt x="225" y="1"/>
                  <a:pt x="235" y="11"/>
                </a:cubicBezTo>
                <a:cubicBezTo>
                  <a:pt x="235" y="11"/>
                  <a:pt x="235" y="11"/>
                  <a:pt x="235" y="11"/>
                </a:cubicBezTo>
                <a:cubicBezTo>
                  <a:pt x="243" y="18"/>
                  <a:pt x="246" y="28"/>
                  <a:pt x="247" y="39"/>
                </a:cubicBezTo>
                <a:cubicBezTo>
                  <a:pt x="247" y="39"/>
                  <a:pt x="247" y="39"/>
                  <a:pt x="247" y="39"/>
                </a:cubicBezTo>
                <a:cubicBezTo>
                  <a:pt x="252" y="40"/>
                  <a:pt x="259" y="43"/>
                  <a:pt x="267" y="47"/>
                </a:cubicBezTo>
                <a:cubicBezTo>
                  <a:pt x="267" y="47"/>
                  <a:pt x="267" y="47"/>
                  <a:pt x="267" y="47"/>
                </a:cubicBezTo>
                <a:cubicBezTo>
                  <a:pt x="285" y="56"/>
                  <a:pt x="308" y="74"/>
                  <a:pt x="324" y="110"/>
                </a:cubicBezTo>
                <a:cubicBezTo>
                  <a:pt x="324" y="110"/>
                  <a:pt x="324" y="110"/>
                  <a:pt x="324" y="110"/>
                </a:cubicBezTo>
                <a:cubicBezTo>
                  <a:pt x="359" y="184"/>
                  <a:pt x="352" y="249"/>
                  <a:pt x="355" y="282"/>
                </a:cubicBezTo>
                <a:cubicBezTo>
                  <a:pt x="355" y="282"/>
                  <a:pt x="355" y="282"/>
                  <a:pt x="355" y="282"/>
                </a:cubicBezTo>
                <a:cubicBezTo>
                  <a:pt x="356" y="303"/>
                  <a:pt x="365" y="314"/>
                  <a:pt x="376" y="322"/>
                </a:cubicBezTo>
                <a:cubicBezTo>
                  <a:pt x="376" y="322"/>
                  <a:pt x="376" y="322"/>
                  <a:pt x="376" y="322"/>
                </a:cubicBezTo>
                <a:cubicBezTo>
                  <a:pt x="386" y="330"/>
                  <a:pt x="398" y="334"/>
                  <a:pt x="402" y="335"/>
                </a:cubicBezTo>
                <a:cubicBezTo>
                  <a:pt x="402" y="335"/>
                  <a:pt x="402" y="335"/>
                  <a:pt x="402" y="335"/>
                </a:cubicBezTo>
                <a:cubicBezTo>
                  <a:pt x="404" y="335"/>
                  <a:pt x="404" y="335"/>
                  <a:pt x="404" y="335"/>
                </a:cubicBezTo>
                <a:cubicBezTo>
                  <a:pt x="404" y="335"/>
                  <a:pt x="404" y="335"/>
                  <a:pt x="404" y="335"/>
                </a:cubicBezTo>
                <a:cubicBezTo>
                  <a:pt x="411" y="336"/>
                  <a:pt x="417" y="343"/>
                  <a:pt x="417" y="350"/>
                </a:cubicBezTo>
                <a:cubicBezTo>
                  <a:pt x="417" y="350"/>
                  <a:pt x="417" y="350"/>
                  <a:pt x="417" y="350"/>
                </a:cubicBezTo>
                <a:cubicBezTo>
                  <a:pt x="417" y="391"/>
                  <a:pt x="417" y="391"/>
                  <a:pt x="417" y="391"/>
                </a:cubicBezTo>
                <a:cubicBezTo>
                  <a:pt x="417" y="395"/>
                  <a:pt x="415" y="399"/>
                  <a:pt x="412" y="402"/>
                </a:cubicBezTo>
                <a:cubicBezTo>
                  <a:pt x="412" y="402"/>
                  <a:pt x="412" y="402"/>
                  <a:pt x="412" y="402"/>
                </a:cubicBezTo>
                <a:cubicBezTo>
                  <a:pt x="409" y="405"/>
                  <a:pt x="405" y="406"/>
                  <a:pt x="401" y="406"/>
                </a:cubicBezTo>
                <a:cubicBezTo>
                  <a:pt x="401" y="406"/>
                  <a:pt x="401" y="406"/>
                  <a:pt x="401" y="406"/>
                </a:cubicBezTo>
                <a:cubicBezTo>
                  <a:pt x="301" y="406"/>
                  <a:pt x="301" y="406"/>
                  <a:pt x="301" y="406"/>
                </a:cubicBezTo>
                <a:cubicBezTo>
                  <a:pt x="292" y="406"/>
                  <a:pt x="285" y="399"/>
                  <a:pt x="285" y="391"/>
                </a:cubicBezTo>
                <a:cubicBezTo>
                  <a:pt x="285" y="391"/>
                  <a:pt x="285" y="391"/>
                  <a:pt x="285" y="391"/>
                </a:cubicBezTo>
                <a:cubicBezTo>
                  <a:pt x="285" y="382"/>
                  <a:pt x="292" y="376"/>
                  <a:pt x="301" y="376"/>
                </a:cubicBezTo>
                <a:cubicBezTo>
                  <a:pt x="301" y="376"/>
                  <a:pt x="301" y="376"/>
                  <a:pt x="301" y="376"/>
                </a:cubicBezTo>
                <a:cubicBezTo>
                  <a:pt x="386" y="376"/>
                  <a:pt x="386" y="376"/>
                  <a:pt x="386" y="376"/>
                </a:cubicBezTo>
                <a:cubicBezTo>
                  <a:pt x="386" y="362"/>
                  <a:pt x="386" y="362"/>
                  <a:pt x="386" y="362"/>
                </a:cubicBezTo>
                <a:cubicBezTo>
                  <a:pt x="380" y="360"/>
                  <a:pt x="372" y="357"/>
                  <a:pt x="364" y="352"/>
                </a:cubicBezTo>
                <a:cubicBezTo>
                  <a:pt x="364" y="352"/>
                  <a:pt x="364" y="352"/>
                  <a:pt x="364" y="352"/>
                </a:cubicBezTo>
                <a:cubicBezTo>
                  <a:pt x="346" y="341"/>
                  <a:pt x="326" y="319"/>
                  <a:pt x="324" y="285"/>
                </a:cubicBezTo>
                <a:cubicBezTo>
                  <a:pt x="324" y="285"/>
                  <a:pt x="324" y="285"/>
                  <a:pt x="324" y="285"/>
                </a:cubicBezTo>
                <a:cubicBezTo>
                  <a:pt x="321" y="246"/>
                  <a:pt x="327" y="190"/>
                  <a:pt x="296" y="123"/>
                </a:cubicBezTo>
                <a:cubicBezTo>
                  <a:pt x="296" y="123"/>
                  <a:pt x="296" y="123"/>
                  <a:pt x="296" y="123"/>
                </a:cubicBezTo>
                <a:cubicBezTo>
                  <a:pt x="285" y="99"/>
                  <a:pt x="271" y="86"/>
                  <a:pt x="260" y="78"/>
                </a:cubicBezTo>
                <a:cubicBezTo>
                  <a:pt x="260" y="78"/>
                  <a:pt x="260" y="78"/>
                  <a:pt x="260" y="78"/>
                </a:cubicBezTo>
                <a:cubicBezTo>
                  <a:pt x="248" y="71"/>
                  <a:pt x="239" y="69"/>
                  <a:pt x="231" y="66"/>
                </a:cubicBezTo>
                <a:cubicBezTo>
                  <a:pt x="231" y="66"/>
                  <a:pt x="231" y="66"/>
                  <a:pt x="231" y="66"/>
                </a:cubicBezTo>
                <a:cubicBezTo>
                  <a:pt x="229" y="65"/>
                  <a:pt x="227" y="65"/>
                  <a:pt x="222" y="61"/>
                </a:cubicBezTo>
                <a:cubicBezTo>
                  <a:pt x="222" y="61"/>
                  <a:pt x="222" y="61"/>
                  <a:pt x="222" y="61"/>
                </a:cubicBezTo>
                <a:cubicBezTo>
                  <a:pt x="220" y="60"/>
                  <a:pt x="217" y="55"/>
                  <a:pt x="216" y="49"/>
                </a:cubicBezTo>
                <a:cubicBezTo>
                  <a:pt x="216" y="49"/>
                  <a:pt x="216" y="49"/>
                  <a:pt x="216" y="49"/>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 name="Freeform 230"/>
          <p:cNvSpPr>
            <a:spLocks/>
          </p:cNvSpPr>
          <p:nvPr userDrawn="1"/>
        </p:nvSpPr>
        <p:spPr bwMode="auto">
          <a:xfrm>
            <a:off x="395884" y="3817296"/>
            <a:ext cx="388245" cy="350044"/>
          </a:xfrm>
          <a:custGeom>
            <a:avLst/>
            <a:gdLst/>
            <a:ahLst/>
            <a:cxnLst>
              <a:cxn ang="0">
                <a:pos x="357" y="34"/>
              </a:cxn>
              <a:cxn ang="0">
                <a:pos x="75" y="90"/>
              </a:cxn>
              <a:cxn ang="0">
                <a:pos x="43" y="164"/>
              </a:cxn>
              <a:cxn ang="0">
                <a:pos x="45" y="176"/>
              </a:cxn>
              <a:cxn ang="0">
                <a:pos x="76" y="181"/>
              </a:cxn>
              <a:cxn ang="0">
                <a:pos x="76" y="154"/>
              </a:cxn>
              <a:cxn ang="0">
                <a:pos x="85" y="116"/>
              </a:cxn>
              <a:cxn ang="0">
                <a:pos x="383" y="93"/>
              </a:cxn>
              <a:cxn ang="0">
                <a:pos x="424" y="42"/>
              </a:cxn>
              <a:cxn ang="0">
                <a:pos x="407" y="248"/>
              </a:cxn>
              <a:cxn ang="0">
                <a:pos x="383" y="145"/>
              </a:cxn>
              <a:cxn ang="0">
                <a:pos x="260" y="132"/>
              </a:cxn>
              <a:cxn ang="0">
                <a:pos x="247" y="145"/>
              </a:cxn>
              <a:cxn ang="0">
                <a:pos x="283" y="387"/>
              </a:cxn>
              <a:cxn ang="0">
                <a:pos x="220" y="147"/>
              </a:cxn>
              <a:cxn ang="0">
                <a:pos x="217" y="136"/>
              </a:cxn>
              <a:cxn ang="0">
                <a:pos x="136" y="132"/>
              </a:cxn>
              <a:cxn ang="0">
                <a:pos x="119" y="154"/>
              </a:cxn>
              <a:cxn ang="0">
                <a:pos x="96" y="166"/>
              </a:cxn>
              <a:cxn ang="0">
                <a:pos x="76" y="291"/>
              </a:cxn>
              <a:cxn ang="0">
                <a:pos x="89" y="305"/>
              </a:cxn>
              <a:cxn ang="0">
                <a:pos x="99" y="387"/>
              </a:cxn>
              <a:cxn ang="0">
                <a:pos x="45" y="305"/>
              </a:cxn>
              <a:cxn ang="0">
                <a:pos x="72" y="291"/>
              </a:cxn>
              <a:cxn ang="0">
                <a:pos x="33" y="278"/>
              </a:cxn>
              <a:cxn ang="0">
                <a:pos x="1" y="398"/>
              </a:cxn>
              <a:cxn ang="0">
                <a:pos x="14" y="414"/>
              </a:cxn>
              <a:cxn ang="0">
                <a:pos x="123" y="402"/>
              </a:cxn>
              <a:cxn ang="0">
                <a:pos x="137" y="283"/>
              </a:cxn>
              <a:cxn ang="0">
                <a:pos x="105" y="278"/>
              </a:cxn>
              <a:cxn ang="0">
                <a:pos x="129" y="181"/>
              </a:cxn>
              <a:cxn ang="0">
                <a:pos x="146" y="158"/>
              </a:cxn>
              <a:cxn ang="0">
                <a:pos x="156" y="398"/>
              </a:cxn>
              <a:cxn ang="0">
                <a:pos x="159" y="409"/>
              </a:cxn>
              <a:cxn ang="0">
                <a:pos x="299" y="414"/>
              </a:cxn>
              <a:cxn ang="0">
                <a:pos x="312" y="400"/>
              </a:cxn>
              <a:cxn ang="0">
                <a:pos x="276" y="158"/>
              </a:cxn>
              <a:cxn ang="0">
                <a:pos x="357" y="262"/>
              </a:cxn>
              <a:cxn ang="0">
                <a:pos x="416" y="275"/>
              </a:cxn>
              <a:cxn ang="0">
                <a:pos x="460" y="135"/>
              </a:cxn>
              <a:cxn ang="0">
                <a:pos x="438" y="19"/>
              </a:cxn>
            </a:cxnLst>
            <a:rect l="0" t="0" r="r" b="b"/>
            <a:pathLst>
              <a:path w="460" h="414">
                <a:moveTo>
                  <a:pt x="362" y="24"/>
                </a:moveTo>
                <a:cubicBezTo>
                  <a:pt x="359" y="26"/>
                  <a:pt x="357" y="30"/>
                  <a:pt x="357" y="34"/>
                </a:cubicBezTo>
                <a:cubicBezTo>
                  <a:pt x="357" y="34"/>
                  <a:pt x="357" y="64"/>
                  <a:pt x="357" y="80"/>
                </a:cubicBezTo>
                <a:cubicBezTo>
                  <a:pt x="333" y="81"/>
                  <a:pt x="75" y="90"/>
                  <a:pt x="75" y="90"/>
                </a:cubicBezTo>
                <a:cubicBezTo>
                  <a:pt x="69" y="90"/>
                  <a:pt x="64" y="94"/>
                  <a:pt x="62" y="99"/>
                </a:cubicBezTo>
                <a:cubicBezTo>
                  <a:pt x="43" y="164"/>
                  <a:pt x="43" y="164"/>
                  <a:pt x="43" y="164"/>
                </a:cubicBezTo>
                <a:cubicBezTo>
                  <a:pt x="43" y="165"/>
                  <a:pt x="42" y="166"/>
                  <a:pt x="42" y="168"/>
                </a:cubicBezTo>
                <a:cubicBezTo>
                  <a:pt x="42" y="171"/>
                  <a:pt x="43" y="173"/>
                  <a:pt x="45" y="176"/>
                </a:cubicBezTo>
                <a:cubicBezTo>
                  <a:pt x="48" y="179"/>
                  <a:pt x="52" y="181"/>
                  <a:pt x="56" y="181"/>
                </a:cubicBezTo>
                <a:cubicBezTo>
                  <a:pt x="76" y="181"/>
                  <a:pt x="76" y="181"/>
                  <a:pt x="76" y="181"/>
                </a:cubicBezTo>
                <a:cubicBezTo>
                  <a:pt x="83" y="181"/>
                  <a:pt x="89" y="175"/>
                  <a:pt x="89" y="168"/>
                </a:cubicBezTo>
                <a:cubicBezTo>
                  <a:pt x="89" y="160"/>
                  <a:pt x="83" y="154"/>
                  <a:pt x="76" y="154"/>
                </a:cubicBezTo>
                <a:cubicBezTo>
                  <a:pt x="76" y="154"/>
                  <a:pt x="74" y="154"/>
                  <a:pt x="74" y="154"/>
                </a:cubicBezTo>
                <a:cubicBezTo>
                  <a:pt x="78" y="140"/>
                  <a:pt x="82" y="126"/>
                  <a:pt x="85" y="116"/>
                </a:cubicBezTo>
                <a:cubicBezTo>
                  <a:pt x="103" y="116"/>
                  <a:pt x="370" y="106"/>
                  <a:pt x="370" y="106"/>
                </a:cubicBezTo>
                <a:cubicBezTo>
                  <a:pt x="378" y="106"/>
                  <a:pt x="383" y="100"/>
                  <a:pt x="383" y="93"/>
                </a:cubicBezTo>
                <a:cubicBezTo>
                  <a:pt x="383" y="93"/>
                  <a:pt x="383" y="53"/>
                  <a:pt x="383" y="42"/>
                </a:cubicBezTo>
                <a:cubicBezTo>
                  <a:pt x="399" y="34"/>
                  <a:pt x="418" y="40"/>
                  <a:pt x="424" y="42"/>
                </a:cubicBezTo>
                <a:cubicBezTo>
                  <a:pt x="428" y="54"/>
                  <a:pt x="433" y="98"/>
                  <a:pt x="433" y="135"/>
                </a:cubicBezTo>
                <a:cubicBezTo>
                  <a:pt x="433" y="161"/>
                  <a:pt x="416" y="219"/>
                  <a:pt x="407" y="248"/>
                </a:cubicBezTo>
                <a:cubicBezTo>
                  <a:pt x="399" y="248"/>
                  <a:pt x="393" y="248"/>
                  <a:pt x="383" y="248"/>
                </a:cubicBezTo>
                <a:cubicBezTo>
                  <a:pt x="383" y="227"/>
                  <a:pt x="383" y="145"/>
                  <a:pt x="383" y="145"/>
                </a:cubicBezTo>
                <a:cubicBezTo>
                  <a:pt x="383" y="138"/>
                  <a:pt x="377" y="132"/>
                  <a:pt x="370" y="132"/>
                </a:cubicBezTo>
                <a:cubicBezTo>
                  <a:pt x="260" y="132"/>
                  <a:pt x="260" y="132"/>
                  <a:pt x="260" y="132"/>
                </a:cubicBezTo>
                <a:cubicBezTo>
                  <a:pt x="257" y="132"/>
                  <a:pt x="253" y="133"/>
                  <a:pt x="250" y="136"/>
                </a:cubicBezTo>
                <a:cubicBezTo>
                  <a:pt x="248" y="139"/>
                  <a:pt x="247" y="142"/>
                  <a:pt x="247" y="145"/>
                </a:cubicBezTo>
                <a:cubicBezTo>
                  <a:pt x="247" y="146"/>
                  <a:pt x="247" y="146"/>
                  <a:pt x="247" y="147"/>
                </a:cubicBezTo>
                <a:cubicBezTo>
                  <a:pt x="247" y="147"/>
                  <a:pt x="279" y="360"/>
                  <a:pt x="283" y="387"/>
                </a:cubicBezTo>
                <a:cubicBezTo>
                  <a:pt x="263" y="387"/>
                  <a:pt x="205" y="387"/>
                  <a:pt x="184" y="387"/>
                </a:cubicBezTo>
                <a:cubicBezTo>
                  <a:pt x="188" y="360"/>
                  <a:pt x="220" y="147"/>
                  <a:pt x="220" y="147"/>
                </a:cubicBezTo>
                <a:cubicBezTo>
                  <a:pt x="220" y="146"/>
                  <a:pt x="220" y="146"/>
                  <a:pt x="220" y="145"/>
                </a:cubicBezTo>
                <a:cubicBezTo>
                  <a:pt x="220" y="142"/>
                  <a:pt x="219" y="139"/>
                  <a:pt x="217" y="136"/>
                </a:cubicBezTo>
                <a:cubicBezTo>
                  <a:pt x="215" y="133"/>
                  <a:pt x="211" y="132"/>
                  <a:pt x="207" y="132"/>
                </a:cubicBezTo>
                <a:cubicBezTo>
                  <a:pt x="136" y="132"/>
                  <a:pt x="136" y="132"/>
                  <a:pt x="136" y="132"/>
                </a:cubicBezTo>
                <a:cubicBezTo>
                  <a:pt x="130" y="132"/>
                  <a:pt x="125" y="135"/>
                  <a:pt x="123" y="141"/>
                </a:cubicBezTo>
                <a:cubicBezTo>
                  <a:pt x="123" y="141"/>
                  <a:pt x="121" y="148"/>
                  <a:pt x="119" y="154"/>
                </a:cubicBezTo>
                <a:cubicBezTo>
                  <a:pt x="114" y="154"/>
                  <a:pt x="109" y="154"/>
                  <a:pt x="109" y="154"/>
                </a:cubicBezTo>
                <a:cubicBezTo>
                  <a:pt x="102" y="154"/>
                  <a:pt x="97" y="159"/>
                  <a:pt x="96" y="166"/>
                </a:cubicBezTo>
                <a:cubicBezTo>
                  <a:pt x="76" y="289"/>
                  <a:pt x="76" y="289"/>
                  <a:pt x="76" y="289"/>
                </a:cubicBezTo>
                <a:cubicBezTo>
                  <a:pt x="76" y="290"/>
                  <a:pt x="76" y="291"/>
                  <a:pt x="76" y="291"/>
                </a:cubicBezTo>
                <a:cubicBezTo>
                  <a:pt x="76" y="294"/>
                  <a:pt x="77" y="297"/>
                  <a:pt x="79" y="300"/>
                </a:cubicBezTo>
                <a:cubicBezTo>
                  <a:pt x="82" y="303"/>
                  <a:pt x="86" y="305"/>
                  <a:pt x="89" y="305"/>
                </a:cubicBezTo>
                <a:cubicBezTo>
                  <a:pt x="89" y="305"/>
                  <a:pt x="101" y="305"/>
                  <a:pt x="112" y="305"/>
                </a:cubicBezTo>
                <a:cubicBezTo>
                  <a:pt x="109" y="325"/>
                  <a:pt x="101" y="372"/>
                  <a:pt x="99" y="387"/>
                </a:cubicBezTo>
                <a:cubicBezTo>
                  <a:pt x="84" y="387"/>
                  <a:pt x="49" y="387"/>
                  <a:pt x="30" y="387"/>
                </a:cubicBezTo>
                <a:cubicBezTo>
                  <a:pt x="34" y="367"/>
                  <a:pt x="42" y="320"/>
                  <a:pt x="45" y="305"/>
                </a:cubicBezTo>
                <a:cubicBezTo>
                  <a:pt x="51" y="305"/>
                  <a:pt x="58" y="305"/>
                  <a:pt x="58" y="305"/>
                </a:cubicBezTo>
                <a:cubicBezTo>
                  <a:pt x="66" y="305"/>
                  <a:pt x="72" y="299"/>
                  <a:pt x="72" y="291"/>
                </a:cubicBezTo>
                <a:cubicBezTo>
                  <a:pt x="72" y="284"/>
                  <a:pt x="66" y="278"/>
                  <a:pt x="58" y="278"/>
                </a:cubicBezTo>
                <a:cubicBezTo>
                  <a:pt x="33" y="278"/>
                  <a:pt x="33" y="278"/>
                  <a:pt x="33" y="278"/>
                </a:cubicBezTo>
                <a:cubicBezTo>
                  <a:pt x="27" y="278"/>
                  <a:pt x="21" y="283"/>
                  <a:pt x="20" y="289"/>
                </a:cubicBezTo>
                <a:cubicBezTo>
                  <a:pt x="1" y="398"/>
                  <a:pt x="1" y="398"/>
                  <a:pt x="1" y="398"/>
                </a:cubicBezTo>
                <a:cubicBezTo>
                  <a:pt x="0" y="402"/>
                  <a:pt x="1" y="406"/>
                  <a:pt x="4" y="409"/>
                </a:cubicBezTo>
                <a:cubicBezTo>
                  <a:pt x="6" y="412"/>
                  <a:pt x="10" y="414"/>
                  <a:pt x="14" y="414"/>
                </a:cubicBezTo>
                <a:cubicBezTo>
                  <a:pt x="110" y="414"/>
                  <a:pt x="110" y="414"/>
                  <a:pt x="110" y="414"/>
                </a:cubicBezTo>
                <a:cubicBezTo>
                  <a:pt x="117" y="414"/>
                  <a:pt x="122" y="409"/>
                  <a:pt x="123" y="402"/>
                </a:cubicBezTo>
                <a:cubicBezTo>
                  <a:pt x="140" y="293"/>
                  <a:pt x="140" y="293"/>
                  <a:pt x="140" y="293"/>
                </a:cubicBezTo>
                <a:cubicBezTo>
                  <a:pt x="141" y="289"/>
                  <a:pt x="140" y="286"/>
                  <a:pt x="137" y="283"/>
                </a:cubicBezTo>
                <a:cubicBezTo>
                  <a:pt x="135" y="280"/>
                  <a:pt x="131" y="278"/>
                  <a:pt x="127" y="278"/>
                </a:cubicBezTo>
                <a:cubicBezTo>
                  <a:pt x="127" y="278"/>
                  <a:pt x="116" y="278"/>
                  <a:pt x="105" y="278"/>
                </a:cubicBezTo>
                <a:cubicBezTo>
                  <a:pt x="108" y="257"/>
                  <a:pt x="118" y="197"/>
                  <a:pt x="120" y="181"/>
                </a:cubicBezTo>
                <a:cubicBezTo>
                  <a:pt x="124" y="181"/>
                  <a:pt x="129" y="181"/>
                  <a:pt x="129" y="181"/>
                </a:cubicBezTo>
                <a:cubicBezTo>
                  <a:pt x="135" y="181"/>
                  <a:pt x="140" y="177"/>
                  <a:pt x="142" y="172"/>
                </a:cubicBezTo>
                <a:cubicBezTo>
                  <a:pt x="142" y="172"/>
                  <a:pt x="144" y="165"/>
                  <a:pt x="146" y="158"/>
                </a:cubicBezTo>
                <a:cubicBezTo>
                  <a:pt x="157" y="158"/>
                  <a:pt x="176" y="158"/>
                  <a:pt x="192" y="158"/>
                </a:cubicBezTo>
                <a:cubicBezTo>
                  <a:pt x="188" y="185"/>
                  <a:pt x="156" y="398"/>
                  <a:pt x="156" y="398"/>
                </a:cubicBezTo>
                <a:cubicBezTo>
                  <a:pt x="156" y="399"/>
                  <a:pt x="155" y="400"/>
                  <a:pt x="155" y="400"/>
                </a:cubicBezTo>
                <a:cubicBezTo>
                  <a:pt x="155" y="403"/>
                  <a:pt x="157" y="407"/>
                  <a:pt x="159" y="409"/>
                </a:cubicBezTo>
                <a:cubicBezTo>
                  <a:pt x="161" y="412"/>
                  <a:pt x="165" y="414"/>
                  <a:pt x="169" y="414"/>
                </a:cubicBezTo>
                <a:cubicBezTo>
                  <a:pt x="299" y="414"/>
                  <a:pt x="299" y="414"/>
                  <a:pt x="299" y="414"/>
                </a:cubicBezTo>
                <a:cubicBezTo>
                  <a:pt x="303" y="414"/>
                  <a:pt x="306" y="412"/>
                  <a:pt x="309" y="409"/>
                </a:cubicBezTo>
                <a:cubicBezTo>
                  <a:pt x="311" y="407"/>
                  <a:pt x="312" y="403"/>
                  <a:pt x="312" y="400"/>
                </a:cubicBezTo>
                <a:cubicBezTo>
                  <a:pt x="312" y="400"/>
                  <a:pt x="312" y="399"/>
                  <a:pt x="312" y="398"/>
                </a:cubicBezTo>
                <a:cubicBezTo>
                  <a:pt x="312" y="398"/>
                  <a:pt x="280" y="185"/>
                  <a:pt x="276" y="158"/>
                </a:cubicBezTo>
                <a:cubicBezTo>
                  <a:pt x="296" y="158"/>
                  <a:pt x="339" y="158"/>
                  <a:pt x="357" y="158"/>
                </a:cubicBezTo>
                <a:cubicBezTo>
                  <a:pt x="357" y="179"/>
                  <a:pt x="357" y="262"/>
                  <a:pt x="357" y="262"/>
                </a:cubicBezTo>
                <a:cubicBezTo>
                  <a:pt x="357" y="269"/>
                  <a:pt x="363" y="275"/>
                  <a:pt x="370" y="275"/>
                </a:cubicBezTo>
                <a:cubicBezTo>
                  <a:pt x="416" y="275"/>
                  <a:pt x="416" y="275"/>
                  <a:pt x="416" y="275"/>
                </a:cubicBezTo>
                <a:cubicBezTo>
                  <a:pt x="422" y="275"/>
                  <a:pt x="427" y="271"/>
                  <a:pt x="429" y="266"/>
                </a:cubicBezTo>
                <a:cubicBezTo>
                  <a:pt x="430" y="262"/>
                  <a:pt x="460" y="174"/>
                  <a:pt x="460" y="135"/>
                </a:cubicBezTo>
                <a:cubicBezTo>
                  <a:pt x="460" y="116"/>
                  <a:pt x="458" y="90"/>
                  <a:pt x="456" y="69"/>
                </a:cubicBezTo>
                <a:cubicBezTo>
                  <a:pt x="452" y="33"/>
                  <a:pt x="446" y="23"/>
                  <a:pt x="438" y="19"/>
                </a:cubicBezTo>
                <a:cubicBezTo>
                  <a:pt x="433" y="17"/>
                  <a:pt x="394" y="0"/>
                  <a:pt x="362" y="2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2" name="Freeform 151"/>
          <p:cNvSpPr>
            <a:spLocks/>
          </p:cNvSpPr>
          <p:nvPr userDrawn="1"/>
        </p:nvSpPr>
        <p:spPr bwMode="auto">
          <a:xfrm>
            <a:off x="902595" y="873028"/>
            <a:ext cx="288206" cy="386954"/>
          </a:xfrm>
          <a:custGeom>
            <a:avLst/>
            <a:gdLst/>
            <a:ahLst/>
            <a:cxnLst>
              <a:cxn ang="0">
                <a:pos x="8" y="21"/>
              </a:cxn>
              <a:cxn ang="0">
                <a:pos x="0" y="48"/>
              </a:cxn>
              <a:cxn ang="0">
                <a:pos x="4" y="67"/>
              </a:cxn>
              <a:cxn ang="0">
                <a:pos x="31" y="89"/>
              </a:cxn>
              <a:cxn ang="0">
                <a:pos x="31" y="433"/>
              </a:cxn>
              <a:cxn ang="0">
                <a:pos x="38" y="445"/>
              </a:cxn>
              <a:cxn ang="0">
                <a:pos x="89" y="444"/>
              </a:cxn>
              <a:cxn ang="0">
                <a:pos x="95" y="433"/>
              </a:cxn>
              <a:cxn ang="0">
                <a:pos x="95" y="257"/>
              </a:cxn>
              <a:cxn ang="0">
                <a:pos x="133" y="239"/>
              </a:cxn>
              <a:cxn ang="0">
                <a:pos x="210" y="252"/>
              </a:cxn>
              <a:cxn ang="0">
                <a:pos x="294" y="276"/>
              </a:cxn>
              <a:cxn ang="0">
                <a:pos x="334" y="262"/>
              </a:cxn>
              <a:cxn ang="0">
                <a:pos x="341" y="251"/>
              </a:cxn>
              <a:cxn ang="0">
                <a:pos x="341" y="94"/>
              </a:cxn>
              <a:cxn ang="0">
                <a:pos x="334" y="83"/>
              </a:cxn>
              <a:cxn ang="0">
                <a:pos x="320" y="83"/>
              </a:cxn>
              <a:cxn ang="0">
                <a:pos x="239" y="90"/>
              </a:cxn>
              <a:cxn ang="0">
                <a:pos x="238" y="89"/>
              </a:cxn>
              <a:cxn ang="0">
                <a:pos x="127" y="61"/>
              </a:cxn>
              <a:cxn ang="0">
                <a:pos x="74" y="85"/>
              </a:cxn>
              <a:cxn ang="0">
                <a:pos x="73" y="85"/>
              </a:cxn>
              <a:cxn ang="0">
                <a:pos x="74" y="85"/>
              </a:cxn>
              <a:cxn ang="0">
                <a:pos x="72" y="86"/>
              </a:cxn>
              <a:cxn ang="0">
                <a:pos x="68" y="96"/>
              </a:cxn>
              <a:cxn ang="0">
                <a:pos x="68" y="97"/>
              </a:cxn>
              <a:cxn ang="0">
                <a:pos x="68" y="202"/>
              </a:cxn>
              <a:cxn ang="0">
                <a:pos x="81" y="216"/>
              </a:cxn>
              <a:cxn ang="0">
                <a:pos x="81" y="216"/>
              </a:cxn>
              <a:cxn ang="0">
                <a:pos x="95" y="202"/>
              </a:cxn>
              <a:cxn ang="0">
                <a:pos x="95" y="103"/>
              </a:cxn>
              <a:cxn ang="0">
                <a:pos x="219" y="109"/>
              </a:cxn>
              <a:cxn ang="0">
                <a:pos x="294" y="124"/>
              </a:cxn>
              <a:cxn ang="0">
                <a:pos x="314" y="117"/>
              </a:cxn>
              <a:cxn ang="0">
                <a:pos x="314" y="242"/>
              </a:cxn>
              <a:cxn ang="0">
                <a:pos x="228" y="232"/>
              </a:cxn>
              <a:cxn ang="0">
                <a:pos x="124" y="214"/>
              </a:cxn>
              <a:cxn ang="0">
                <a:pos x="73" y="240"/>
              </a:cxn>
              <a:cxn ang="0">
                <a:pos x="68" y="251"/>
              </a:cxn>
              <a:cxn ang="0">
                <a:pos x="68" y="424"/>
              </a:cxn>
              <a:cxn ang="0">
                <a:pos x="57" y="424"/>
              </a:cxn>
              <a:cxn ang="0">
                <a:pos x="57" y="78"/>
              </a:cxn>
              <a:cxn ang="0">
                <a:pos x="46" y="65"/>
              </a:cxn>
              <a:cxn ang="0">
                <a:pos x="28" y="55"/>
              </a:cxn>
              <a:cxn ang="0">
                <a:pos x="27" y="48"/>
              </a:cxn>
              <a:cxn ang="0">
                <a:pos x="30" y="35"/>
              </a:cxn>
              <a:cxn ang="0">
                <a:pos x="46" y="28"/>
              </a:cxn>
              <a:cxn ang="0">
                <a:pos x="62" y="36"/>
              </a:cxn>
              <a:cxn ang="0">
                <a:pos x="63" y="50"/>
              </a:cxn>
              <a:cxn ang="0">
                <a:pos x="69" y="68"/>
              </a:cxn>
              <a:cxn ang="0">
                <a:pos x="87" y="62"/>
              </a:cxn>
              <a:cxn ang="0">
                <a:pos x="86" y="22"/>
              </a:cxn>
              <a:cxn ang="0">
                <a:pos x="47" y="1"/>
              </a:cxn>
              <a:cxn ang="0">
                <a:pos x="8" y="21"/>
              </a:cxn>
            </a:cxnLst>
            <a:rect l="0" t="0" r="r" b="b"/>
            <a:pathLst>
              <a:path w="341" h="457">
                <a:moveTo>
                  <a:pt x="8" y="21"/>
                </a:moveTo>
                <a:cubicBezTo>
                  <a:pt x="3" y="29"/>
                  <a:pt x="0" y="38"/>
                  <a:pt x="0" y="48"/>
                </a:cubicBezTo>
                <a:cubicBezTo>
                  <a:pt x="0" y="55"/>
                  <a:pt x="1" y="61"/>
                  <a:pt x="4" y="67"/>
                </a:cubicBezTo>
                <a:cubicBezTo>
                  <a:pt x="11" y="80"/>
                  <a:pt x="22" y="86"/>
                  <a:pt x="31" y="89"/>
                </a:cubicBezTo>
                <a:cubicBezTo>
                  <a:pt x="31" y="109"/>
                  <a:pt x="31" y="433"/>
                  <a:pt x="31" y="433"/>
                </a:cubicBezTo>
                <a:cubicBezTo>
                  <a:pt x="31" y="438"/>
                  <a:pt x="33" y="442"/>
                  <a:pt x="38" y="445"/>
                </a:cubicBezTo>
                <a:cubicBezTo>
                  <a:pt x="60" y="457"/>
                  <a:pt x="81" y="450"/>
                  <a:pt x="89" y="444"/>
                </a:cubicBezTo>
                <a:cubicBezTo>
                  <a:pt x="92" y="441"/>
                  <a:pt x="95" y="437"/>
                  <a:pt x="95" y="433"/>
                </a:cubicBezTo>
                <a:cubicBezTo>
                  <a:pt x="95" y="433"/>
                  <a:pt x="95" y="270"/>
                  <a:pt x="95" y="257"/>
                </a:cubicBezTo>
                <a:cubicBezTo>
                  <a:pt x="102" y="253"/>
                  <a:pt x="116" y="244"/>
                  <a:pt x="133" y="239"/>
                </a:cubicBezTo>
                <a:cubicBezTo>
                  <a:pt x="163" y="229"/>
                  <a:pt x="190" y="233"/>
                  <a:pt x="210" y="252"/>
                </a:cubicBezTo>
                <a:cubicBezTo>
                  <a:pt x="233" y="273"/>
                  <a:pt x="262" y="281"/>
                  <a:pt x="294" y="276"/>
                </a:cubicBezTo>
                <a:cubicBezTo>
                  <a:pt x="317" y="272"/>
                  <a:pt x="334" y="263"/>
                  <a:pt x="334" y="262"/>
                </a:cubicBezTo>
                <a:cubicBezTo>
                  <a:pt x="338" y="260"/>
                  <a:pt x="341" y="255"/>
                  <a:pt x="341" y="251"/>
                </a:cubicBezTo>
                <a:cubicBezTo>
                  <a:pt x="341" y="94"/>
                  <a:pt x="341" y="94"/>
                  <a:pt x="341" y="94"/>
                </a:cubicBezTo>
                <a:cubicBezTo>
                  <a:pt x="341" y="89"/>
                  <a:pt x="338" y="85"/>
                  <a:pt x="334" y="83"/>
                </a:cubicBezTo>
                <a:cubicBezTo>
                  <a:pt x="330" y="80"/>
                  <a:pt x="324" y="80"/>
                  <a:pt x="320" y="83"/>
                </a:cubicBezTo>
                <a:cubicBezTo>
                  <a:pt x="320" y="84"/>
                  <a:pt x="264" y="121"/>
                  <a:pt x="239" y="90"/>
                </a:cubicBezTo>
                <a:cubicBezTo>
                  <a:pt x="238" y="90"/>
                  <a:pt x="238" y="90"/>
                  <a:pt x="238" y="89"/>
                </a:cubicBezTo>
                <a:cubicBezTo>
                  <a:pt x="207" y="60"/>
                  <a:pt x="168" y="51"/>
                  <a:pt x="127" y="61"/>
                </a:cubicBezTo>
                <a:cubicBezTo>
                  <a:pt x="100" y="67"/>
                  <a:pt x="80" y="81"/>
                  <a:pt x="74" y="85"/>
                </a:cubicBezTo>
                <a:cubicBezTo>
                  <a:pt x="73" y="85"/>
                  <a:pt x="73" y="85"/>
                  <a:pt x="73" y="85"/>
                </a:cubicBezTo>
                <a:cubicBezTo>
                  <a:pt x="73" y="85"/>
                  <a:pt x="73" y="85"/>
                  <a:pt x="74" y="85"/>
                </a:cubicBezTo>
                <a:cubicBezTo>
                  <a:pt x="73" y="86"/>
                  <a:pt x="72" y="86"/>
                  <a:pt x="72" y="86"/>
                </a:cubicBezTo>
                <a:cubicBezTo>
                  <a:pt x="69" y="89"/>
                  <a:pt x="68" y="92"/>
                  <a:pt x="68" y="96"/>
                </a:cubicBezTo>
                <a:cubicBezTo>
                  <a:pt x="68" y="96"/>
                  <a:pt x="68" y="97"/>
                  <a:pt x="68" y="97"/>
                </a:cubicBezTo>
                <a:cubicBezTo>
                  <a:pt x="68" y="101"/>
                  <a:pt x="68" y="202"/>
                  <a:pt x="68" y="202"/>
                </a:cubicBezTo>
                <a:cubicBezTo>
                  <a:pt x="68" y="210"/>
                  <a:pt x="74" y="216"/>
                  <a:pt x="81" y="216"/>
                </a:cubicBezTo>
                <a:cubicBezTo>
                  <a:pt x="81" y="216"/>
                  <a:pt x="81" y="216"/>
                  <a:pt x="81" y="216"/>
                </a:cubicBezTo>
                <a:cubicBezTo>
                  <a:pt x="89" y="216"/>
                  <a:pt x="95" y="210"/>
                  <a:pt x="95" y="202"/>
                </a:cubicBezTo>
                <a:cubicBezTo>
                  <a:pt x="95" y="202"/>
                  <a:pt x="95" y="115"/>
                  <a:pt x="95" y="103"/>
                </a:cubicBezTo>
                <a:cubicBezTo>
                  <a:pt x="112" y="92"/>
                  <a:pt x="170" y="63"/>
                  <a:pt x="219" y="109"/>
                </a:cubicBezTo>
                <a:cubicBezTo>
                  <a:pt x="232" y="123"/>
                  <a:pt x="254" y="136"/>
                  <a:pt x="294" y="124"/>
                </a:cubicBezTo>
                <a:cubicBezTo>
                  <a:pt x="302" y="122"/>
                  <a:pt x="308" y="119"/>
                  <a:pt x="314" y="117"/>
                </a:cubicBezTo>
                <a:cubicBezTo>
                  <a:pt x="314" y="148"/>
                  <a:pt x="314" y="230"/>
                  <a:pt x="314" y="242"/>
                </a:cubicBezTo>
                <a:cubicBezTo>
                  <a:pt x="299" y="249"/>
                  <a:pt x="260" y="261"/>
                  <a:pt x="228" y="232"/>
                </a:cubicBezTo>
                <a:cubicBezTo>
                  <a:pt x="200" y="207"/>
                  <a:pt x="164" y="200"/>
                  <a:pt x="124" y="214"/>
                </a:cubicBezTo>
                <a:cubicBezTo>
                  <a:pt x="95" y="223"/>
                  <a:pt x="74" y="239"/>
                  <a:pt x="73" y="240"/>
                </a:cubicBezTo>
                <a:cubicBezTo>
                  <a:pt x="70" y="243"/>
                  <a:pt x="68" y="246"/>
                  <a:pt x="68" y="251"/>
                </a:cubicBezTo>
                <a:cubicBezTo>
                  <a:pt x="68" y="251"/>
                  <a:pt x="68" y="408"/>
                  <a:pt x="68" y="424"/>
                </a:cubicBezTo>
                <a:cubicBezTo>
                  <a:pt x="65" y="425"/>
                  <a:pt x="62" y="425"/>
                  <a:pt x="57" y="424"/>
                </a:cubicBezTo>
                <a:cubicBezTo>
                  <a:pt x="57" y="407"/>
                  <a:pt x="57" y="78"/>
                  <a:pt x="57" y="78"/>
                </a:cubicBezTo>
                <a:cubicBezTo>
                  <a:pt x="57" y="71"/>
                  <a:pt x="52" y="66"/>
                  <a:pt x="46" y="65"/>
                </a:cubicBezTo>
                <a:cubicBezTo>
                  <a:pt x="45" y="65"/>
                  <a:pt x="32" y="63"/>
                  <a:pt x="28" y="55"/>
                </a:cubicBezTo>
                <a:cubicBezTo>
                  <a:pt x="27" y="53"/>
                  <a:pt x="27" y="51"/>
                  <a:pt x="27" y="48"/>
                </a:cubicBezTo>
                <a:cubicBezTo>
                  <a:pt x="27" y="44"/>
                  <a:pt x="28" y="39"/>
                  <a:pt x="30" y="35"/>
                </a:cubicBezTo>
                <a:cubicBezTo>
                  <a:pt x="34" y="30"/>
                  <a:pt x="39" y="28"/>
                  <a:pt x="46" y="28"/>
                </a:cubicBezTo>
                <a:cubicBezTo>
                  <a:pt x="54" y="28"/>
                  <a:pt x="60" y="31"/>
                  <a:pt x="62" y="36"/>
                </a:cubicBezTo>
                <a:cubicBezTo>
                  <a:pt x="65" y="41"/>
                  <a:pt x="65" y="47"/>
                  <a:pt x="63" y="50"/>
                </a:cubicBezTo>
                <a:cubicBezTo>
                  <a:pt x="60" y="57"/>
                  <a:pt x="63" y="65"/>
                  <a:pt x="69" y="68"/>
                </a:cubicBezTo>
                <a:cubicBezTo>
                  <a:pt x="76" y="71"/>
                  <a:pt x="84" y="69"/>
                  <a:pt x="87" y="62"/>
                </a:cubicBezTo>
                <a:cubicBezTo>
                  <a:pt x="93" y="50"/>
                  <a:pt x="92" y="34"/>
                  <a:pt x="86" y="22"/>
                </a:cubicBezTo>
                <a:cubicBezTo>
                  <a:pt x="78" y="10"/>
                  <a:pt x="65" y="2"/>
                  <a:pt x="47" y="1"/>
                </a:cubicBezTo>
                <a:cubicBezTo>
                  <a:pt x="31" y="0"/>
                  <a:pt x="16" y="8"/>
                  <a:pt x="8" y="2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3" name="Freeform 183"/>
          <p:cNvSpPr>
            <a:spLocks/>
          </p:cNvSpPr>
          <p:nvPr userDrawn="1"/>
        </p:nvSpPr>
        <p:spPr bwMode="auto">
          <a:xfrm>
            <a:off x="854958" y="1306044"/>
            <a:ext cx="383481" cy="394097"/>
          </a:xfrm>
          <a:custGeom>
            <a:avLst/>
            <a:gdLst/>
            <a:ahLst/>
            <a:cxnLst>
              <a:cxn ang="0">
                <a:pos x="58" y="463"/>
              </a:cxn>
              <a:cxn ang="0">
                <a:pos x="54" y="452"/>
              </a:cxn>
              <a:cxn ang="0">
                <a:pos x="54" y="148"/>
              </a:cxn>
              <a:cxn ang="0">
                <a:pos x="4" y="144"/>
              </a:cxn>
              <a:cxn ang="0">
                <a:pos x="0" y="134"/>
              </a:cxn>
              <a:cxn ang="0">
                <a:pos x="0" y="71"/>
              </a:cxn>
              <a:cxn ang="0">
                <a:pos x="4" y="61"/>
              </a:cxn>
              <a:cxn ang="0">
                <a:pos x="14" y="57"/>
              </a:cxn>
              <a:cxn ang="0">
                <a:pos x="54" y="14"/>
              </a:cxn>
              <a:cxn ang="0">
                <a:pos x="58" y="4"/>
              </a:cxn>
              <a:cxn ang="0">
                <a:pos x="68" y="0"/>
              </a:cxn>
              <a:cxn ang="0">
                <a:pos x="143" y="14"/>
              </a:cxn>
              <a:cxn ang="0">
                <a:pos x="143" y="57"/>
              </a:cxn>
              <a:cxn ang="0">
                <a:pos x="454" y="71"/>
              </a:cxn>
              <a:cxn ang="0">
                <a:pos x="454" y="133"/>
              </a:cxn>
              <a:cxn ang="0">
                <a:pos x="450" y="143"/>
              </a:cxn>
              <a:cxn ang="0">
                <a:pos x="440" y="147"/>
              </a:cxn>
              <a:cxn ang="0">
                <a:pos x="142" y="157"/>
              </a:cxn>
              <a:cxn ang="0">
                <a:pos x="398" y="161"/>
              </a:cxn>
              <a:cxn ang="0">
                <a:pos x="402" y="171"/>
              </a:cxn>
              <a:cxn ang="0">
                <a:pos x="402" y="325"/>
              </a:cxn>
              <a:cxn ang="0">
                <a:pos x="398" y="335"/>
              </a:cxn>
              <a:cxn ang="0">
                <a:pos x="388" y="339"/>
              </a:cxn>
              <a:cxn ang="0">
                <a:pos x="119" y="335"/>
              </a:cxn>
              <a:cxn ang="0">
                <a:pos x="115" y="325"/>
              </a:cxn>
              <a:cxn ang="0">
                <a:pos x="115" y="219"/>
              </a:cxn>
              <a:cxn ang="0">
                <a:pos x="129" y="205"/>
              </a:cxn>
              <a:cxn ang="0">
                <a:pos x="143" y="219"/>
              </a:cxn>
              <a:cxn ang="0">
                <a:pos x="373" y="310"/>
              </a:cxn>
              <a:cxn ang="0">
                <a:pos x="128" y="185"/>
              </a:cxn>
              <a:cxn ang="0">
                <a:pos x="118" y="181"/>
              </a:cxn>
              <a:cxn ang="0">
                <a:pos x="113" y="171"/>
              </a:cxn>
              <a:cxn ang="0">
                <a:pos x="118" y="123"/>
              </a:cxn>
              <a:cxn ang="0">
                <a:pos x="128" y="119"/>
              </a:cxn>
              <a:cxn ang="0">
                <a:pos x="426" y="119"/>
              </a:cxn>
              <a:cxn ang="0">
                <a:pos x="129" y="85"/>
              </a:cxn>
              <a:cxn ang="0">
                <a:pos x="114" y="71"/>
              </a:cxn>
              <a:cxn ang="0">
                <a:pos x="82" y="28"/>
              </a:cxn>
              <a:cxn ang="0">
                <a:pos x="78" y="81"/>
              </a:cxn>
              <a:cxn ang="0">
                <a:pos x="68" y="85"/>
              </a:cxn>
              <a:cxn ang="0">
                <a:pos x="28" y="85"/>
              </a:cxn>
              <a:cxn ang="0">
                <a:pos x="68" y="119"/>
              </a:cxn>
              <a:cxn ang="0">
                <a:pos x="78" y="123"/>
              </a:cxn>
              <a:cxn ang="0">
                <a:pos x="82" y="134"/>
              </a:cxn>
              <a:cxn ang="0">
                <a:pos x="114" y="438"/>
              </a:cxn>
              <a:cxn ang="0">
                <a:pos x="129" y="357"/>
              </a:cxn>
              <a:cxn ang="0">
                <a:pos x="143" y="372"/>
              </a:cxn>
              <a:cxn ang="0">
                <a:pos x="143" y="452"/>
              </a:cxn>
              <a:cxn ang="0">
                <a:pos x="139" y="463"/>
              </a:cxn>
              <a:cxn ang="0">
                <a:pos x="129" y="467"/>
              </a:cxn>
            </a:cxnLst>
            <a:rect l="0" t="0" r="r" b="b"/>
            <a:pathLst>
              <a:path w="454" h="467">
                <a:moveTo>
                  <a:pt x="68" y="467"/>
                </a:moveTo>
                <a:cubicBezTo>
                  <a:pt x="64" y="467"/>
                  <a:pt x="60" y="465"/>
                  <a:pt x="58" y="463"/>
                </a:cubicBezTo>
                <a:cubicBezTo>
                  <a:pt x="58" y="463"/>
                  <a:pt x="58" y="463"/>
                  <a:pt x="58" y="463"/>
                </a:cubicBezTo>
                <a:cubicBezTo>
                  <a:pt x="55" y="460"/>
                  <a:pt x="54" y="456"/>
                  <a:pt x="54" y="452"/>
                </a:cubicBezTo>
                <a:cubicBezTo>
                  <a:pt x="54" y="452"/>
                  <a:pt x="54" y="452"/>
                  <a:pt x="54" y="452"/>
                </a:cubicBezTo>
                <a:cubicBezTo>
                  <a:pt x="54" y="148"/>
                  <a:pt x="54" y="148"/>
                  <a:pt x="54" y="148"/>
                </a:cubicBezTo>
                <a:cubicBezTo>
                  <a:pt x="14" y="148"/>
                  <a:pt x="14" y="148"/>
                  <a:pt x="14" y="148"/>
                </a:cubicBezTo>
                <a:cubicBezTo>
                  <a:pt x="10" y="148"/>
                  <a:pt x="7" y="146"/>
                  <a:pt x="4" y="144"/>
                </a:cubicBezTo>
                <a:cubicBezTo>
                  <a:pt x="4" y="144"/>
                  <a:pt x="4" y="144"/>
                  <a:pt x="4" y="144"/>
                </a:cubicBezTo>
                <a:cubicBezTo>
                  <a:pt x="1" y="141"/>
                  <a:pt x="0" y="137"/>
                  <a:pt x="0" y="134"/>
                </a:cubicBezTo>
                <a:cubicBezTo>
                  <a:pt x="0" y="134"/>
                  <a:pt x="0" y="134"/>
                  <a:pt x="0" y="134"/>
                </a:cubicBezTo>
                <a:cubicBezTo>
                  <a:pt x="0" y="71"/>
                  <a:pt x="0" y="71"/>
                  <a:pt x="0" y="71"/>
                </a:cubicBezTo>
                <a:cubicBezTo>
                  <a:pt x="0" y="67"/>
                  <a:pt x="1" y="64"/>
                  <a:pt x="4" y="61"/>
                </a:cubicBezTo>
                <a:cubicBezTo>
                  <a:pt x="4" y="61"/>
                  <a:pt x="4" y="61"/>
                  <a:pt x="4" y="61"/>
                </a:cubicBezTo>
                <a:cubicBezTo>
                  <a:pt x="7" y="58"/>
                  <a:pt x="10" y="57"/>
                  <a:pt x="14" y="57"/>
                </a:cubicBezTo>
                <a:cubicBezTo>
                  <a:pt x="14" y="57"/>
                  <a:pt x="14" y="57"/>
                  <a:pt x="14" y="57"/>
                </a:cubicBezTo>
                <a:cubicBezTo>
                  <a:pt x="54" y="57"/>
                  <a:pt x="54" y="57"/>
                  <a:pt x="54" y="57"/>
                </a:cubicBezTo>
                <a:cubicBezTo>
                  <a:pt x="54" y="14"/>
                  <a:pt x="54" y="14"/>
                  <a:pt x="54" y="14"/>
                </a:cubicBezTo>
                <a:cubicBezTo>
                  <a:pt x="54" y="10"/>
                  <a:pt x="55" y="7"/>
                  <a:pt x="58" y="4"/>
                </a:cubicBezTo>
                <a:cubicBezTo>
                  <a:pt x="58" y="4"/>
                  <a:pt x="58" y="4"/>
                  <a:pt x="58" y="4"/>
                </a:cubicBezTo>
                <a:cubicBezTo>
                  <a:pt x="61" y="2"/>
                  <a:pt x="64" y="0"/>
                  <a:pt x="68" y="0"/>
                </a:cubicBezTo>
                <a:cubicBezTo>
                  <a:pt x="68" y="0"/>
                  <a:pt x="68" y="0"/>
                  <a:pt x="68" y="0"/>
                </a:cubicBezTo>
                <a:cubicBezTo>
                  <a:pt x="129" y="0"/>
                  <a:pt x="129" y="0"/>
                  <a:pt x="129" y="0"/>
                </a:cubicBezTo>
                <a:cubicBezTo>
                  <a:pt x="136" y="0"/>
                  <a:pt x="143" y="6"/>
                  <a:pt x="143" y="14"/>
                </a:cubicBezTo>
                <a:cubicBezTo>
                  <a:pt x="143" y="14"/>
                  <a:pt x="143" y="14"/>
                  <a:pt x="143" y="14"/>
                </a:cubicBezTo>
                <a:cubicBezTo>
                  <a:pt x="143" y="57"/>
                  <a:pt x="143" y="57"/>
                  <a:pt x="143" y="57"/>
                </a:cubicBezTo>
                <a:cubicBezTo>
                  <a:pt x="440" y="57"/>
                  <a:pt x="440" y="57"/>
                  <a:pt x="440" y="57"/>
                </a:cubicBezTo>
                <a:cubicBezTo>
                  <a:pt x="448" y="57"/>
                  <a:pt x="454" y="63"/>
                  <a:pt x="454" y="71"/>
                </a:cubicBezTo>
                <a:cubicBezTo>
                  <a:pt x="454" y="71"/>
                  <a:pt x="454" y="71"/>
                  <a:pt x="454" y="71"/>
                </a:cubicBezTo>
                <a:cubicBezTo>
                  <a:pt x="454" y="133"/>
                  <a:pt x="454" y="133"/>
                  <a:pt x="454" y="133"/>
                </a:cubicBezTo>
                <a:cubicBezTo>
                  <a:pt x="454" y="137"/>
                  <a:pt x="453" y="140"/>
                  <a:pt x="450" y="143"/>
                </a:cubicBezTo>
                <a:cubicBezTo>
                  <a:pt x="450" y="143"/>
                  <a:pt x="450" y="143"/>
                  <a:pt x="450" y="143"/>
                </a:cubicBezTo>
                <a:cubicBezTo>
                  <a:pt x="448" y="146"/>
                  <a:pt x="444" y="147"/>
                  <a:pt x="440" y="147"/>
                </a:cubicBezTo>
                <a:cubicBezTo>
                  <a:pt x="440" y="147"/>
                  <a:pt x="440" y="147"/>
                  <a:pt x="440" y="147"/>
                </a:cubicBezTo>
                <a:cubicBezTo>
                  <a:pt x="142" y="147"/>
                  <a:pt x="142" y="147"/>
                  <a:pt x="142" y="147"/>
                </a:cubicBezTo>
                <a:cubicBezTo>
                  <a:pt x="142" y="157"/>
                  <a:pt x="142" y="157"/>
                  <a:pt x="142" y="157"/>
                </a:cubicBezTo>
                <a:cubicBezTo>
                  <a:pt x="388" y="157"/>
                  <a:pt x="388" y="157"/>
                  <a:pt x="388" y="157"/>
                </a:cubicBezTo>
                <a:cubicBezTo>
                  <a:pt x="391" y="157"/>
                  <a:pt x="395" y="158"/>
                  <a:pt x="398" y="161"/>
                </a:cubicBezTo>
                <a:cubicBezTo>
                  <a:pt x="398" y="161"/>
                  <a:pt x="398" y="161"/>
                  <a:pt x="398" y="161"/>
                </a:cubicBezTo>
                <a:cubicBezTo>
                  <a:pt x="400" y="164"/>
                  <a:pt x="402" y="167"/>
                  <a:pt x="402" y="171"/>
                </a:cubicBezTo>
                <a:cubicBezTo>
                  <a:pt x="402" y="171"/>
                  <a:pt x="402" y="171"/>
                  <a:pt x="402" y="171"/>
                </a:cubicBezTo>
                <a:cubicBezTo>
                  <a:pt x="402" y="325"/>
                  <a:pt x="402" y="325"/>
                  <a:pt x="402" y="325"/>
                </a:cubicBezTo>
                <a:cubicBezTo>
                  <a:pt x="402" y="328"/>
                  <a:pt x="400" y="332"/>
                  <a:pt x="398" y="335"/>
                </a:cubicBezTo>
                <a:cubicBezTo>
                  <a:pt x="398" y="335"/>
                  <a:pt x="398" y="335"/>
                  <a:pt x="398" y="335"/>
                </a:cubicBezTo>
                <a:cubicBezTo>
                  <a:pt x="395" y="337"/>
                  <a:pt x="391" y="339"/>
                  <a:pt x="388" y="339"/>
                </a:cubicBezTo>
                <a:cubicBezTo>
                  <a:pt x="388" y="339"/>
                  <a:pt x="388" y="339"/>
                  <a:pt x="388" y="339"/>
                </a:cubicBezTo>
                <a:cubicBezTo>
                  <a:pt x="129" y="339"/>
                  <a:pt x="129" y="339"/>
                  <a:pt x="129" y="339"/>
                </a:cubicBezTo>
                <a:cubicBezTo>
                  <a:pt x="125" y="339"/>
                  <a:pt x="122" y="337"/>
                  <a:pt x="119" y="335"/>
                </a:cubicBezTo>
                <a:cubicBezTo>
                  <a:pt x="119" y="335"/>
                  <a:pt x="119" y="335"/>
                  <a:pt x="119" y="335"/>
                </a:cubicBezTo>
                <a:cubicBezTo>
                  <a:pt x="116" y="332"/>
                  <a:pt x="115" y="328"/>
                  <a:pt x="115" y="325"/>
                </a:cubicBezTo>
                <a:cubicBezTo>
                  <a:pt x="115" y="325"/>
                  <a:pt x="115" y="325"/>
                  <a:pt x="115" y="325"/>
                </a:cubicBezTo>
                <a:cubicBezTo>
                  <a:pt x="115" y="219"/>
                  <a:pt x="115" y="219"/>
                  <a:pt x="115" y="219"/>
                </a:cubicBezTo>
                <a:cubicBezTo>
                  <a:pt x="115" y="212"/>
                  <a:pt x="121" y="205"/>
                  <a:pt x="129" y="205"/>
                </a:cubicBezTo>
                <a:cubicBezTo>
                  <a:pt x="129" y="205"/>
                  <a:pt x="129" y="205"/>
                  <a:pt x="129" y="205"/>
                </a:cubicBezTo>
                <a:cubicBezTo>
                  <a:pt x="137" y="205"/>
                  <a:pt x="143" y="212"/>
                  <a:pt x="143" y="219"/>
                </a:cubicBezTo>
                <a:cubicBezTo>
                  <a:pt x="143" y="219"/>
                  <a:pt x="143" y="219"/>
                  <a:pt x="143" y="219"/>
                </a:cubicBezTo>
                <a:cubicBezTo>
                  <a:pt x="143" y="310"/>
                  <a:pt x="143" y="310"/>
                  <a:pt x="143" y="310"/>
                </a:cubicBezTo>
                <a:cubicBezTo>
                  <a:pt x="373" y="310"/>
                  <a:pt x="373" y="310"/>
                  <a:pt x="373" y="310"/>
                </a:cubicBezTo>
                <a:cubicBezTo>
                  <a:pt x="373" y="185"/>
                  <a:pt x="373" y="185"/>
                  <a:pt x="373" y="185"/>
                </a:cubicBezTo>
                <a:cubicBezTo>
                  <a:pt x="128" y="185"/>
                  <a:pt x="128" y="185"/>
                  <a:pt x="128" y="185"/>
                </a:cubicBezTo>
                <a:cubicBezTo>
                  <a:pt x="124" y="185"/>
                  <a:pt x="120" y="184"/>
                  <a:pt x="118" y="181"/>
                </a:cubicBezTo>
                <a:cubicBezTo>
                  <a:pt x="118" y="181"/>
                  <a:pt x="118" y="181"/>
                  <a:pt x="118" y="181"/>
                </a:cubicBezTo>
                <a:cubicBezTo>
                  <a:pt x="115" y="179"/>
                  <a:pt x="113" y="175"/>
                  <a:pt x="113" y="171"/>
                </a:cubicBezTo>
                <a:cubicBezTo>
                  <a:pt x="113" y="171"/>
                  <a:pt x="113" y="171"/>
                  <a:pt x="113" y="171"/>
                </a:cubicBezTo>
                <a:cubicBezTo>
                  <a:pt x="113" y="133"/>
                  <a:pt x="113" y="133"/>
                  <a:pt x="113" y="133"/>
                </a:cubicBezTo>
                <a:cubicBezTo>
                  <a:pt x="113" y="129"/>
                  <a:pt x="115" y="125"/>
                  <a:pt x="118" y="123"/>
                </a:cubicBezTo>
                <a:cubicBezTo>
                  <a:pt x="118" y="123"/>
                  <a:pt x="118" y="123"/>
                  <a:pt x="118" y="123"/>
                </a:cubicBezTo>
                <a:cubicBezTo>
                  <a:pt x="120" y="120"/>
                  <a:pt x="124" y="119"/>
                  <a:pt x="128" y="119"/>
                </a:cubicBezTo>
                <a:cubicBezTo>
                  <a:pt x="128" y="119"/>
                  <a:pt x="128" y="119"/>
                  <a:pt x="128" y="119"/>
                </a:cubicBezTo>
                <a:cubicBezTo>
                  <a:pt x="426" y="119"/>
                  <a:pt x="426" y="119"/>
                  <a:pt x="426" y="119"/>
                </a:cubicBezTo>
                <a:cubicBezTo>
                  <a:pt x="426" y="85"/>
                  <a:pt x="426" y="85"/>
                  <a:pt x="426" y="85"/>
                </a:cubicBezTo>
                <a:cubicBezTo>
                  <a:pt x="129" y="85"/>
                  <a:pt x="129" y="85"/>
                  <a:pt x="129" y="85"/>
                </a:cubicBezTo>
                <a:cubicBezTo>
                  <a:pt x="121" y="85"/>
                  <a:pt x="114" y="79"/>
                  <a:pt x="114" y="71"/>
                </a:cubicBezTo>
                <a:cubicBezTo>
                  <a:pt x="114" y="71"/>
                  <a:pt x="114" y="71"/>
                  <a:pt x="114" y="71"/>
                </a:cubicBezTo>
                <a:cubicBezTo>
                  <a:pt x="114" y="28"/>
                  <a:pt x="114" y="28"/>
                  <a:pt x="114" y="28"/>
                </a:cubicBezTo>
                <a:cubicBezTo>
                  <a:pt x="82" y="28"/>
                  <a:pt x="82" y="28"/>
                  <a:pt x="82" y="28"/>
                </a:cubicBezTo>
                <a:cubicBezTo>
                  <a:pt x="82" y="71"/>
                  <a:pt x="82" y="71"/>
                  <a:pt x="82" y="71"/>
                </a:cubicBezTo>
                <a:cubicBezTo>
                  <a:pt x="82" y="75"/>
                  <a:pt x="81" y="78"/>
                  <a:pt x="78" y="81"/>
                </a:cubicBezTo>
                <a:cubicBezTo>
                  <a:pt x="78" y="81"/>
                  <a:pt x="78" y="81"/>
                  <a:pt x="78" y="81"/>
                </a:cubicBezTo>
                <a:cubicBezTo>
                  <a:pt x="75" y="84"/>
                  <a:pt x="72" y="85"/>
                  <a:pt x="68" y="85"/>
                </a:cubicBezTo>
                <a:cubicBezTo>
                  <a:pt x="68" y="85"/>
                  <a:pt x="68" y="85"/>
                  <a:pt x="68" y="85"/>
                </a:cubicBezTo>
                <a:cubicBezTo>
                  <a:pt x="28" y="85"/>
                  <a:pt x="28" y="85"/>
                  <a:pt x="28" y="85"/>
                </a:cubicBezTo>
                <a:cubicBezTo>
                  <a:pt x="28" y="119"/>
                  <a:pt x="28" y="119"/>
                  <a:pt x="28" y="119"/>
                </a:cubicBezTo>
                <a:cubicBezTo>
                  <a:pt x="68" y="119"/>
                  <a:pt x="68" y="119"/>
                  <a:pt x="68" y="119"/>
                </a:cubicBezTo>
                <a:cubicBezTo>
                  <a:pt x="72" y="119"/>
                  <a:pt x="75" y="121"/>
                  <a:pt x="78" y="123"/>
                </a:cubicBezTo>
                <a:cubicBezTo>
                  <a:pt x="78" y="123"/>
                  <a:pt x="78" y="123"/>
                  <a:pt x="78" y="123"/>
                </a:cubicBezTo>
                <a:cubicBezTo>
                  <a:pt x="81" y="126"/>
                  <a:pt x="82" y="130"/>
                  <a:pt x="82" y="134"/>
                </a:cubicBezTo>
                <a:cubicBezTo>
                  <a:pt x="82" y="134"/>
                  <a:pt x="82" y="134"/>
                  <a:pt x="82" y="134"/>
                </a:cubicBezTo>
                <a:cubicBezTo>
                  <a:pt x="82" y="438"/>
                  <a:pt x="82" y="438"/>
                  <a:pt x="82" y="438"/>
                </a:cubicBezTo>
                <a:cubicBezTo>
                  <a:pt x="114" y="438"/>
                  <a:pt x="114" y="438"/>
                  <a:pt x="114" y="438"/>
                </a:cubicBezTo>
                <a:cubicBezTo>
                  <a:pt x="114" y="372"/>
                  <a:pt x="114" y="372"/>
                  <a:pt x="114" y="372"/>
                </a:cubicBezTo>
                <a:cubicBezTo>
                  <a:pt x="114" y="364"/>
                  <a:pt x="121" y="357"/>
                  <a:pt x="129" y="357"/>
                </a:cubicBezTo>
                <a:cubicBezTo>
                  <a:pt x="129" y="357"/>
                  <a:pt x="129" y="357"/>
                  <a:pt x="129" y="357"/>
                </a:cubicBezTo>
                <a:cubicBezTo>
                  <a:pt x="136" y="357"/>
                  <a:pt x="143" y="364"/>
                  <a:pt x="143" y="372"/>
                </a:cubicBezTo>
                <a:cubicBezTo>
                  <a:pt x="143" y="372"/>
                  <a:pt x="143" y="372"/>
                  <a:pt x="143" y="372"/>
                </a:cubicBezTo>
                <a:cubicBezTo>
                  <a:pt x="143" y="452"/>
                  <a:pt x="143" y="452"/>
                  <a:pt x="143" y="452"/>
                </a:cubicBezTo>
                <a:cubicBezTo>
                  <a:pt x="143" y="456"/>
                  <a:pt x="141" y="460"/>
                  <a:pt x="139" y="463"/>
                </a:cubicBezTo>
                <a:cubicBezTo>
                  <a:pt x="139" y="463"/>
                  <a:pt x="139" y="463"/>
                  <a:pt x="139" y="463"/>
                </a:cubicBezTo>
                <a:cubicBezTo>
                  <a:pt x="136" y="465"/>
                  <a:pt x="132" y="467"/>
                  <a:pt x="129" y="467"/>
                </a:cubicBezTo>
                <a:cubicBezTo>
                  <a:pt x="129" y="467"/>
                  <a:pt x="129" y="467"/>
                  <a:pt x="129" y="467"/>
                </a:cubicBezTo>
                <a:cubicBezTo>
                  <a:pt x="68" y="467"/>
                  <a:pt x="68" y="467"/>
                  <a:pt x="68" y="46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 name="Freeform 187"/>
          <p:cNvSpPr>
            <a:spLocks/>
          </p:cNvSpPr>
          <p:nvPr userDrawn="1"/>
        </p:nvSpPr>
        <p:spPr bwMode="auto">
          <a:xfrm>
            <a:off x="855552" y="1843250"/>
            <a:ext cx="382291" cy="276225"/>
          </a:xfrm>
          <a:custGeom>
            <a:avLst/>
            <a:gdLst/>
            <a:ahLst/>
            <a:cxnLst>
              <a:cxn ang="0">
                <a:pos x="398" y="134"/>
              </a:cxn>
              <a:cxn ang="0">
                <a:pos x="408" y="93"/>
              </a:cxn>
              <a:cxn ang="0">
                <a:pos x="395" y="79"/>
              </a:cxn>
              <a:cxn ang="0">
                <a:pos x="303" y="93"/>
              </a:cxn>
              <a:cxn ang="0">
                <a:pos x="377" y="106"/>
              </a:cxn>
              <a:cxn ang="0">
                <a:pos x="367" y="147"/>
              </a:cxn>
              <a:cxn ang="0">
                <a:pos x="381" y="161"/>
              </a:cxn>
              <a:cxn ang="0">
                <a:pos x="426" y="241"/>
              </a:cxn>
              <a:cxn ang="0">
                <a:pos x="349" y="214"/>
              </a:cxn>
              <a:cxn ang="0">
                <a:pos x="329" y="232"/>
              </a:cxn>
              <a:cxn ang="0">
                <a:pos x="300" y="301"/>
              </a:cxn>
              <a:cxn ang="0">
                <a:pos x="260" y="251"/>
              </a:cxn>
              <a:cxn ang="0">
                <a:pos x="246" y="234"/>
              </a:cxn>
              <a:cxn ang="0">
                <a:pos x="154" y="234"/>
              </a:cxn>
              <a:cxn ang="0">
                <a:pos x="121" y="213"/>
              </a:cxn>
              <a:cxn ang="0">
                <a:pos x="132" y="260"/>
              </a:cxn>
              <a:cxn ang="0">
                <a:pos x="50" y="260"/>
              </a:cxn>
              <a:cxn ang="0">
                <a:pos x="62" y="231"/>
              </a:cxn>
              <a:cxn ang="0">
                <a:pos x="64" y="223"/>
              </a:cxn>
              <a:cxn ang="0">
                <a:pos x="55" y="175"/>
              </a:cxn>
              <a:cxn ang="0">
                <a:pos x="28" y="164"/>
              </a:cxn>
              <a:cxn ang="0">
                <a:pos x="294" y="81"/>
              </a:cxn>
              <a:cxn ang="0">
                <a:pos x="345" y="49"/>
              </a:cxn>
              <a:cxn ang="0">
                <a:pos x="449" y="15"/>
              </a:cxn>
              <a:cxn ang="0">
                <a:pos x="433" y="2"/>
              </a:cxn>
              <a:cxn ang="0">
                <a:pos x="332" y="25"/>
              </a:cxn>
              <a:cxn ang="0">
                <a:pos x="19" y="99"/>
              </a:cxn>
              <a:cxn ang="0">
                <a:pos x="0" y="164"/>
              </a:cxn>
              <a:cxn ang="0">
                <a:pos x="1" y="171"/>
              </a:cxn>
              <a:cxn ang="0">
                <a:pos x="14" y="189"/>
              </a:cxn>
              <a:cxn ang="0">
                <a:pos x="37" y="219"/>
              </a:cxn>
              <a:cxn ang="0">
                <a:pos x="91" y="328"/>
              </a:cxn>
              <a:cxn ang="0">
                <a:pos x="232" y="261"/>
              </a:cxn>
              <a:cxn ang="0">
                <a:pos x="365" y="277"/>
              </a:cxn>
              <a:cxn ang="0">
                <a:pos x="453" y="253"/>
              </a:cxn>
              <a:cxn ang="0">
                <a:pos x="440" y="134"/>
              </a:cxn>
            </a:cxnLst>
            <a:rect l="0" t="0" r="r" b="b"/>
            <a:pathLst>
              <a:path w="453" h="328">
                <a:moveTo>
                  <a:pt x="440" y="134"/>
                </a:moveTo>
                <a:cubicBezTo>
                  <a:pt x="440" y="134"/>
                  <a:pt x="416" y="134"/>
                  <a:pt x="398" y="134"/>
                </a:cubicBezTo>
                <a:cubicBezTo>
                  <a:pt x="402" y="118"/>
                  <a:pt x="408" y="96"/>
                  <a:pt x="408" y="96"/>
                </a:cubicBezTo>
                <a:cubicBezTo>
                  <a:pt x="408" y="95"/>
                  <a:pt x="408" y="94"/>
                  <a:pt x="408" y="93"/>
                </a:cubicBezTo>
                <a:cubicBezTo>
                  <a:pt x="408" y="90"/>
                  <a:pt x="407" y="87"/>
                  <a:pt x="406" y="84"/>
                </a:cubicBezTo>
                <a:cubicBezTo>
                  <a:pt x="403" y="81"/>
                  <a:pt x="399" y="79"/>
                  <a:pt x="395" y="79"/>
                </a:cubicBezTo>
                <a:cubicBezTo>
                  <a:pt x="317" y="79"/>
                  <a:pt x="317" y="79"/>
                  <a:pt x="317" y="79"/>
                </a:cubicBezTo>
                <a:cubicBezTo>
                  <a:pt x="309" y="79"/>
                  <a:pt x="303" y="85"/>
                  <a:pt x="303" y="93"/>
                </a:cubicBezTo>
                <a:cubicBezTo>
                  <a:pt x="303" y="100"/>
                  <a:pt x="309" y="106"/>
                  <a:pt x="317" y="106"/>
                </a:cubicBezTo>
                <a:cubicBezTo>
                  <a:pt x="317" y="106"/>
                  <a:pt x="356" y="106"/>
                  <a:pt x="377" y="106"/>
                </a:cubicBezTo>
                <a:cubicBezTo>
                  <a:pt x="373" y="122"/>
                  <a:pt x="368" y="144"/>
                  <a:pt x="368" y="144"/>
                </a:cubicBezTo>
                <a:cubicBezTo>
                  <a:pt x="367" y="145"/>
                  <a:pt x="367" y="146"/>
                  <a:pt x="367" y="147"/>
                </a:cubicBezTo>
                <a:cubicBezTo>
                  <a:pt x="367" y="150"/>
                  <a:pt x="368" y="153"/>
                  <a:pt x="370" y="155"/>
                </a:cubicBezTo>
                <a:cubicBezTo>
                  <a:pt x="373" y="159"/>
                  <a:pt x="377" y="161"/>
                  <a:pt x="381" y="161"/>
                </a:cubicBezTo>
                <a:cubicBezTo>
                  <a:pt x="381" y="161"/>
                  <a:pt x="410" y="161"/>
                  <a:pt x="426" y="161"/>
                </a:cubicBezTo>
                <a:cubicBezTo>
                  <a:pt x="426" y="241"/>
                  <a:pt x="426" y="241"/>
                  <a:pt x="426" y="241"/>
                </a:cubicBezTo>
                <a:cubicBezTo>
                  <a:pt x="414" y="243"/>
                  <a:pt x="384" y="247"/>
                  <a:pt x="367" y="249"/>
                </a:cubicBezTo>
                <a:cubicBezTo>
                  <a:pt x="364" y="236"/>
                  <a:pt x="358" y="224"/>
                  <a:pt x="349" y="214"/>
                </a:cubicBezTo>
                <a:cubicBezTo>
                  <a:pt x="344" y="208"/>
                  <a:pt x="335" y="208"/>
                  <a:pt x="330" y="213"/>
                </a:cubicBezTo>
                <a:cubicBezTo>
                  <a:pt x="324" y="218"/>
                  <a:pt x="324" y="227"/>
                  <a:pt x="329" y="232"/>
                </a:cubicBezTo>
                <a:cubicBezTo>
                  <a:pt x="336" y="240"/>
                  <a:pt x="340" y="250"/>
                  <a:pt x="340" y="260"/>
                </a:cubicBezTo>
                <a:cubicBezTo>
                  <a:pt x="340" y="283"/>
                  <a:pt x="322" y="301"/>
                  <a:pt x="300" y="301"/>
                </a:cubicBezTo>
                <a:cubicBezTo>
                  <a:pt x="277" y="301"/>
                  <a:pt x="259" y="283"/>
                  <a:pt x="259" y="260"/>
                </a:cubicBezTo>
                <a:cubicBezTo>
                  <a:pt x="259" y="257"/>
                  <a:pt x="259" y="254"/>
                  <a:pt x="260" y="251"/>
                </a:cubicBezTo>
                <a:cubicBezTo>
                  <a:pt x="261" y="247"/>
                  <a:pt x="260" y="243"/>
                  <a:pt x="257" y="239"/>
                </a:cubicBezTo>
                <a:cubicBezTo>
                  <a:pt x="255" y="236"/>
                  <a:pt x="251" y="234"/>
                  <a:pt x="246" y="234"/>
                </a:cubicBezTo>
                <a:cubicBezTo>
                  <a:pt x="245" y="234"/>
                  <a:pt x="245" y="234"/>
                  <a:pt x="245" y="234"/>
                </a:cubicBezTo>
                <a:cubicBezTo>
                  <a:pt x="154" y="234"/>
                  <a:pt x="154" y="234"/>
                  <a:pt x="154" y="234"/>
                </a:cubicBezTo>
                <a:cubicBezTo>
                  <a:pt x="150" y="227"/>
                  <a:pt x="146" y="219"/>
                  <a:pt x="140" y="213"/>
                </a:cubicBezTo>
                <a:cubicBezTo>
                  <a:pt x="134" y="208"/>
                  <a:pt x="126" y="208"/>
                  <a:pt x="121" y="213"/>
                </a:cubicBezTo>
                <a:cubicBezTo>
                  <a:pt x="115" y="218"/>
                  <a:pt x="115" y="226"/>
                  <a:pt x="120" y="232"/>
                </a:cubicBezTo>
                <a:cubicBezTo>
                  <a:pt x="128" y="239"/>
                  <a:pt x="132" y="250"/>
                  <a:pt x="132" y="260"/>
                </a:cubicBezTo>
                <a:cubicBezTo>
                  <a:pt x="132" y="283"/>
                  <a:pt x="113" y="301"/>
                  <a:pt x="91" y="301"/>
                </a:cubicBezTo>
                <a:cubicBezTo>
                  <a:pt x="68" y="301"/>
                  <a:pt x="50" y="283"/>
                  <a:pt x="50" y="260"/>
                </a:cubicBezTo>
                <a:cubicBezTo>
                  <a:pt x="50" y="250"/>
                  <a:pt x="54" y="241"/>
                  <a:pt x="60" y="233"/>
                </a:cubicBezTo>
                <a:cubicBezTo>
                  <a:pt x="61" y="232"/>
                  <a:pt x="61" y="231"/>
                  <a:pt x="62" y="231"/>
                </a:cubicBezTo>
                <a:cubicBezTo>
                  <a:pt x="63" y="229"/>
                  <a:pt x="63" y="229"/>
                  <a:pt x="63" y="229"/>
                </a:cubicBezTo>
                <a:cubicBezTo>
                  <a:pt x="64" y="227"/>
                  <a:pt x="64" y="225"/>
                  <a:pt x="64" y="223"/>
                </a:cubicBezTo>
                <a:cubicBezTo>
                  <a:pt x="64" y="188"/>
                  <a:pt x="64" y="188"/>
                  <a:pt x="64" y="188"/>
                </a:cubicBezTo>
                <a:cubicBezTo>
                  <a:pt x="64" y="182"/>
                  <a:pt x="61" y="177"/>
                  <a:pt x="55" y="175"/>
                </a:cubicBezTo>
                <a:cubicBezTo>
                  <a:pt x="55" y="175"/>
                  <a:pt x="36" y="168"/>
                  <a:pt x="28" y="165"/>
                </a:cubicBezTo>
                <a:cubicBezTo>
                  <a:pt x="28" y="164"/>
                  <a:pt x="28" y="164"/>
                  <a:pt x="28" y="164"/>
                </a:cubicBezTo>
                <a:cubicBezTo>
                  <a:pt x="28" y="158"/>
                  <a:pt x="31" y="136"/>
                  <a:pt x="33" y="124"/>
                </a:cubicBezTo>
                <a:cubicBezTo>
                  <a:pt x="51" y="121"/>
                  <a:pt x="294" y="81"/>
                  <a:pt x="294" y="81"/>
                </a:cubicBezTo>
                <a:cubicBezTo>
                  <a:pt x="296" y="81"/>
                  <a:pt x="298" y="80"/>
                  <a:pt x="299" y="79"/>
                </a:cubicBezTo>
                <a:cubicBezTo>
                  <a:pt x="299" y="79"/>
                  <a:pt x="341" y="52"/>
                  <a:pt x="345" y="49"/>
                </a:cubicBezTo>
                <a:cubicBezTo>
                  <a:pt x="350" y="48"/>
                  <a:pt x="439" y="29"/>
                  <a:pt x="439" y="29"/>
                </a:cubicBezTo>
                <a:cubicBezTo>
                  <a:pt x="445" y="27"/>
                  <a:pt x="449" y="22"/>
                  <a:pt x="449" y="15"/>
                </a:cubicBezTo>
                <a:cubicBezTo>
                  <a:pt x="449" y="14"/>
                  <a:pt x="449" y="13"/>
                  <a:pt x="449" y="12"/>
                </a:cubicBezTo>
                <a:cubicBezTo>
                  <a:pt x="447" y="5"/>
                  <a:pt x="440" y="0"/>
                  <a:pt x="433" y="2"/>
                </a:cubicBezTo>
                <a:cubicBezTo>
                  <a:pt x="337" y="24"/>
                  <a:pt x="337" y="24"/>
                  <a:pt x="337" y="24"/>
                </a:cubicBezTo>
                <a:cubicBezTo>
                  <a:pt x="335" y="24"/>
                  <a:pt x="334" y="25"/>
                  <a:pt x="332" y="25"/>
                </a:cubicBezTo>
                <a:cubicBezTo>
                  <a:pt x="332" y="25"/>
                  <a:pt x="291" y="52"/>
                  <a:pt x="287" y="55"/>
                </a:cubicBezTo>
                <a:cubicBezTo>
                  <a:pt x="281" y="56"/>
                  <a:pt x="19" y="99"/>
                  <a:pt x="19" y="99"/>
                </a:cubicBezTo>
                <a:cubicBezTo>
                  <a:pt x="13" y="100"/>
                  <a:pt x="8" y="104"/>
                  <a:pt x="7" y="110"/>
                </a:cubicBezTo>
                <a:cubicBezTo>
                  <a:pt x="0" y="164"/>
                  <a:pt x="0" y="164"/>
                  <a:pt x="0" y="164"/>
                </a:cubicBezTo>
                <a:cubicBezTo>
                  <a:pt x="0" y="164"/>
                  <a:pt x="0" y="165"/>
                  <a:pt x="0" y="166"/>
                </a:cubicBezTo>
                <a:cubicBezTo>
                  <a:pt x="0" y="168"/>
                  <a:pt x="1" y="170"/>
                  <a:pt x="1" y="171"/>
                </a:cubicBezTo>
                <a:cubicBezTo>
                  <a:pt x="6" y="182"/>
                  <a:pt x="6" y="182"/>
                  <a:pt x="6" y="182"/>
                </a:cubicBezTo>
                <a:cubicBezTo>
                  <a:pt x="8" y="185"/>
                  <a:pt x="10" y="187"/>
                  <a:pt x="14" y="189"/>
                </a:cubicBezTo>
                <a:cubicBezTo>
                  <a:pt x="14" y="189"/>
                  <a:pt x="28" y="194"/>
                  <a:pt x="37" y="197"/>
                </a:cubicBezTo>
                <a:cubicBezTo>
                  <a:pt x="37" y="219"/>
                  <a:pt x="37" y="219"/>
                  <a:pt x="37" y="219"/>
                </a:cubicBezTo>
                <a:cubicBezTo>
                  <a:pt x="28" y="231"/>
                  <a:pt x="23" y="245"/>
                  <a:pt x="23" y="260"/>
                </a:cubicBezTo>
                <a:cubicBezTo>
                  <a:pt x="23" y="298"/>
                  <a:pt x="53" y="328"/>
                  <a:pt x="91" y="328"/>
                </a:cubicBezTo>
                <a:cubicBezTo>
                  <a:pt x="128" y="328"/>
                  <a:pt x="158" y="298"/>
                  <a:pt x="159" y="261"/>
                </a:cubicBezTo>
                <a:cubicBezTo>
                  <a:pt x="232" y="261"/>
                  <a:pt x="232" y="261"/>
                  <a:pt x="232" y="261"/>
                </a:cubicBezTo>
                <a:cubicBezTo>
                  <a:pt x="233" y="298"/>
                  <a:pt x="263" y="328"/>
                  <a:pt x="300" y="328"/>
                </a:cubicBezTo>
                <a:cubicBezTo>
                  <a:pt x="331" y="328"/>
                  <a:pt x="358" y="306"/>
                  <a:pt x="365" y="277"/>
                </a:cubicBezTo>
                <a:cubicBezTo>
                  <a:pt x="442" y="266"/>
                  <a:pt x="442" y="266"/>
                  <a:pt x="442" y="266"/>
                </a:cubicBezTo>
                <a:cubicBezTo>
                  <a:pt x="448" y="265"/>
                  <a:pt x="453" y="260"/>
                  <a:pt x="453" y="253"/>
                </a:cubicBezTo>
                <a:cubicBezTo>
                  <a:pt x="453" y="147"/>
                  <a:pt x="453" y="147"/>
                  <a:pt x="453" y="147"/>
                </a:cubicBezTo>
                <a:cubicBezTo>
                  <a:pt x="453" y="140"/>
                  <a:pt x="447" y="134"/>
                  <a:pt x="440" y="13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5" name="Freeform 203"/>
          <p:cNvSpPr>
            <a:spLocks/>
          </p:cNvSpPr>
          <p:nvPr userDrawn="1"/>
        </p:nvSpPr>
        <p:spPr bwMode="auto">
          <a:xfrm>
            <a:off x="848406" y="3303008"/>
            <a:ext cx="396582" cy="385763"/>
          </a:xfrm>
          <a:custGeom>
            <a:avLst/>
            <a:gdLst/>
            <a:ahLst/>
            <a:cxnLst>
              <a:cxn ang="0">
                <a:pos x="217" y="41"/>
              </a:cxn>
              <a:cxn ang="0">
                <a:pos x="184" y="188"/>
              </a:cxn>
              <a:cxn ang="0">
                <a:pos x="0" y="389"/>
              </a:cxn>
              <a:cxn ang="0">
                <a:pos x="5" y="453"/>
              </a:cxn>
              <a:cxn ang="0">
                <a:pos x="14" y="457"/>
              </a:cxn>
              <a:cxn ang="0">
                <a:pos x="88" y="453"/>
              </a:cxn>
              <a:cxn ang="0">
                <a:pos x="112" y="429"/>
              </a:cxn>
              <a:cxn ang="0">
                <a:pos x="113" y="410"/>
              </a:cxn>
              <a:cxn ang="0">
                <a:pos x="132" y="391"/>
              </a:cxn>
              <a:cxn ang="0">
                <a:pos x="172" y="370"/>
              </a:cxn>
              <a:cxn ang="0">
                <a:pos x="175" y="365"/>
              </a:cxn>
              <a:cxn ang="0">
                <a:pos x="172" y="339"/>
              </a:cxn>
              <a:cxn ang="0">
                <a:pos x="184" y="339"/>
              </a:cxn>
              <a:cxn ang="0">
                <a:pos x="203" y="339"/>
              </a:cxn>
              <a:cxn ang="0">
                <a:pos x="416" y="240"/>
              </a:cxn>
              <a:cxn ang="0">
                <a:pos x="425" y="73"/>
              </a:cxn>
              <a:cxn ang="0">
                <a:pos x="397" y="221"/>
              </a:cxn>
              <a:cxn ang="0">
                <a:pos x="266" y="244"/>
              </a:cxn>
              <a:cxn ang="0">
                <a:pos x="255" y="248"/>
              </a:cxn>
              <a:cxn ang="0">
                <a:pos x="178" y="310"/>
              </a:cxn>
              <a:cxn ang="0">
                <a:pos x="143" y="345"/>
              </a:cxn>
              <a:cxn ang="0">
                <a:pos x="140" y="364"/>
              </a:cxn>
              <a:cxn ang="0">
                <a:pos x="82" y="400"/>
              </a:cxn>
              <a:cxn ang="0">
                <a:pos x="73" y="430"/>
              </a:cxn>
              <a:cxn ang="0">
                <a:pos x="26" y="394"/>
              </a:cxn>
              <a:cxn ang="0">
                <a:pos x="212" y="194"/>
              </a:cxn>
              <a:cxn ang="0">
                <a:pos x="213" y="190"/>
              </a:cxn>
              <a:cxn ang="0">
                <a:pos x="202" y="140"/>
              </a:cxn>
              <a:cxn ang="0">
                <a:pos x="316" y="27"/>
              </a:cxn>
              <a:cxn ang="0">
                <a:pos x="373" y="65"/>
              </a:cxn>
              <a:cxn ang="0">
                <a:pos x="334" y="123"/>
              </a:cxn>
              <a:cxn ang="0">
                <a:pos x="383" y="109"/>
              </a:cxn>
              <a:cxn ang="0">
                <a:pos x="352" y="104"/>
              </a:cxn>
              <a:cxn ang="0">
                <a:pos x="365" y="91"/>
              </a:cxn>
              <a:cxn ang="0">
                <a:pos x="384" y="92"/>
              </a:cxn>
              <a:cxn ang="0">
                <a:pos x="418" y="46"/>
              </a:cxn>
              <a:cxn ang="0">
                <a:pos x="414" y="40"/>
              </a:cxn>
            </a:cxnLst>
            <a:rect l="0" t="0" r="r" b="b"/>
            <a:pathLst>
              <a:path w="469" h="457">
                <a:moveTo>
                  <a:pt x="315" y="0"/>
                </a:moveTo>
                <a:cubicBezTo>
                  <a:pt x="278" y="0"/>
                  <a:pt x="243" y="15"/>
                  <a:pt x="217" y="41"/>
                </a:cubicBezTo>
                <a:cubicBezTo>
                  <a:pt x="190" y="68"/>
                  <a:pt x="176" y="104"/>
                  <a:pt x="176" y="140"/>
                </a:cubicBezTo>
                <a:cubicBezTo>
                  <a:pt x="176" y="156"/>
                  <a:pt x="179" y="173"/>
                  <a:pt x="184" y="188"/>
                </a:cubicBezTo>
                <a:cubicBezTo>
                  <a:pt x="175" y="198"/>
                  <a:pt x="3" y="380"/>
                  <a:pt x="3" y="380"/>
                </a:cubicBezTo>
                <a:cubicBezTo>
                  <a:pt x="1" y="382"/>
                  <a:pt x="0" y="385"/>
                  <a:pt x="0" y="389"/>
                </a:cubicBezTo>
                <a:cubicBezTo>
                  <a:pt x="0" y="443"/>
                  <a:pt x="0" y="443"/>
                  <a:pt x="0" y="443"/>
                </a:cubicBezTo>
                <a:cubicBezTo>
                  <a:pt x="0" y="447"/>
                  <a:pt x="2" y="451"/>
                  <a:pt x="5" y="453"/>
                </a:cubicBezTo>
                <a:cubicBezTo>
                  <a:pt x="6" y="454"/>
                  <a:pt x="6" y="454"/>
                  <a:pt x="6" y="454"/>
                </a:cubicBezTo>
                <a:cubicBezTo>
                  <a:pt x="8" y="456"/>
                  <a:pt x="11" y="457"/>
                  <a:pt x="14" y="457"/>
                </a:cubicBezTo>
                <a:cubicBezTo>
                  <a:pt x="78" y="457"/>
                  <a:pt x="78" y="457"/>
                  <a:pt x="78" y="457"/>
                </a:cubicBezTo>
                <a:cubicBezTo>
                  <a:pt x="82" y="457"/>
                  <a:pt x="85" y="455"/>
                  <a:pt x="88" y="453"/>
                </a:cubicBezTo>
                <a:cubicBezTo>
                  <a:pt x="112" y="430"/>
                  <a:pt x="112" y="430"/>
                  <a:pt x="112" y="430"/>
                </a:cubicBezTo>
                <a:cubicBezTo>
                  <a:pt x="112" y="430"/>
                  <a:pt x="112" y="429"/>
                  <a:pt x="112" y="429"/>
                </a:cubicBezTo>
                <a:cubicBezTo>
                  <a:pt x="113" y="429"/>
                  <a:pt x="113" y="429"/>
                  <a:pt x="113" y="429"/>
                </a:cubicBezTo>
                <a:cubicBezTo>
                  <a:pt x="118" y="423"/>
                  <a:pt x="118" y="415"/>
                  <a:pt x="113" y="410"/>
                </a:cubicBezTo>
                <a:cubicBezTo>
                  <a:pt x="107" y="405"/>
                  <a:pt x="107" y="396"/>
                  <a:pt x="113" y="391"/>
                </a:cubicBezTo>
                <a:cubicBezTo>
                  <a:pt x="118" y="385"/>
                  <a:pt x="127" y="385"/>
                  <a:pt x="132" y="391"/>
                </a:cubicBezTo>
                <a:cubicBezTo>
                  <a:pt x="137" y="396"/>
                  <a:pt x="146" y="396"/>
                  <a:pt x="151" y="391"/>
                </a:cubicBezTo>
                <a:cubicBezTo>
                  <a:pt x="172" y="370"/>
                  <a:pt x="172" y="370"/>
                  <a:pt x="172" y="370"/>
                </a:cubicBezTo>
                <a:cubicBezTo>
                  <a:pt x="173" y="368"/>
                  <a:pt x="174" y="367"/>
                  <a:pt x="175" y="365"/>
                </a:cubicBezTo>
                <a:cubicBezTo>
                  <a:pt x="175" y="365"/>
                  <a:pt x="175" y="365"/>
                  <a:pt x="175" y="365"/>
                </a:cubicBezTo>
                <a:cubicBezTo>
                  <a:pt x="177" y="360"/>
                  <a:pt x="176" y="354"/>
                  <a:pt x="172" y="350"/>
                </a:cubicBezTo>
                <a:cubicBezTo>
                  <a:pt x="169" y="347"/>
                  <a:pt x="169" y="342"/>
                  <a:pt x="172" y="339"/>
                </a:cubicBezTo>
                <a:cubicBezTo>
                  <a:pt x="174" y="337"/>
                  <a:pt x="176" y="336"/>
                  <a:pt x="178" y="336"/>
                </a:cubicBezTo>
                <a:cubicBezTo>
                  <a:pt x="180" y="336"/>
                  <a:pt x="182" y="337"/>
                  <a:pt x="184" y="339"/>
                </a:cubicBezTo>
                <a:cubicBezTo>
                  <a:pt x="186" y="341"/>
                  <a:pt x="190" y="343"/>
                  <a:pt x="193" y="343"/>
                </a:cubicBezTo>
                <a:cubicBezTo>
                  <a:pt x="197" y="343"/>
                  <a:pt x="200" y="341"/>
                  <a:pt x="203" y="339"/>
                </a:cubicBezTo>
                <a:cubicBezTo>
                  <a:pt x="203" y="339"/>
                  <a:pt x="260" y="282"/>
                  <a:pt x="269" y="273"/>
                </a:cubicBezTo>
                <a:cubicBezTo>
                  <a:pt x="320" y="291"/>
                  <a:pt x="377" y="279"/>
                  <a:pt x="416" y="240"/>
                </a:cubicBezTo>
                <a:cubicBezTo>
                  <a:pt x="458" y="197"/>
                  <a:pt x="469" y="133"/>
                  <a:pt x="443" y="79"/>
                </a:cubicBezTo>
                <a:cubicBezTo>
                  <a:pt x="440" y="72"/>
                  <a:pt x="432" y="70"/>
                  <a:pt x="425" y="73"/>
                </a:cubicBezTo>
                <a:cubicBezTo>
                  <a:pt x="418" y="76"/>
                  <a:pt x="416" y="84"/>
                  <a:pt x="419" y="91"/>
                </a:cubicBezTo>
                <a:cubicBezTo>
                  <a:pt x="440" y="134"/>
                  <a:pt x="431" y="187"/>
                  <a:pt x="397" y="221"/>
                </a:cubicBezTo>
                <a:cubicBezTo>
                  <a:pt x="364" y="254"/>
                  <a:pt x="315" y="263"/>
                  <a:pt x="272" y="245"/>
                </a:cubicBezTo>
                <a:cubicBezTo>
                  <a:pt x="270" y="244"/>
                  <a:pt x="268" y="244"/>
                  <a:pt x="266" y="244"/>
                </a:cubicBezTo>
                <a:cubicBezTo>
                  <a:pt x="263" y="245"/>
                  <a:pt x="263" y="245"/>
                  <a:pt x="263" y="245"/>
                </a:cubicBezTo>
                <a:cubicBezTo>
                  <a:pt x="260" y="245"/>
                  <a:pt x="258" y="246"/>
                  <a:pt x="255" y="248"/>
                </a:cubicBezTo>
                <a:cubicBezTo>
                  <a:pt x="255" y="248"/>
                  <a:pt x="203" y="301"/>
                  <a:pt x="191" y="312"/>
                </a:cubicBezTo>
                <a:cubicBezTo>
                  <a:pt x="187" y="311"/>
                  <a:pt x="183" y="310"/>
                  <a:pt x="178" y="310"/>
                </a:cubicBezTo>
                <a:cubicBezTo>
                  <a:pt x="169" y="310"/>
                  <a:pt x="160" y="313"/>
                  <a:pt x="153" y="320"/>
                </a:cubicBezTo>
                <a:cubicBezTo>
                  <a:pt x="147" y="327"/>
                  <a:pt x="143" y="336"/>
                  <a:pt x="143" y="345"/>
                </a:cubicBezTo>
                <a:cubicBezTo>
                  <a:pt x="143" y="349"/>
                  <a:pt x="144" y="354"/>
                  <a:pt x="146" y="358"/>
                </a:cubicBezTo>
                <a:cubicBezTo>
                  <a:pt x="143" y="361"/>
                  <a:pt x="143" y="361"/>
                  <a:pt x="140" y="364"/>
                </a:cubicBezTo>
                <a:cubicBezTo>
                  <a:pt x="125" y="357"/>
                  <a:pt x="106" y="359"/>
                  <a:pt x="94" y="372"/>
                </a:cubicBezTo>
                <a:cubicBezTo>
                  <a:pt x="86" y="380"/>
                  <a:pt x="82" y="390"/>
                  <a:pt x="82" y="400"/>
                </a:cubicBezTo>
                <a:cubicBezTo>
                  <a:pt x="82" y="406"/>
                  <a:pt x="83" y="412"/>
                  <a:pt x="86" y="417"/>
                </a:cubicBezTo>
                <a:cubicBezTo>
                  <a:pt x="80" y="423"/>
                  <a:pt x="76" y="427"/>
                  <a:pt x="73" y="430"/>
                </a:cubicBezTo>
                <a:cubicBezTo>
                  <a:pt x="66" y="430"/>
                  <a:pt x="41" y="430"/>
                  <a:pt x="26" y="430"/>
                </a:cubicBezTo>
                <a:cubicBezTo>
                  <a:pt x="26" y="417"/>
                  <a:pt x="26" y="400"/>
                  <a:pt x="26" y="394"/>
                </a:cubicBezTo>
                <a:cubicBezTo>
                  <a:pt x="33" y="387"/>
                  <a:pt x="209" y="201"/>
                  <a:pt x="209" y="201"/>
                </a:cubicBezTo>
                <a:cubicBezTo>
                  <a:pt x="210" y="199"/>
                  <a:pt x="212" y="197"/>
                  <a:pt x="212" y="194"/>
                </a:cubicBezTo>
                <a:cubicBezTo>
                  <a:pt x="212" y="192"/>
                  <a:pt x="212" y="192"/>
                  <a:pt x="212" y="192"/>
                </a:cubicBezTo>
                <a:cubicBezTo>
                  <a:pt x="213" y="191"/>
                  <a:pt x="213" y="191"/>
                  <a:pt x="213" y="190"/>
                </a:cubicBezTo>
                <a:cubicBezTo>
                  <a:pt x="213" y="188"/>
                  <a:pt x="212" y="187"/>
                  <a:pt x="212" y="185"/>
                </a:cubicBezTo>
                <a:cubicBezTo>
                  <a:pt x="205" y="170"/>
                  <a:pt x="202" y="155"/>
                  <a:pt x="202" y="140"/>
                </a:cubicBezTo>
                <a:cubicBezTo>
                  <a:pt x="202" y="111"/>
                  <a:pt x="214" y="82"/>
                  <a:pt x="236" y="60"/>
                </a:cubicBezTo>
                <a:cubicBezTo>
                  <a:pt x="257" y="39"/>
                  <a:pt x="285" y="27"/>
                  <a:pt x="316" y="27"/>
                </a:cubicBezTo>
                <a:cubicBezTo>
                  <a:pt x="342" y="26"/>
                  <a:pt x="367" y="35"/>
                  <a:pt x="387" y="51"/>
                </a:cubicBezTo>
                <a:cubicBezTo>
                  <a:pt x="381" y="57"/>
                  <a:pt x="378" y="60"/>
                  <a:pt x="373" y="65"/>
                </a:cubicBezTo>
                <a:cubicBezTo>
                  <a:pt x="360" y="60"/>
                  <a:pt x="344" y="62"/>
                  <a:pt x="334" y="73"/>
                </a:cubicBezTo>
                <a:cubicBezTo>
                  <a:pt x="320" y="87"/>
                  <a:pt x="320" y="109"/>
                  <a:pt x="334" y="123"/>
                </a:cubicBezTo>
                <a:cubicBezTo>
                  <a:pt x="346" y="136"/>
                  <a:pt x="365" y="137"/>
                  <a:pt x="379" y="127"/>
                </a:cubicBezTo>
                <a:cubicBezTo>
                  <a:pt x="385" y="123"/>
                  <a:pt x="387" y="115"/>
                  <a:pt x="383" y="109"/>
                </a:cubicBezTo>
                <a:cubicBezTo>
                  <a:pt x="378" y="103"/>
                  <a:pt x="370" y="101"/>
                  <a:pt x="364" y="105"/>
                </a:cubicBezTo>
                <a:cubicBezTo>
                  <a:pt x="360" y="108"/>
                  <a:pt x="356" y="108"/>
                  <a:pt x="352" y="104"/>
                </a:cubicBezTo>
                <a:cubicBezTo>
                  <a:pt x="349" y="101"/>
                  <a:pt x="349" y="95"/>
                  <a:pt x="352" y="92"/>
                </a:cubicBezTo>
                <a:cubicBezTo>
                  <a:pt x="356" y="88"/>
                  <a:pt x="361" y="88"/>
                  <a:pt x="365" y="91"/>
                </a:cubicBezTo>
                <a:cubicBezTo>
                  <a:pt x="365" y="92"/>
                  <a:pt x="365" y="92"/>
                  <a:pt x="365" y="92"/>
                </a:cubicBezTo>
                <a:cubicBezTo>
                  <a:pt x="371" y="97"/>
                  <a:pt x="379" y="97"/>
                  <a:pt x="384" y="92"/>
                </a:cubicBezTo>
                <a:cubicBezTo>
                  <a:pt x="415" y="61"/>
                  <a:pt x="415" y="61"/>
                  <a:pt x="415" y="61"/>
                </a:cubicBezTo>
                <a:cubicBezTo>
                  <a:pt x="419" y="57"/>
                  <a:pt x="420" y="51"/>
                  <a:pt x="418" y="46"/>
                </a:cubicBezTo>
                <a:cubicBezTo>
                  <a:pt x="417" y="44"/>
                  <a:pt x="417" y="44"/>
                  <a:pt x="417" y="44"/>
                </a:cubicBezTo>
                <a:cubicBezTo>
                  <a:pt x="417" y="43"/>
                  <a:pt x="416" y="41"/>
                  <a:pt x="414" y="40"/>
                </a:cubicBezTo>
                <a:cubicBezTo>
                  <a:pt x="388" y="14"/>
                  <a:pt x="353" y="0"/>
                  <a:pt x="315" y="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6" name="Freeform 211"/>
          <p:cNvSpPr>
            <a:spLocks/>
          </p:cNvSpPr>
          <p:nvPr userDrawn="1"/>
        </p:nvSpPr>
        <p:spPr bwMode="auto">
          <a:xfrm>
            <a:off x="869249" y="2307512"/>
            <a:ext cx="354899" cy="257175"/>
          </a:xfrm>
          <a:custGeom>
            <a:avLst/>
            <a:gdLst/>
            <a:ahLst/>
            <a:cxnLst>
              <a:cxn ang="0">
                <a:pos x="63" y="199"/>
              </a:cxn>
              <a:cxn ang="0">
                <a:pos x="83" y="36"/>
              </a:cxn>
              <a:cxn ang="0">
                <a:pos x="219" y="1"/>
              </a:cxn>
              <a:cxn ang="0">
                <a:pos x="420" y="133"/>
              </a:cxn>
              <a:cxn ang="0">
                <a:pos x="156" y="262"/>
              </a:cxn>
              <a:cxn ang="0">
                <a:pos x="64" y="302"/>
              </a:cxn>
              <a:cxn ang="0">
                <a:pos x="81" y="231"/>
              </a:cxn>
            </a:cxnLst>
            <a:rect l="0" t="0" r="r" b="b"/>
            <a:pathLst>
              <a:path w="420" h="303">
                <a:moveTo>
                  <a:pt x="63" y="199"/>
                </a:moveTo>
                <a:cubicBezTo>
                  <a:pt x="0" y="159"/>
                  <a:pt x="2" y="83"/>
                  <a:pt x="83" y="36"/>
                </a:cubicBezTo>
                <a:cubicBezTo>
                  <a:pt x="83" y="36"/>
                  <a:pt x="140" y="0"/>
                  <a:pt x="219" y="1"/>
                </a:cubicBezTo>
                <a:cubicBezTo>
                  <a:pt x="360" y="4"/>
                  <a:pt x="420" y="60"/>
                  <a:pt x="420" y="133"/>
                </a:cubicBezTo>
                <a:cubicBezTo>
                  <a:pt x="420" y="198"/>
                  <a:pt x="344" y="303"/>
                  <a:pt x="156" y="262"/>
                </a:cubicBezTo>
                <a:cubicBezTo>
                  <a:pt x="87" y="291"/>
                  <a:pt x="64" y="302"/>
                  <a:pt x="64" y="302"/>
                </a:cubicBezTo>
                <a:cubicBezTo>
                  <a:pt x="64" y="302"/>
                  <a:pt x="98" y="268"/>
                  <a:pt x="81" y="231"/>
                </a:cubicBezTo>
              </a:path>
            </a:pathLst>
          </a:custGeom>
          <a:noFill/>
          <a:ln w="30163"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7" name="Freeform 234"/>
          <p:cNvSpPr>
            <a:spLocks/>
          </p:cNvSpPr>
          <p:nvPr userDrawn="1"/>
        </p:nvSpPr>
        <p:spPr bwMode="auto">
          <a:xfrm>
            <a:off x="850194" y="3826821"/>
            <a:ext cx="393009" cy="330994"/>
          </a:xfrm>
          <a:custGeom>
            <a:avLst/>
            <a:gdLst/>
            <a:ahLst/>
            <a:cxnLst>
              <a:cxn ang="0">
                <a:pos x="110" y="376"/>
              </a:cxn>
              <a:cxn ang="0">
                <a:pos x="110" y="149"/>
              </a:cxn>
              <a:cxn ang="0">
                <a:pos x="110" y="148"/>
              </a:cxn>
              <a:cxn ang="0">
                <a:pos x="99" y="133"/>
              </a:cxn>
              <a:cxn ang="0">
                <a:pos x="64" y="119"/>
              </a:cxn>
              <a:cxn ang="0">
                <a:pos x="63" y="119"/>
              </a:cxn>
              <a:cxn ang="0">
                <a:pos x="28" y="138"/>
              </a:cxn>
              <a:cxn ang="0">
                <a:pos x="79" y="350"/>
              </a:cxn>
              <a:cxn ang="0">
                <a:pos x="83" y="370"/>
              </a:cxn>
              <a:cxn ang="0">
                <a:pos x="6" y="336"/>
              </a:cxn>
              <a:cxn ang="0">
                <a:pos x="0" y="135"/>
              </a:cxn>
              <a:cxn ang="0">
                <a:pos x="13" y="110"/>
              </a:cxn>
              <a:cxn ang="0">
                <a:pos x="63" y="91"/>
              </a:cxn>
              <a:cxn ang="0">
                <a:pos x="108" y="104"/>
              </a:cxn>
              <a:cxn ang="0">
                <a:pos x="133" y="130"/>
              </a:cxn>
              <a:cxn ang="0">
                <a:pos x="138" y="358"/>
              </a:cxn>
              <a:cxn ang="0">
                <a:pos x="435" y="125"/>
              </a:cxn>
              <a:cxn ang="0">
                <a:pos x="361" y="115"/>
              </a:cxn>
              <a:cxn ang="0">
                <a:pos x="341" y="116"/>
              </a:cxn>
              <a:cxn ang="0">
                <a:pos x="240" y="169"/>
              </a:cxn>
              <a:cxn ang="0">
                <a:pos x="249" y="205"/>
              </a:cxn>
              <a:cxn ang="0">
                <a:pos x="244" y="225"/>
              </a:cxn>
              <a:cxn ang="0">
                <a:pos x="205" y="243"/>
              </a:cxn>
              <a:cxn ang="0">
                <a:pos x="178" y="237"/>
              </a:cxn>
              <a:cxn ang="0">
                <a:pos x="160" y="205"/>
              </a:cxn>
              <a:cxn ang="0">
                <a:pos x="165" y="181"/>
              </a:cxn>
              <a:cxn ang="0">
                <a:pos x="172" y="15"/>
              </a:cxn>
              <a:cxn ang="0">
                <a:pos x="186" y="0"/>
              </a:cxn>
              <a:cxn ang="0">
                <a:pos x="268" y="5"/>
              </a:cxn>
              <a:cxn ang="0">
                <a:pos x="272" y="15"/>
              </a:cxn>
              <a:cxn ang="0">
                <a:pos x="268" y="70"/>
              </a:cxn>
              <a:cxn ang="0">
                <a:pos x="228" y="74"/>
              </a:cxn>
              <a:cxn ang="0">
                <a:pos x="228" y="46"/>
              </a:cxn>
              <a:cxn ang="0">
                <a:pos x="244" y="29"/>
              </a:cxn>
              <a:cxn ang="0">
                <a:pos x="197" y="182"/>
              </a:cxn>
              <a:cxn ang="0">
                <a:pos x="191" y="192"/>
              </a:cxn>
              <a:cxn ang="0">
                <a:pos x="190" y="210"/>
              </a:cxn>
              <a:cxn ang="0">
                <a:pos x="194" y="213"/>
              </a:cxn>
              <a:cxn ang="0">
                <a:pos x="218" y="212"/>
              </a:cxn>
              <a:cxn ang="0">
                <a:pos x="220" y="209"/>
              </a:cxn>
              <a:cxn ang="0">
                <a:pos x="217" y="189"/>
              </a:cxn>
              <a:cxn ang="0">
                <a:pos x="213" y="180"/>
              </a:cxn>
              <a:cxn ang="0">
                <a:pos x="212" y="173"/>
              </a:cxn>
              <a:cxn ang="0">
                <a:pos x="222" y="105"/>
              </a:cxn>
              <a:cxn ang="0">
                <a:pos x="361" y="87"/>
              </a:cxn>
              <a:cxn ang="0">
                <a:pos x="456" y="104"/>
              </a:cxn>
              <a:cxn ang="0">
                <a:pos x="463" y="295"/>
              </a:cxn>
              <a:cxn ang="0">
                <a:pos x="128" y="390"/>
              </a:cxn>
              <a:cxn ang="0">
                <a:pos x="115" y="388"/>
              </a:cxn>
            </a:cxnLst>
            <a:rect l="0" t="0" r="r" b="b"/>
            <a:pathLst>
              <a:path w="464" h="391">
                <a:moveTo>
                  <a:pt x="115" y="388"/>
                </a:moveTo>
                <a:cubicBezTo>
                  <a:pt x="112" y="385"/>
                  <a:pt x="110" y="381"/>
                  <a:pt x="110" y="376"/>
                </a:cubicBezTo>
                <a:cubicBezTo>
                  <a:pt x="110" y="376"/>
                  <a:pt x="110" y="376"/>
                  <a:pt x="110" y="376"/>
                </a:cubicBezTo>
                <a:cubicBezTo>
                  <a:pt x="110" y="376"/>
                  <a:pt x="110" y="163"/>
                  <a:pt x="110" y="149"/>
                </a:cubicBezTo>
                <a:cubicBezTo>
                  <a:pt x="110" y="149"/>
                  <a:pt x="110" y="149"/>
                  <a:pt x="110" y="149"/>
                </a:cubicBezTo>
                <a:cubicBezTo>
                  <a:pt x="110" y="149"/>
                  <a:pt x="110" y="149"/>
                  <a:pt x="110" y="149"/>
                </a:cubicBezTo>
                <a:cubicBezTo>
                  <a:pt x="110" y="149"/>
                  <a:pt x="110" y="149"/>
                  <a:pt x="110" y="149"/>
                </a:cubicBezTo>
                <a:cubicBezTo>
                  <a:pt x="110" y="149"/>
                  <a:pt x="110" y="149"/>
                  <a:pt x="110" y="148"/>
                </a:cubicBezTo>
                <a:cubicBezTo>
                  <a:pt x="110" y="148"/>
                  <a:pt x="110" y="148"/>
                  <a:pt x="110" y="148"/>
                </a:cubicBezTo>
                <a:cubicBezTo>
                  <a:pt x="109" y="147"/>
                  <a:pt x="109" y="146"/>
                  <a:pt x="108" y="144"/>
                </a:cubicBezTo>
                <a:cubicBezTo>
                  <a:pt x="108" y="144"/>
                  <a:pt x="108" y="144"/>
                  <a:pt x="108" y="144"/>
                </a:cubicBezTo>
                <a:cubicBezTo>
                  <a:pt x="106" y="141"/>
                  <a:pt x="103" y="137"/>
                  <a:pt x="99" y="133"/>
                </a:cubicBezTo>
                <a:cubicBezTo>
                  <a:pt x="99" y="133"/>
                  <a:pt x="99" y="133"/>
                  <a:pt x="99" y="133"/>
                </a:cubicBezTo>
                <a:cubicBezTo>
                  <a:pt x="91" y="126"/>
                  <a:pt x="79" y="119"/>
                  <a:pt x="64" y="119"/>
                </a:cubicBezTo>
                <a:cubicBezTo>
                  <a:pt x="64" y="119"/>
                  <a:pt x="64" y="119"/>
                  <a:pt x="64" y="119"/>
                </a:cubicBezTo>
                <a:cubicBezTo>
                  <a:pt x="64" y="119"/>
                  <a:pt x="64" y="119"/>
                  <a:pt x="64" y="119"/>
                </a:cubicBezTo>
                <a:cubicBezTo>
                  <a:pt x="64" y="119"/>
                  <a:pt x="64" y="119"/>
                  <a:pt x="63" y="119"/>
                </a:cubicBezTo>
                <a:cubicBezTo>
                  <a:pt x="63" y="119"/>
                  <a:pt x="63" y="119"/>
                  <a:pt x="63" y="119"/>
                </a:cubicBezTo>
                <a:cubicBezTo>
                  <a:pt x="48" y="119"/>
                  <a:pt x="40" y="124"/>
                  <a:pt x="35" y="129"/>
                </a:cubicBezTo>
                <a:cubicBezTo>
                  <a:pt x="35" y="129"/>
                  <a:pt x="35" y="129"/>
                  <a:pt x="35" y="129"/>
                </a:cubicBezTo>
                <a:cubicBezTo>
                  <a:pt x="31" y="132"/>
                  <a:pt x="29" y="136"/>
                  <a:pt x="28" y="138"/>
                </a:cubicBezTo>
                <a:cubicBezTo>
                  <a:pt x="28" y="138"/>
                  <a:pt x="28" y="138"/>
                  <a:pt x="28" y="138"/>
                </a:cubicBezTo>
                <a:cubicBezTo>
                  <a:pt x="28" y="316"/>
                  <a:pt x="28" y="316"/>
                  <a:pt x="28" y="316"/>
                </a:cubicBezTo>
                <a:cubicBezTo>
                  <a:pt x="79" y="350"/>
                  <a:pt x="79" y="350"/>
                  <a:pt x="79" y="350"/>
                </a:cubicBezTo>
                <a:cubicBezTo>
                  <a:pt x="79" y="350"/>
                  <a:pt x="79" y="350"/>
                  <a:pt x="79" y="350"/>
                </a:cubicBezTo>
                <a:cubicBezTo>
                  <a:pt x="85" y="355"/>
                  <a:pt x="87" y="363"/>
                  <a:pt x="83" y="370"/>
                </a:cubicBezTo>
                <a:cubicBezTo>
                  <a:pt x="83" y="370"/>
                  <a:pt x="83" y="370"/>
                  <a:pt x="83" y="370"/>
                </a:cubicBezTo>
                <a:cubicBezTo>
                  <a:pt x="78" y="377"/>
                  <a:pt x="70" y="378"/>
                  <a:pt x="63" y="374"/>
                </a:cubicBezTo>
                <a:cubicBezTo>
                  <a:pt x="63" y="374"/>
                  <a:pt x="63" y="374"/>
                  <a:pt x="63" y="374"/>
                </a:cubicBezTo>
                <a:cubicBezTo>
                  <a:pt x="6" y="336"/>
                  <a:pt x="6" y="336"/>
                  <a:pt x="6" y="336"/>
                </a:cubicBezTo>
                <a:cubicBezTo>
                  <a:pt x="2" y="333"/>
                  <a:pt x="0" y="329"/>
                  <a:pt x="0" y="324"/>
                </a:cubicBezTo>
                <a:cubicBezTo>
                  <a:pt x="0" y="324"/>
                  <a:pt x="0" y="324"/>
                  <a:pt x="0" y="324"/>
                </a:cubicBezTo>
                <a:cubicBezTo>
                  <a:pt x="0" y="135"/>
                  <a:pt x="0" y="135"/>
                  <a:pt x="0" y="135"/>
                </a:cubicBezTo>
                <a:cubicBezTo>
                  <a:pt x="0" y="133"/>
                  <a:pt x="0" y="132"/>
                  <a:pt x="0" y="131"/>
                </a:cubicBezTo>
                <a:cubicBezTo>
                  <a:pt x="0" y="131"/>
                  <a:pt x="0" y="131"/>
                  <a:pt x="0" y="131"/>
                </a:cubicBezTo>
                <a:cubicBezTo>
                  <a:pt x="1" y="129"/>
                  <a:pt x="4" y="120"/>
                  <a:pt x="13" y="110"/>
                </a:cubicBezTo>
                <a:cubicBezTo>
                  <a:pt x="13" y="110"/>
                  <a:pt x="13" y="110"/>
                  <a:pt x="13" y="110"/>
                </a:cubicBezTo>
                <a:cubicBezTo>
                  <a:pt x="23" y="100"/>
                  <a:pt x="40" y="91"/>
                  <a:pt x="63" y="91"/>
                </a:cubicBezTo>
                <a:cubicBezTo>
                  <a:pt x="63" y="91"/>
                  <a:pt x="63" y="91"/>
                  <a:pt x="63" y="91"/>
                </a:cubicBezTo>
                <a:cubicBezTo>
                  <a:pt x="64" y="91"/>
                  <a:pt x="64" y="91"/>
                  <a:pt x="64" y="91"/>
                </a:cubicBezTo>
                <a:cubicBezTo>
                  <a:pt x="64" y="91"/>
                  <a:pt x="64" y="91"/>
                  <a:pt x="64" y="91"/>
                </a:cubicBezTo>
                <a:cubicBezTo>
                  <a:pt x="82" y="91"/>
                  <a:pt x="97" y="96"/>
                  <a:pt x="108" y="104"/>
                </a:cubicBezTo>
                <a:cubicBezTo>
                  <a:pt x="108" y="104"/>
                  <a:pt x="108" y="104"/>
                  <a:pt x="108" y="104"/>
                </a:cubicBezTo>
                <a:cubicBezTo>
                  <a:pt x="119" y="112"/>
                  <a:pt x="128" y="121"/>
                  <a:pt x="133" y="130"/>
                </a:cubicBezTo>
                <a:cubicBezTo>
                  <a:pt x="133" y="130"/>
                  <a:pt x="133" y="130"/>
                  <a:pt x="133" y="130"/>
                </a:cubicBezTo>
                <a:cubicBezTo>
                  <a:pt x="136" y="136"/>
                  <a:pt x="138" y="142"/>
                  <a:pt x="138" y="149"/>
                </a:cubicBezTo>
                <a:cubicBezTo>
                  <a:pt x="138" y="149"/>
                  <a:pt x="138" y="149"/>
                  <a:pt x="138" y="149"/>
                </a:cubicBezTo>
                <a:cubicBezTo>
                  <a:pt x="138" y="159"/>
                  <a:pt x="138" y="306"/>
                  <a:pt x="138" y="358"/>
                </a:cubicBezTo>
                <a:cubicBezTo>
                  <a:pt x="138" y="358"/>
                  <a:pt x="138" y="358"/>
                  <a:pt x="138" y="358"/>
                </a:cubicBezTo>
                <a:cubicBezTo>
                  <a:pt x="435" y="284"/>
                  <a:pt x="435" y="284"/>
                  <a:pt x="435" y="284"/>
                </a:cubicBezTo>
                <a:cubicBezTo>
                  <a:pt x="435" y="125"/>
                  <a:pt x="435" y="125"/>
                  <a:pt x="435" y="125"/>
                </a:cubicBezTo>
                <a:cubicBezTo>
                  <a:pt x="432" y="124"/>
                  <a:pt x="429" y="123"/>
                  <a:pt x="425" y="122"/>
                </a:cubicBezTo>
                <a:cubicBezTo>
                  <a:pt x="425" y="122"/>
                  <a:pt x="425" y="122"/>
                  <a:pt x="425" y="122"/>
                </a:cubicBezTo>
                <a:cubicBezTo>
                  <a:pt x="412" y="119"/>
                  <a:pt x="391" y="115"/>
                  <a:pt x="361" y="115"/>
                </a:cubicBezTo>
                <a:cubicBezTo>
                  <a:pt x="361" y="115"/>
                  <a:pt x="361" y="115"/>
                  <a:pt x="361" y="115"/>
                </a:cubicBezTo>
                <a:cubicBezTo>
                  <a:pt x="355" y="115"/>
                  <a:pt x="348" y="115"/>
                  <a:pt x="341" y="116"/>
                </a:cubicBezTo>
                <a:cubicBezTo>
                  <a:pt x="341" y="116"/>
                  <a:pt x="341" y="116"/>
                  <a:pt x="341" y="116"/>
                </a:cubicBezTo>
                <a:cubicBezTo>
                  <a:pt x="299" y="118"/>
                  <a:pt x="263" y="125"/>
                  <a:pt x="240" y="130"/>
                </a:cubicBezTo>
                <a:cubicBezTo>
                  <a:pt x="240" y="130"/>
                  <a:pt x="240" y="130"/>
                  <a:pt x="240" y="130"/>
                </a:cubicBezTo>
                <a:cubicBezTo>
                  <a:pt x="240" y="169"/>
                  <a:pt x="240" y="169"/>
                  <a:pt x="240" y="169"/>
                </a:cubicBezTo>
                <a:cubicBezTo>
                  <a:pt x="241" y="172"/>
                  <a:pt x="242" y="175"/>
                  <a:pt x="244" y="178"/>
                </a:cubicBezTo>
                <a:cubicBezTo>
                  <a:pt x="244" y="178"/>
                  <a:pt x="244" y="178"/>
                  <a:pt x="244" y="178"/>
                </a:cubicBezTo>
                <a:cubicBezTo>
                  <a:pt x="246" y="185"/>
                  <a:pt x="249" y="194"/>
                  <a:pt x="249" y="205"/>
                </a:cubicBezTo>
                <a:cubicBezTo>
                  <a:pt x="249" y="205"/>
                  <a:pt x="249" y="205"/>
                  <a:pt x="249" y="205"/>
                </a:cubicBezTo>
                <a:cubicBezTo>
                  <a:pt x="249" y="211"/>
                  <a:pt x="248" y="219"/>
                  <a:pt x="244" y="225"/>
                </a:cubicBezTo>
                <a:cubicBezTo>
                  <a:pt x="244" y="225"/>
                  <a:pt x="244" y="225"/>
                  <a:pt x="244" y="225"/>
                </a:cubicBezTo>
                <a:cubicBezTo>
                  <a:pt x="240" y="232"/>
                  <a:pt x="233" y="238"/>
                  <a:pt x="224" y="241"/>
                </a:cubicBezTo>
                <a:cubicBezTo>
                  <a:pt x="224" y="241"/>
                  <a:pt x="224" y="241"/>
                  <a:pt x="224" y="241"/>
                </a:cubicBezTo>
                <a:cubicBezTo>
                  <a:pt x="218" y="242"/>
                  <a:pt x="212" y="243"/>
                  <a:pt x="205" y="243"/>
                </a:cubicBezTo>
                <a:cubicBezTo>
                  <a:pt x="205" y="243"/>
                  <a:pt x="205" y="243"/>
                  <a:pt x="205" y="243"/>
                </a:cubicBezTo>
                <a:cubicBezTo>
                  <a:pt x="194" y="243"/>
                  <a:pt x="185" y="241"/>
                  <a:pt x="178" y="237"/>
                </a:cubicBezTo>
                <a:cubicBezTo>
                  <a:pt x="178" y="237"/>
                  <a:pt x="178" y="237"/>
                  <a:pt x="178" y="237"/>
                </a:cubicBezTo>
                <a:cubicBezTo>
                  <a:pt x="170" y="233"/>
                  <a:pt x="165" y="226"/>
                  <a:pt x="162" y="219"/>
                </a:cubicBezTo>
                <a:cubicBezTo>
                  <a:pt x="162" y="219"/>
                  <a:pt x="162" y="219"/>
                  <a:pt x="162" y="219"/>
                </a:cubicBezTo>
                <a:cubicBezTo>
                  <a:pt x="161" y="214"/>
                  <a:pt x="160" y="209"/>
                  <a:pt x="160" y="205"/>
                </a:cubicBezTo>
                <a:cubicBezTo>
                  <a:pt x="160" y="205"/>
                  <a:pt x="160" y="205"/>
                  <a:pt x="160" y="205"/>
                </a:cubicBezTo>
                <a:cubicBezTo>
                  <a:pt x="160" y="196"/>
                  <a:pt x="162" y="188"/>
                  <a:pt x="165" y="181"/>
                </a:cubicBezTo>
                <a:cubicBezTo>
                  <a:pt x="165" y="181"/>
                  <a:pt x="165" y="181"/>
                  <a:pt x="165" y="181"/>
                </a:cubicBezTo>
                <a:cubicBezTo>
                  <a:pt x="167" y="176"/>
                  <a:pt x="169" y="172"/>
                  <a:pt x="172" y="168"/>
                </a:cubicBezTo>
                <a:cubicBezTo>
                  <a:pt x="172" y="168"/>
                  <a:pt x="172" y="168"/>
                  <a:pt x="172" y="168"/>
                </a:cubicBezTo>
                <a:cubicBezTo>
                  <a:pt x="172" y="15"/>
                  <a:pt x="172" y="15"/>
                  <a:pt x="172" y="15"/>
                </a:cubicBezTo>
                <a:cubicBezTo>
                  <a:pt x="172" y="11"/>
                  <a:pt x="173" y="7"/>
                  <a:pt x="176" y="5"/>
                </a:cubicBezTo>
                <a:cubicBezTo>
                  <a:pt x="176" y="5"/>
                  <a:pt x="176" y="5"/>
                  <a:pt x="176" y="5"/>
                </a:cubicBezTo>
                <a:cubicBezTo>
                  <a:pt x="178" y="2"/>
                  <a:pt x="182" y="0"/>
                  <a:pt x="186" y="0"/>
                </a:cubicBezTo>
                <a:cubicBezTo>
                  <a:pt x="186" y="0"/>
                  <a:pt x="186" y="0"/>
                  <a:pt x="186" y="0"/>
                </a:cubicBezTo>
                <a:cubicBezTo>
                  <a:pt x="258" y="0"/>
                  <a:pt x="258" y="0"/>
                  <a:pt x="258" y="0"/>
                </a:cubicBezTo>
                <a:cubicBezTo>
                  <a:pt x="262" y="0"/>
                  <a:pt x="266" y="2"/>
                  <a:pt x="268" y="5"/>
                </a:cubicBezTo>
                <a:cubicBezTo>
                  <a:pt x="268" y="5"/>
                  <a:pt x="268" y="5"/>
                  <a:pt x="268" y="5"/>
                </a:cubicBezTo>
                <a:cubicBezTo>
                  <a:pt x="271" y="7"/>
                  <a:pt x="272" y="11"/>
                  <a:pt x="272" y="15"/>
                </a:cubicBezTo>
                <a:cubicBezTo>
                  <a:pt x="272" y="15"/>
                  <a:pt x="272" y="15"/>
                  <a:pt x="272" y="15"/>
                </a:cubicBezTo>
                <a:cubicBezTo>
                  <a:pt x="272" y="60"/>
                  <a:pt x="272" y="60"/>
                  <a:pt x="272" y="60"/>
                </a:cubicBezTo>
                <a:cubicBezTo>
                  <a:pt x="272" y="64"/>
                  <a:pt x="271" y="67"/>
                  <a:pt x="268" y="70"/>
                </a:cubicBezTo>
                <a:cubicBezTo>
                  <a:pt x="268" y="70"/>
                  <a:pt x="268" y="70"/>
                  <a:pt x="268" y="70"/>
                </a:cubicBezTo>
                <a:cubicBezTo>
                  <a:pt x="266" y="73"/>
                  <a:pt x="262" y="74"/>
                  <a:pt x="258" y="74"/>
                </a:cubicBezTo>
                <a:cubicBezTo>
                  <a:pt x="258" y="74"/>
                  <a:pt x="258" y="74"/>
                  <a:pt x="258" y="74"/>
                </a:cubicBezTo>
                <a:cubicBezTo>
                  <a:pt x="228" y="74"/>
                  <a:pt x="228" y="74"/>
                  <a:pt x="228" y="74"/>
                </a:cubicBezTo>
                <a:cubicBezTo>
                  <a:pt x="220" y="74"/>
                  <a:pt x="213" y="68"/>
                  <a:pt x="213" y="60"/>
                </a:cubicBezTo>
                <a:cubicBezTo>
                  <a:pt x="213" y="60"/>
                  <a:pt x="213" y="60"/>
                  <a:pt x="213" y="60"/>
                </a:cubicBezTo>
                <a:cubicBezTo>
                  <a:pt x="213" y="52"/>
                  <a:pt x="220" y="46"/>
                  <a:pt x="228" y="46"/>
                </a:cubicBezTo>
                <a:cubicBezTo>
                  <a:pt x="228" y="46"/>
                  <a:pt x="228" y="46"/>
                  <a:pt x="228" y="46"/>
                </a:cubicBezTo>
                <a:cubicBezTo>
                  <a:pt x="244" y="46"/>
                  <a:pt x="244" y="46"/>
                  <a:pt x="244" y="46"/>
                </a:cubicBezTo>
                <a:cubicBezTo>
                  <a:pt x="244" y="29"/>
                  <a:pt x="244" y="29"/>
                  <a:pt x="244" y="29"/>
                </a:cubicBezTo>
                <a:cubicBezTo>
                  <a:pt x="200" y="29"/>
                  <a:pt x="200" y="29"/>
                  <a:pt x="200" y="29"/>
                </a:cubicBezTo>
                <a:cubicBezTo>
                  <a:pt x="200" y="173"/>
                  <a:pt x="200" y="173"/>
                  <a:pt x="200" y="173"/>
                </a:cubicBezTo>
                <a:cubicBezTo>
                  <a:pt x="200" y="176"/>
                  <a:pt x="199" y="180"/>
                  <a:pt x="197" y="182"/>
                </a:cubicBezTo>
                <a:cubicBezTo>
                  <a:pt x="197" y="182"/>
                  <a:pt x="197" y="182"/>
                  <a:pt x="197" y="182"/>
                </a:cubicBezTo>
                <a:cubicBezTo>
                  <a:pt x="196" y="183"/>
                  <a:pt x="193" y="187"/>
                  <a:pt x="191" y="192"/>
                </a:cubicBezTo>
                <a:cubicBezTo>
                  <a:pt x="191" y="192"/>
                  <a:pt x="191" y="192"/>
                  <a:pt x="191" y="192"/>
                </a:cubicBezTo>
                <a:cubicBezTo>
                  <a:pt x="190" y="196"/>
                  <a:pt x="188" y="201"/>
                  <a:pt x="188" y="205"/>
                </a:cubicBezTo>
                <a:cubicBezTo>
                  <a:pt x="188" y="205"/>
                  <a:pt x="188" y="205"/>
                  <a:pt x="188" y="205"/>
                </a:cubicBezTo>
                <a:cubicBezTo>
                  <a:pt x="188" y="208"/>
                  <a:pt x="189" y="209"/>
                  <a:pt x="190" y="210"/>
                </a:cubicBezTo>
                <a:cubicBezTo>
                  <a:pt x="190" y="210"/>
                  <a:pt x="190" y="210"/>
                  <a:pt x="190" y="210"/>
                </a:cubicBezTo>
                <a:cubicBezTo>
                  <a:pt x="190" y="211"/>
                  <a:pt x="191" y="212"/>
                  <a:pt x="194" y="213"/>
                </a:cubicBezTo>
                <a:cubicBezTo>
                  <a:pt x="194" y="213"/>
                  <a:pt x="194" y="213"/>
                  <a:pt x="194" y="213"/>
                </a:cubicBezTo>
                <a:cubicBezTo>
                  <a:pt x="197" y="214"/>
                  <a:pt x="200" y="215"/>
                  <a:pt x="205" y="215"/>
                </a:cubicBezTo>
                <a:cubicBezTo>
                  <a:pt x="205" y="215"/>
                  <a:pt x="205" y="215"/>
                  <a:pt x="205" y="215"/>
                </a:cubicBezTo>
                <a:cubicBezTo>
                  <a:pt x="212" y="215"/>
                  <a:pt x="216" y="213"/>
                  <a:pt x="218" y="212"/>
                </a:cubicBezTo>
                <a:cubicBezTo>
                  <a:pt x="218" y="212"/>
                  <a:pt x="218" y="212"/>
                  <a:pt x="218" y="212"/>
                </a:cubicBezTo>
                <a:cubicBezTo>
                  <a:pt x="219" y="211"/>
                  <a:pt x="220" y="211"/>
                  <a:pt x="220" y="209"/>
                </a:cubicBezTo>
                <a:cubicBezTo>
                  <a:pt x="220" y="209"/>
                  <a:pt x="220" y="209"/>
                  <a:pt x="220" y="209"/>
                </a:cubicBezTo>
                <a:cubicBezTo>
                  <a:pt x="221" y="208"/>
                  <a:pt x="221" y="207"/>
                  <a:pt x="221" y="205"/>
                </a:cubicBezTo>
                <a:cubicBezTo>
                  <a:pt x="221" y="205"/>
                  <a:pt x="221" y="205"/>
                  <a:pt x="221" y="205"/>
                </a:cubicBezTo>
                <a:cubicBezTo>
                  <a:pt x="221" y="200"/>
                  <a:pt x="219" y="194"/>
                  <a:pt x="217" y="189"/>
                </a:cubicBezTo>
                <a:cubicBezTo>
                  <a:pt x="217" y="189"/>
                  <a:pt x="217" y="189"/>
                  <a:pt x="217" y="189"/>
                </a:cubicBezTo>
                <a:cubicBezTo>
                  <a:pt x="215" y="184"/>
                  <a:pt x="213" y="180"/>
                  <a:pt x="213" y="180"/>
                </a:cubicBezTo>
                <a:cubicBezTo>
                  <a:pt x="213" y="180"/>
                  <a:pt x="213" y="180"/>
                  <a:pt x="213" y="180"/>
                </a:cubicBezTo>
                <a:cubicBezTo>
                  <a:pt x="213" y="180"/>
                  <a:pt x="213" y="180"/>
                  <a:pt x="213" y="180"/>
                </a:cubicBezTo>
                <a:cubicBezTo>
                  <a:pt x="212" y="178"/>
                  <a:pt x="212" y="175"/>
                  <a:pt x="212" y="173"/>
                </a:cubicBezTo>
                <a:cubicBezTo>
                  <a:pt x="212" y="173"/>
                  <a:pt x="212" y="173"/>
                  <a:pt x="212" y="173"/>
                </a:cubicBezTo>
                <a:cubicBezTo>
                  <a:pt x="212" y="119"/>
                  <a:pt x="212" y="119"/>
                  <a:pt x="212" y="119"/>
                </a:cubicBezTo>
                <a:cubicBezTo>
                  <a:pt x="212" y="112"/>
                  <a:pt x="216" y="106"/>
                  <a:pt x="222" y="105"/>
                </a:cubicBezTo>
                <a:cubicBezTo>
                  <a:pt x="222" y="105"/>
                  <a:pt x="222" y="105"/>
                  <a:pt x="222" y="105"/>
                </a:cubicBezTo>
                <a:cubicBezTo>
                  <a:pt x="246" y="99"/>
                  <a:pt x="287" y="90"/>
                  <a:pt x="339" y="87"/>
                </a:cubicBezTo>
                <a:cubicBezTo>
                  <a:pt x="339" y="87"/>
                  <a:pt x="339" y="87"/>
                  <a:pt x="339" y="87"/>
                </a:cubicBezTo>
                <a:cubicBezTo>
                  <a:pt x="347" y="87"/>
                  <a:pt x="354" y="87"/>
                  <a:pt x="361" y="87"/>
                </a:cubicBezTo>
                <a:cubicBezTo>
                  <a:pt x="361" y="87"/>
                  <a:pt x="361" y="87"/>
                  <a:pt x="361" y="87"/>
                </a:cubicBezTo>
                <a:cubicBezTo>
                  <a:pt x="426" y="87"/>
                  <a:pt x="454" y="102"/>
                  <a:pt x="456" y="104"/>
                </a:cubicBezTo>
                <a:cubicBezTo>
                  <a:pt x="456" y="104"/>
                  <a:pt x="456" y="104"/>
                  <a:pt x="456" y="104"/>
                </a:cubicBezTo>
                <a:cubicBezTo>
                  <a:pt x="461" y="106"/>
                  <a:pt x="464" y="111"/>
                  <a:pt x="464" y="116"/>
                </a:cubicBezTo>
                <a:cubicBezTo>
                  <a:pt x="464" y="116"/>
                  <a:pt x="464" y="116"/>
                  <a:pt x="464" y="116"/>
                </a:cubicBezTo>
                <a:cubicBezTo>
                  <a:pt x="463" y="295"/>
                  <a:pt x="463" y="295"/>
                  <a:pt x="463" y="295"/>
                </a:cubicBezTo>
                <a:cubicBezTo>
                  <a:pt x="463" y="301"/>
                  <a:pt x="459" y="307"/>
                  <a:pt x="452" y="308"/>
                </a:cubicBezTo>
                <a:cubicBezTo>
                  <a:pt x="452" y="308"/>
                  <a:pt x="452" y="308"/>
                  <a:pt x="452" y="308"/>
                </a:cubicBezTo>
                <a:cubicBezTo>
                  <a:pt x="128" y="390"/>
                  <a:pt x="128" y="390"/>
                  <a:pt x="128" y="390"/>
                </a:cubicBezTo>
                <a:cubicBezTo>
                  <a:pt x="126" y="391"/>
                  <a:pt x="125" y="391"/>
                  <a:pt x="124" y="391"/>
                </a:cubicBezTo>
                <a:cubicBezTo>
                  <a:pt x="124" y="391"/>
                  <a:pt x="124" y="391"/>
                  <a:pt x="124" y="391"/>
                </a:cubicBezTo>
                <a:cubicBezTo>
                  <a:pt x="121" y="391"/>
                  <a:pt x="118" y="390"/>
                  <a:pt x="115" y="38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8" name="Freeform 300"/>
          <p:cNvSpPr>
            <a:spLocks/>
          </p:cNvSpPr>
          <p:nvPr userDrawn="1"/>
        </p:nvSpPr>
        <p:spPr bwMode="auto">
          <a:xfrm>
            <a:off x="884134" y="2789974"/>
            <a:ext cx="325126" cy="325041"/>
          </a:xfrm>
          <a:custGeom>
            <a:avLst/>
            <a:gdLst/>
            <a:ahLst/>
            <a:cxnLst>
              <a:cxn ang="0">
                <a:pos x="271" y="2"/>
              </a:cxn>
              <a:cxn ang="0">
                <a:pos x="250" y="13"/>
              </a:cxn>
              <a:cxn ang="0">
                <a:pos x="106" y="157"/>
              </a:cxn>
              <a:cxn ang="0">
                <a:pos x="102" y="167"/>
              </a:cxn>
              <a:cxn ang="0">
                <a:pos x="106" y="176"/>
              </a:cxn>
              <a:cxn ang="0">
                <a:pos x="125" y="176"/>
              </a:cxn>
              <a:cxn ang="0">
                <a:pos x="269" y="31"/>
              </a:cxn>
              <a:cxn ang="0">
                <a:pos x="271" y="29"/>
              </a:cxn>
              <a:cxn ang="0">
                <a:pos x="271" y="30"/>
              </a:cxn>
              <a:cxn ang="0">
                <a:pos x="275" y="28"/>
              </a:cxn>
              <a:cxn ang="0">
                <a:pos x="329" y="63"/>
              </a:cxn>
              <a:cxn ang="0">
                <a:pos x="357" y="110"/>
              </a:cxn>
              <a:cxn ang="0">
                <a:pos x="356" y="116"/>
              </a:cxn>
              <a:cxn ang="0">
                <a:pos x="356" y="115"/>
              </a:cxn>
              <a:cxn ang="0">
                <a:pos x="355" y="116"/>
              </a:cxn>
              <a:cxn ang="0">
                <a:pos x="147" y="323"/>
              </a:cxn>
              <a:cxn ang="0">
                <a:pos x="33" y="353"/>
              </a:cxn>
              <a:cxn ang="0">
                <a:pos x="63" y="238"/>
              </a:cxn>
              <a:cxn ang="0">
                <a:pos x="91" y="218"/>
              </a:cxn>
              <a:cxn ang="0">
                <a:pos x="69" y="249"/>
              </a:cxn>
              <a:cxn ang="0">
                <a:pos x="65" y="259"/>
              </a:cxn>
              <a:cxn ang="0">
                <a:pos x="69" y="268"/>
              </a:cxn>
              <a:cxn ang="0">
                <a:pos x="88" y="268"/>
              </a:cxn>
              <a:cxn ang="0">
                <a:pos x="135" y="249"/>
              </a:cxn>
              <a:cxn ang="0">
                <a:pos x="136" y="252"/>
              </a:cxn>
              <a:cxn ang="0">
                <a:pos x="115" y="296"/>
              </a:cxn>
              <a:cxn ang="0">
                <a:pos x="111" y="305"/>
              </a:cxn>
              <a:cxn ang="0">
                <a:pos x="112" y="310"/>
              </a:cxn>
              <a:cxn ang="0">
                <a:pos x="113" y="311"/>
              </a:cxn>
              <a:cxn ang="0">
                <a:pos x="114" y="313"/>
              </a:cxn>
              <a:cxn ang="0">
                <a:pos x="114" y="313"/>
              </a:cxn>
              <a:cxn ang="0">
                <a:pos x="115" y="315"/>
              </a:cxn>
              <a:cxn ang="0">
                <a:pos x="115" y="315"/>
              </a:cxn>
              <a:cxn ang="0">
                <a:pos x="115" y="315"/>
              </a:cxn>
              <a:cxn ang="0">
                <a:pos x="117" y="316"/>
              </a:cxn>
              <a:cxn ang="0">
                <a:pos x="117" y="316"/>
              </a:cxn>
              <a:cxn ang="0">
                <a:pos x="134" y="315"/>
              </a:cxn>
              <a:cxn ang="0">
                <a:pos x="135" y="313"/>
              </a:cxn>
              <a:cxn ang="0">
                <a:pos x="136" y="313"/>
              </a:cxn>
              <a:cxn ang="0">
                <a:pos x="162" y="252"/>
              </a:cxn>
              <a:cxn ang="0">
                <a:pos x="154" y="230"/>
              </a:cxn>
              <a:cxn ang="0">
                <a:pos x="118" y="224"/>
              </a:cxn>
              <a:cxn ang="0">
                <a:pos x="122" y="206"/>
              </a:cxn>
              <a:cxn ang="0">
                <a:pos x="117" y="192"/>
              </a:cxn>
              <a:cxn ang="0">
                <a:pos x="103" y="187"/>
              </a:cxn>
              <a:cxn ang="0">
                <a:pos x="41" y="222"/>
              </a:cxn>
              <a:cxn ang="0">
                <a:pos x="38" y="227"/>
              </a:cxn>
              <a:cxn ang="0">
                <a:pos x="38" y="228"/>
              </a:cxn>
              <a:cxn ang="0">
                <a:pos x="38" y="228"/>
              </a:cxn>
              <a:cxn ang="0">
                <a:pos x="1" y="368"/>
              </a:cxn>
              <a:cxn ang="0">
                <a:pos x="5" y="381"/>
              </a:cxn>
              <a:cxn ang="0">
                <a:pos x="17" y="384"/>
              </a:cxn>
              <a:cxn ang="0">
                <a:pos x="157" y="348"/>
              </a:cxn>
              <a:cxn ang="0">
                <a:pos x="163" y="344"/>
              </a:cxn>
              <a:cxn ang="0">
                <a:pos x="373" y="136"/>
              </a:cxn>
              <a:cxn ang="0">
                <a:pos x="384" y="114"/>
              </a:cxn>
              <a:cxn ang="0">
                <a:pos x="384" y="110"/>
              </a:cxn>
              <a:cxn ang="0">
                <a:pos x="348" y="44"/>
              </a:cxn>
              <a:cxn ang="0">
                <a:pos x="348" y="44"/>
              </a:cxn>
              <a:cxn ang="0">
                <a:pos x="271" y="2"/>
              </a:cxn>
            </a:cxnLst>
            <a:rect l="0" t="0" r="r" b="b"/>
            <a:pathLst>
              <a:path w="384" h="386">
                <a:moveTo>
                  <a:pt x="271" y="2"/>
                </a:moveTo>
                <a:cubicBezTo>
                  <a:pt x="259" y="3"/>
                  <a:pt x="253" y="10"/>
                  <a:pt x="250" y="13"/>
                </a:cubicBezTo>
                <a:cubicBezTo>
                  <a:pt x="249" y="14"/>
                  <a:pt x="106" y="157"/>
                  <a:pt x="106" y="157"/>
                </a:cubicBezTo>
                <a:cubicBezTo>
                  <a:pt x="103" y="160"/>
                  <a:pt x="102" y="163"/>
                  <a:pt x="102" y="167"/>
                </a:cubicBezTo>
                <a:cubicBezTo>
                  <a:pt x="102" y="170"/>
                  <a:pt x="103" y="173"/>
                  <a:pt x="106" y="176"/>
                </a:cubicBezTo>
                <a:cubicBezTo>
                  <a:pt x="111" y="181"/>
                  <a:pt x="120" y="181"/>
                  <a:pt x="125" y="176"/>
                </a:cubicBezTo>
                <a:cubicBezTo>
                  <a:pt x="269" y="31"/>
                  <a:pt x="269" y="31"/>
                  <a:pt x="269" y="31"/>
                </a:cubicBezTo>
                <a:cubicBezTo>
                  <a:pt x="270" y="31"/>
                  <a:pt x="271" y="30"/>
                  <a:pt x="271" y="29"/>
                </a:cubicBezTo>
                <a:cubicBezTo>
                  <a:pt x="271" y="30"/>
                  <a:pt x="271" y="30"/>
                  <a:pt x="271" y="30"/>
                </a:cubicBezTo>
                <a:cubicBezTo>
                  <a:pt x="271" y="30"/>
                  <a:pt x="272" y="28"/>
                  <a:pt x="275" y="28"/>
                </a:cubicBezTo>
                <a:cubicBezTo>
                  <a:pt x="281" y="28"/>
                  <a:pt x="298" y="32"/>
                  <a:pt x="329" y="63"/>
                </a:cubicBezTo>
                <a:cubicBezTo>
                  <a:pt x="352" y="87"/>
                  <a:pt x="357" y="102"/>
                  <a:pt x="357" y="110"/>
                </a:cubicBezTo>
                <a:cubicBezTo>
                  <a:pt x="357" y="113"/>
                  <a:pt x="357" y="115"/>
                  <a:pt x="356" y="116"/>
                </a:cubicBezTo>
                <a:cubicBezTo>
                  <a:pt x="356" y="115"/>
                  <a:pt x="356" y="115"/>
                  <a:pt x="356" y="115"/>
                </a:cubicBezTo>
                <a:cubicBezTo>
                  <a:pt x="356" y="115"/>
                  <a:pt x="355" y="116"/>
                  <a:pt x="355" y="116"/>
                </a:cubicBezTo>
                <a:cubicBezTo>
                  <a:pt x="355" y="116"/>
                  <a:pt x="152" y="318"/>
                  <a:pt x="147" y="323"/>
                </a:cubicBezTo>
                <a:cubicBezTo>
                  <a:pt x="142" y="324"/>
                  <a:pt x="63" y="345"/>
                  <a:pt x="33" y="353"/>
                </a:cubicBezTo>
                <a:cubicBezTo>
                  <a:pt x="41" y="322"/>
                  <a:pt x="61" y="243"/>
                  <a:pt x="63" y="238"/>
                </a:cubicBezTo>
                <a:cubicBezTo>
                  <a:pt x="71" y="231"/>
                  <a:pt x="82" y="223"/>
                  <a:pt x="91" y="218"/>
                </a:cubicBezTo>
                <a:cubicBezTo>
                  <a:pt x="86" y="228"/>
                  <a:pt x="77" y="241"/>
                  <a:pt x="69" y="249"/>
                </a:cubicBezTo>
                <a:cubicBezTo>
                  <a:pt x="66" y="252"/>
                  <a:pt x="65" y="255"/>
                  <a:pt x="65" y="259"/>
                </a:cubicBezTo>
                <a:cubicBezTo>
                  <a:pt x="65" y="262"/>
                  <a:pt x="66" y="266"/>
                  <a:pt x="69" y="268"/>
                </a:cubicBezTo>
                <a:cubicBezTo>
                  <a:pt x="74" y="274"/>
                  <a:pt x="83" y="274"/>
                  <a:pt x="88" y="268"/>
                </a:cubicBezTo>
                <a:cubicBezTo>
                  <a:pt x="101" y="255"/>
                  <a:pt x="130" y="246"/>
                  <a:pt x="135" y="249"/>
                </a:cubicBezTo>
                <a:cubicBezTo>
                  <a:pt x="136" y="250"/>
                  <a:pt x="136" y="251"/>
                  <a:pt x="136" y="252"/>
                </a:cubicBezTo>
                <a:cubicBezTo>
                  <a:pt x="136" y="261"/>
                  <a:pt x="127" y="284"/>
                  <a:pt x="115" y="296"/>
                </a:cubicBezTo>
                <a:cubicBezTo>
                  <a:pt x="113" y="298"/>
                  <a:pt x="111" y="302"/>
                  <a:pt x="111" y="305"/>
                </a:cubicBezTo>
                <a:cubicBezTo>
                  <a:pt x="111" y="307"/>
                  <a:pt x="112" y="309"/>
                  <a:pt x="112" y="310"/>
                </a:cubicBezTo>
                <a:cubicBezTo>
                  <a:pt x="112" y="310"/>
                  <a:pt x="113" y="310"/>
                  <a:pt x="113" y="311"/>
                </a:cubicBezTo>
                <a:cubicBezTo>
                  <a:pt x="113" y="311"/>
                  <a:pt x="113" y="312"/>
                  <a:pt x="114" y="313"/>
                </a:cubicBezTo>
                <a:cubicBezTo>
                  <a:pt x="114" y="313"/>
                  <a:pt x="114" y="313"/>
                  <a:pt x="114" y="313"/>
                </a:cubicBezTo>
                <a:cubicBezTo>
                  <a:pt x="115" y="314"/>
                  <a:pt x="115" y="314"/>
                  <a:pt x="115" y="315"/>
                </a:cubicBezTo>
                <a:cubicBezTo>
                  <a:pt x="115" y="315"/>
                  <a:pt x="115" y="315"/>
                  <a:pt x="115" y="315"/>
                </a:cubicBezTo>
                <a:cubicBezTo>
                  <a:pt x="115" y="315"/>
                  <a:pt x="115" y="315"/>
                  <a:pt x="115" y="315"/>
                </a:cubicBezTo>
                <a:cubicBezTo>
                  <a:pt x="116" y="315"/>
                  <a:pt x="116" y="316"/>
                  <a:pt x="117" y="316"/>
                </a:cubicBezTo>
                <a:cubicBezTo>
                  <a:pt x="117" y="316"/>
                  <a:pt x="117" y="316"/>
                  <a:pt x="117" y="316"/>
                </a:cubicBezTo>
                <a:cubicBezTo>
                  <a:pt x="123" y="320"/>
                  <a:pt x="130" y="319"/>
                  <a:pt x="134" y="315"/>
                </a:cubicBezTo>
                <a:cubicBezTo>
                  <a:pt x="135" y="313"/>
                  <a:pt x="135" y="313"/>
                  <a:pt x="135" y="313"/>
                </a:cubicBezTo>
                <a:cubicBezTo>
                  <a:pt x="136" y="313"/>
                  <a:pt x="136" y="313"/>
                  <a:pt x="136" y="313"/>
                </a:cubicBezTo>
                <a:cubicBezTo>
                  <a:pt x="147" y="300"/>
                  <a:pt x="162" y="274"/>
                  <a:pt x="162" y="252"/>
                </a:cubicBezTo>
                <a:cubicBezTo>
                  <a:pt x="162" y="243"/>
                  <a:pt x="160" y="236"/>
                  <a:pt x="154" y="230"/>
                </a:cubicBezTo>
                <a:cubicBezTo>
                  <a:pt x="145" y="221"/>
                  <a:pt x="132" y="220"/>
                  <a:pt x="118" y="224"/>
                </a:cubicBezTo>
                <a:cubicBezTo>
                  <a:pt x="121" y="218"/>
                  <a:pt x="122" y="212"/>
                  <a:pt x="122" y="206"/>
                </a:cubicBezTo>
                <a:cubicBezTo>
                  <a:pt x="122" y="201"/>
                  <a:pt x="121" y="196"/>
                  <a:pt x="117" y="192"/>
                </a:cubicBezTo>
                <a:cubicBezTo>
                  <a:pt x="114" y="190"/>
                  <a:pt x="110" y="187"/>
                  <a:pt x="103" y="187"/>
                </a:cubicBezTo>
                <a:cubicBezTo>
                  <a:pt x="84" y="187"/>
                  <a:pt x="53" y="210"/>
                  <a:pt x="41" y="222"/>
                </a:cubicBezTo>
                <a:cubicBezTo>
                  <a:pt x="40" y="223"/>
                  <a:pt x="39" y="225"/>
                  <a:pt x="38" y="227"/>
                </a:cubicBezTo>
                <a:cubicBezTo>
                  <a:pt x="38" y="228"/>
                  <a:pt x="38" y="228"/>
                  <a:pt x="38" y="228"/>
                </a:cubicBezTo>
                <a:cubicBezTo>
                  <a:pt x="38" y="228"/>
                  <a:pt x="38" y="228"/>
                  <a:pt x="38" y="228"/>
                </a:cubicBezTo>
                <a:cubicBezTo>
                  <a:pt x="1" y="368"/>
                  <a:pt x="1" y="368"/>
                  <a:pt x="1" y="368"/>
                </a:cubicBezTo>
                <a:cubicBezTo>
                  <a:pt x="0" y="373"/>
                  <a:pt x="1" y="378"/>
                  <a:pt x="5" y="381"/>
                </a:cubicBezTo>
                <a:cubicBezTo>
                  <a:pt x="8" y="384"/>
                  <a:pt x="13" y="386"/>
                  <a:pt x="17" y="384"/>
                </a:cubicBezTo>
                <a:cubicBezTo>
                  <a:pt x="157" y="348"/>
                  <a:pt x="157" y="348"/>
                  <a:pt x="157" y="348"/>
                </a:cubicBezTo>
                <a:cubicBezTo>
                  <a:pt x="160" y="347"/>
                  <a:pt x="162" y="346"/>
                  <a:pt x="163" y="344"/>
                </a:cubicBezTo>
                <a:cubicBezTo>
                  <a:pt x="163" y="344"/>
                  <a:pt x="372" y="136"/>
                  <a:pt x="373" y="136"/>
                </a:cubicBezTo>
                <a:cubicBezTo>
                  <a:pt x="376" y="133"/>
                  <a:pt x="383" y="126"/>
                  <a:pt x="384" y="114"/>
                </a:cubicBezTo>
                <a:cubicBezTo>
                  <a:pt x="384" y="112"/>
                  <a:pt x="384" y="111"/>
                  <a:pt x="384" y="110"/>
                </a:cubicBezTo>
                <a:cubicBezTo>
                  <a:pt x="384" y="91"/>
                  <a:pt x="372" y="69"/>
                  <a:pt x="348" y="44"/>
                </a:cubicBezTo>
                <a:cubicBezTo>
                  <a:pt x="348" y="44"/>
                  <a:pt x="348" y="44"/>
                  <a:pt x="348" y="44"/>
                </a:cubicBezTo>
                <a:cubicBezTo>
                  <a:pt x="318" y="14"/>
                  <a:pt x="292" y="0"/>
                  <a:pt x="271" y="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9" name="Freeform 179"/>
          <p:cNvSpPr>
            <a:spLocks/>
          </p:cNvSpPr>
          <p:nvPr userDrawn="1"/>
        </p:nvSpPr>
        <p:spPr bwMode="auto">
          <a:xfrm>
            <a:off x="1909464" y="870052"/>
            <a:ext cx="390627" cy="392906"/>
          </a:xfrm>
          <a:custGeom>
            <a:avLst/>
            <a:gdLst/>
            <a:ahLst/>
            <a:cxnLst>
              <a:cxn ang="0">
                <a:pos x="12" y="165"/>
              </a:cxn>
              <a:cxn ang="0">
                <a:pos x="2" y="213"/>
              </a:cxn>
              <a:cxn ang="0">
                <a:pos x="64" y="219"/>
              </a:cxn>
              <a:cxn ang="0">
                <a:pos x="64" y="215"/>
              </a:cxn>
              <a:cxn ang="0">
                <a:pos x="107" y="105"/>
              </a:cxn>
              <a:cxn ang="0">
                <a:pos x="333" y="164"/>
              </a:cxn>
              <a:cxn ang="0">
                <a:pos x="314" y="244"/>
              </a:cxn>
              <a:cxn ang="0">
                <a:pos x="356" y="313"/>
              </a:cxn>
              <a:cxn ang="0">
                <a:pos x="350" y="296"/>
              </a:cxn>
              <a:cxn ang="0">
                <a:pos x="342" y="229"/>
              </a:cxn>
              <a:cxn ang="0">
                <a:pos x="361" y="166"/>
              </a:cxn>
              <a:cxn ang="0">
                <a:pos x="202" y="39"/>
              </a:cxn>
              <a:cxn ang="0">
                <a:pos x="38" y="211"/>
              </a:cxn>
              <a:cxn ang="0">
                <a:pos x="37" y="218"/>
              </a:cxn>
              <a:cxn ang="0">
                <a:pos x="37" y="219"/>
              </a:cxn>
              <a:cxn ang="0">
                <a:pos x="28" y="208"/>
              </a:cxn>
              <a:cxn ang="0">
                <a:pos x="36" y="179"/>
              </a:cxn>
              <a:cxn ang="0">
                <a:pos x="38" y="174"/>
              </a:cxn>
              <a:cxn ang="0">
                <a:pos x="209" y="28"/>
              </a:cxn>
              <a:cxn ang="0">
                <a:pos x="381" y="166"/>
              </a:cxn>
              <a:cxn ang="0">
                <a:pos x="387" y="173"/>
              </a:cxn>
              <a:cxn ang="0">
                <a:pos x="418" y="189"/>
              </a:cxn>
              <a:cxn ang="0">
                <a:pos x="387" y="308"/>
              </a:cxn>
              <a:cxn ang="0">
                <a:pos x="372" y="309"/>
              </a:cxn>
              <a:cxn ang="0">
                <a:pos x="365" y="323"/>
              </a:cxn>
              <a:cxn ang="0">
                <a:pos x="274" y="420"/>
              </a:cxn>
              <a:cxn ang="0">
                <a:pos x="237" y="423"/>
              </a:cxn>
              <a:cxn ang="0">
                <a:pos x="227" y="431"/>
              </a:cxn>
              <a:cxn ang="0">
                <a:pos x="206" y="435"/>
              </a:cxn>
              <a:cxn ang="0">
                <a:pos x="208" y="423"/>
              </a:cxn>
              <a:cxn ang="0">
                <a:pos x="233" y="417"/>
              </a:cxn>
              <a:cxn ang="0">
                <a:pos x="211" y="396"/>
              </a:cxn>
              <a:cxn ang="0">
                <a:pos x="161" y="422"/>
              </a:cxn>
              <a:cxn ang="0">
                <a:pos x="246" y="449"/>
              </a:cxn>
              <a:cxn ang="0">
                <a:pos x="389" y="334"/>
              </a:cxn>
              <a:cxn ang="0">
                <a:pos x="461" y="246"/>
              </a:cxn>
              <a:cxn ang="0">
                <a:pos x="438" y="171"/>
              </a:cxn>
              <a:cxn ang="0">
                <a:pos x="333" y="46"/>
              </a:cxn>
              <a:cxn ang="0">
                <a:pos x="81" y="48"/>
              </a:cxn>
            </a:cxnLst>
            <a:rect l="0" t="0" r="r" b="b"/>
            <a:pathLst>
              <a:path w="461" h="464">
                <a:moveTo>
                  <a:pt x="81" y="48"/>
                </a:moveTo>
                <a:cubicBezTo>
                  <a:pt x="46" y="78"/>
                  <a:pt x="22" y="119"/>
                  <a:pt x="12" y="165"/>
                </a:cubicBezTo>
                <a:cubicBezTo>
                  <a:pt x="6" y="171"/>
                  <a:pt x="0" y="181"/>
                  <a:pt x="0" y="197"/>
                </a:cubicBezTo>
                <a:cubicBezTo>
                  <a:pt x="0" y="202"/>
                  <a:pt x="0" y="207"/>
                  <a:pt x="2" y="213"/>
                </a:cubicBezTo>
                <a:cubicBezTo>
                  <a:pt x="8" y="243"/>
                  <a:pt x="26" y="247"/>
                  <a:pt x="36" y="246"/>
                </a:cubicBezTo>
                <a:cubicBezTo>
                  <a:pt x="49" y="246"/>
                  <a:pt x="63" y="237"/>
                  <a:pt x="64" y="219"/>
                </a:cubicBezTo>
                <a:cubicBezTo>
                  <a:pt x="64" y="220"/>
                  <a:pt x="64" y="220"/>
                  <a:pt x="64" y="220"/>
                </a:cubicBezTo>
                <a:cubicBezTo>
                  <a:pt x="64" y="215"/>
                  <a:pt x="64" y="215"/>
                  <a:pt x="64" y="215"/>
                </a:cubicBezTo>
                <a:cubicBezTo>
                  <a:pt x="64" y="214"/>
                  <a:pt x="64" y="214"/>
                  <a:pt x="64" y="213"/>
                </a:cubicBezTo>
                <a:cubicBezTo>
                  <a:pt x="64" y="172"/>
                  <a:pt x="80" y="132"/>
                  <a:pt x="107" y="105"/>
                </a:cubicBezTo>
                <a:cubicBezTo>
                  <a:pt x="133" y="79"/>
                  <a:pt x="166" y="65"/>
                  <a:pt x="201" y="66"/>
                </a:cubicBezTo>
                <a:cubicBezTo>
                  <a:pt x="259" y="67"/>
                  <a:pt x="311" y="106"/>
                  <a:pt x="333" y="164"/>
                </a:cubicBezTo>
                <a:cubicBezTo>
                  <a:pt x="322" y="179"/>
                  <a:pt x="317" y="199"/>
                  <a:pt x="315" y="228"/>
                </a:cubicBezTo>
                <a:cubicBezTo>
                  <a:pt x="315" y="231"/>
                  <a:pt x="314" y="236"/>
                  <a:pt x="314" y="244"/>
                </a:cubicBezTo>
                <a:cubicBezTo>
                  <a:pt x="314" y="269"/>
                  <a:pt x="318" y="311"/>
                  <a:pt x="339" y="320"/>
                </a:cubicBezTo>
                <a:cubicBezTo>
                  <a:pt x="345" y="323"/>
                  <a:pt x="353" y="320"/>
                  <a:pt x="356" y="313"/>
                </a:cubicBezTo>
                <a:cubicBezTo>
                  <a:pt x="359" y="306"/>
                  <a:pt x="356" y="299"/>
                  <a:pt x="349" y="296"/>
                </a:cubicBezTo>
                <a:cubicBezTo>
                  <a:pt x="350" y="296"/>
                  <a:pt x="350" y="296"/>
                  <a:pt x="350" y="296"/>
                </a:cubicBezTo>
                <a:cubicBezTo>
                  <a:pt x="347" y="293"/>
                  <a:pt x="341" y="274"/>
                  <a:pt x="341" y="244"/>
                </a:cubicBezTo>
                <a:cubicBezTo>
                  <a:pt x="341" y="240"/>
                  <a:pt x="341" y="235"/>
                  <a:pt x="342" y="229"/>
                </a:cubicBezTo>
                <a:cubicBezTo>
                  <a:pt x="343" y="203"/>
                  <a:pt x="349" y="185"/>
                  <a:pt x="358" y="175"/>
                </a:cubicBezTo>
                <a:cubicBezTo>
                  <a:pt x="360" y="172"/>
                  <a:pt x="361" y="169"/>
                  <a:pt x="361" y="166"/>
                </a:cubicBezTo>
                <a:cubicBezTo>
                  <a:pt x="361" y="164"/>
                  <a:pt x="361" y="162"/>
                  <a:pt x="360" y="160"/>
                </a:cubicBezTo>
                <a:cubicBezTo>
                  <a:pt x="336" y="89"/>
                  <a:pt x="273" y="40"/>
                  <a:pt x="202" y="39"/>
                </a:cubicBezTo>
                <a:cubicBezTo>
                  <a:pt x="159" y="39"/>
                  <a:pt x="119" y="55"/>
                  <a:pt x="88" y="86"/>
                </a:cubicBezTo>
                <a:cubicBezTo>
                  <a:pt x="56" y="118"/>
                  <a:pt x="38" y="164"/>
                  <a:pt x="38" y="211"/>
                </a:cubicBezTo>
                <a:cubicBezTo>
                  <a:pt x="38" y="212"/>
                  <a:pt x="38" y="212"/>
                  <a:pt x="38" y="213"/>
                </a:cubicBezTo>
                <a:cubicBezTo>
                  <a:pt x="38" y="214"/>
                  <a:pt x="37" y="218"/>
                  <a:pt x="37" y="218"/>
                </a:cubicBezTo>
                <a:cubicBezTo>
                  <a:pt x="37" y="218"/>
                  <a:pt x="37" y="218"/>
                  <a:pt x="37" y="218"/>
                </a:cubicBezTo>
                <a:cubicBezTo>
                  <a:pt x="37" y="219"/>
                  <a:pt x="37" y="219"/>
                  <a:pt x="37" y="219"/>
                </a:cubicBezTo>
                <a:cubicBezTo>
                  <a:pt x="37" y="219"/>
                  <a:pt x="36" y="220"/>
                  <a:pt x="36" y="220"/>
                </a:cubicBezTo>
                <a:cubicBezTo>
                  <a:pt x="34" y="220"/>
                  <a:pt x="30" y="220"/>
                  <a:pt x="28" y="208"/>
                </a:cubicBezTo>
                <a:cubicBezTo>
                  <a:pt x="26" y="201"/>
                  <a:pt x="25" y="189"/>
                  <a:pt x="31" y="184"/>
                </a:cubicBezTo>
                <a:cubicBezTo>
                  <a:pt x="33" y="183"/>
                  <a:pt x="35" y="181"/>
                  <a:pt x="36" y="179"/>
                </a:cubicBezTo>
                <a:cubicBezTo>
                  <a:pt x="37" y="178"/>
                  <a:pt x="37" y="178"/>
                  <a:pt x="37" y="178"/>
                </a:cubicBezTo>
                <a:cubicBezTo>
                  <a:pt x="37" y="177"/>
                  <a:pt x="37" y="175"/>
                  <a:pt x="38" y="174"/>
                </a:cubicBezTo>
                <a:cubicBezTo>
                  <a:pt x="46" y="133"/>
                  <a:pt x="67" y="95"/>
                  <a:pt x="98" y="68"/>
                </a:cubicBezTo>
                <a:cubicBezTo>
                  <a:pt x="129" y="41"/>
                  <a:pt x="168" y="27"/>
                  <a:pt x="209" y="28"/>
                </a:cubicBezTo>
                <a:cubicBezTo>
                  <a:pt x="248" y="28"/>
                  <a:pt x="285" y="42"/>
                  <a:pt x="316" y="67"/>
                </a:cubicBezTo>
                <a:cubicBezTo>
                  <a:pt x="347" y="92"/>
                  <a:pt x="370" y="127"/>
                  <a:pt x="381" y="166"/>
                </a:cubicBezTo>
                <a:cubicBezTo>
                  <a:pt x="382" y="168"/>
                  <a:pt x="383" y="170"/>
                  <a:pt x="385" y="172"/>
                </a:cubicBezTo>
                <a:cubicBezTo>
                  <a:pt x="387" y="173"/>
                  <a:pt x="387" y="173"/>
                  <a:pt x="387" y="173"/>
                </a:cubicBezTo>
                <a:cubicBezTo>
                  <a:pt x="389" y="175"/>
                  <a:pt x="392" y="177"/>
                  <a:pt x="395" y="177"/>
                </a:cubicBezTo>
                <a:cubicBezTo>
                  <a:pt x="405" y="178"/>
                  <a:pt x="413" y="184"/>
                  <a:pt x="418" y="189"/>
                </a:cubicBezTo>
                <a:cubicBezTo>
                  <a:pt x="429" y="202"/>
                  <a:pt x="435" y="223"/>
                  <a:pt x="434" y="245"/>
                </a:cubicBezTo>
                <a:cubicBezTo>
                  <a:pt x="432" y="280"/>
                  <a:pt x="410" y="309"/>
                  <a:pt x="387" y="308"/>
                </a:cubicBezTo>
                <a:cubicBezTo>
                  <a:pt x="385" y="308"/>
                  <a:pt x="384" y="307"/>
                  <a:pt x="382" y="307"/>
                </a:cubicBezTo>
                <a:cubicBezTo>
                  <a:pt x="379" y="306"/>
                  <a:pt x="375" y="307"/>
                  <a:pt x="372" y="309"/>
                </a:cubicBezTo>
                <a:cubicBezTo>
                  <a:pt x="369" y="310"/>
                  <a:pt x="367" y="313"/>
                  <a:pt x="366" y="317"/>
                </a:cubicBezTo>
                <a:cubicBezTo>
                  <a:pt x="365" y="323"/>
                  <a:pt x="365" y="323"/>
                  <a:pt x="365" y="323"/>
                </a:cubicBezTo>
                <a:cubicBezTo>
                  <a:pt x="365" y="323"/>
                  <a:pt x="365" y="323"/>
                  <a:pt x="365" y="323"/>
                </a:cubicBezTo>
                <a:cubicBezTo>
                  <a:pt x="354" y="373"/>
                  <a:pt x="320" y="409"/>
                  <a:pt x="274" y="420"/>
                </a:cubicBezTo>
                <a:cubicBezTo>
                  <a:pt x="264" y="422"/>
                  <a:pt x="253" y="423"/>
                  <a:pt x="242" y="422"/>
                </a:cubicBezTo>
                <a:cubicBezTo>
                  <a:pt x="240" y="422"/>
                  <a:pt x="239" y="423"/>
                  <a:pt x="237" y="423"/>
                </a:cubicBezTo>
                <a:cubicBezTo>
                  <a:pt x="234" y="424"/>
                  <a:pt x="234" y="424"/>
                  <a:pt x="234" y="424"/>
                </a:cubicBezTo>
                <a:cubicBezTo>
                  <a:pt x="231" y="426"/>
                  <a:pt x="228" y="428"/>
                  <a:pt x="227" y="431"/>
                </a:cubicBezTo>
                <a:cubicBezTo>
                  <a:pt x="227" y="431"/>
                  <a:pt x="227" y="431"/>
                  <a:pt x="227" y="431"/>
                </a:cubicBezTo>
                <a:cubicBezTo>
                  <a:pt x="225" y="433"/>
                  <a:pt x="218" y="436"/>
                  <a:pt x="206" y="435"/>
                </a:cubicBezTo>
                <a:cubicBezTo>
                  <a:pt x="195" y="433"/>
                  <a:pt x="189" y="428"/>
                  <a:pt x="188" y="426"/>
                </a:cubicBezTo>
                <a:cubicBezTo>
                  <a:pt x="190" y="424"/>
                  <a:pt x="197" y="421"/>
                  <a:pt x="208" y="423"/>
                </a:cubicBezTo>
                <a:cubicBezTo>
                  <a:pt x="211" y="423"/>
                  <a:pt x="214" y="424"/>
                  <a:pt x="216" y="425"/>
                </a:cubicBezTo>
                <a:cubicBezTo>
                  <a:pt x="223" y="427"/>
                  <a:pt x="231" y="424"/>
                  <a:pt x="233" y="417"/>
                </a:cubicBezTo>
                <a:cubicBezTo>
                  <a:pt x="236" y="410"/>
                  <a:pt x="233" y="402"/>
                  <a:pt x="226" y="400"/>
                </a:cubicBezTo>
                <a:cubicBezTo>
                  <a:pt x="221" y="398"/>
                  <a:pt x="216" y="397"/>
                  <a:pt x="211" y="396"/>
                </a:cubicBezTo>
                <a:cubicBezTo>
                  <a:pt x="196" y="394"/>
                  <a:pt x="182" y="397"/>
                  <a:pt x="172" y="404"/>
                </a:cubicBezTo>
                <a:cubicBezTo>
                  <a:pt x="166" y="409"/>
                  <a:pt x="162" y="415"/>
                  <a:pt x="161" y="422"/>
                </a:cubicBezTo>
                <a:cubicBezTo>
                  <a:pt x="159" y="441"/>
                  <a:pt x="177" y="458"/>
                  <a:pt x="203" y="461"/>
                </a:cubicBezTo>
                <a:cubicBezTo>
                  <a:pt x="221" y="464"/>
                  <a:pt x="237" y="459"/>
                  <a:pt x="246" y="449"/>
                </a:cubicBezTo>
                <a:cubicBezTo>
                  <a:pt x="257" y="449"/>
                  <a:pt x="269" y="448"/>
                  <a:pt x="280" y="446"/>
                </a:cubicBezTo>
                <a:cubicBezTo>
                  <a:pt x="335" y="433"/>
                  <a:pt x="376" y="392"/>
                  <a:pt x="389" y="334"/>
                </a:cubicBezTo>
                <a:cubicBezTo>
                  <a:pt x="407" y="334"/>
                  <a:pt x="424" y="325"/>
                  <a:pt x="438" y="309"/>
                </a:cubicBezTo>
                <a:cubicBezTo>
                  <a:pt x="451" y="292"/>
                  <a:pt x="459" y="270"/>
                  <a:pt x="461" y="246"/>
                </a:cubicBezTo>
                <a:cubicBezTo>
                  <a:pt x="461" y="244"/>
                  <a:pt x="461" y="241"/>
                  <a:pt x="461" y="239"/>
                </a:cubicBezTo>
                <a:cubicBezTo>
                  <a:pt x="461" y="212"/>
                  <a:pt x="453" y="188"/>
                  <a:pt x="438" y="171"/>
                </a:cubicBezTo>
                <a:cubicBezTo>
                  <a:pt x="428" y="161"/>
                  <a:pt x="417" y="154"/>
                  <a:pt x="405" y="151"/>
                </a:cubicBezTo>
                <a:cubicBezTo>
                  <a:pt x="391" y="110"/>
                  <a:pt x="366" y="73"/>
                  <a:pt x="333" y="46"/>
                </a:cubicBezTo>
                <a:cubicBezTo>
                  <a:pt x="297" y="17"/>
                  <a:pt x="254" y="1"/>
                  <a:pt x="209" y="1"/>
                </a:cubicBezTo>
                <a:cubicBezTo>
                  <a:pt x="162" y="0"/>
                  <a:pt x="117" y="17"/>
                  <a:pt x="81" y="4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0" name="Freeform 221"/>
          <p:cNvSpPr>
            <a:spLocks/>
          </p:cNvSpPr>
          <p:nvPr userDrawn="1"/>
        </p:nvSpPr>
        <p:spPr bwMode="auto">
          <a:xfrm>
            <a:off x="1921970" y="3335156"/>
            <a:ext cx="365617" cy="321469"/>
          </a:xfrm>
          <a:custGeom>
            <a:avLst/>
            <a:gdLst/>
            <a:ahLst/>
            <a:cxnLst>
              <a:cxn ang="0">
                <a:pos x="240" y="0"/>
              </a:cxn>
              <a:cxn ang="0">
                <a:pos x="61" y="126"/>
              </a:cxn>
              <a:cxn ang="0">
                <a:pos x="59" y="133"/>
              </a:cxn>
              <a:cxn ang="0">
                <a:pos x="67" y="146"/>
              </a:cxn>
              <a:cxn ang="0">
                <a:pos x="107" y="158"/>
              </a:cxn>
              <a:cxn ang="0">
                <a:pos x="55" y="178"/>
              </a:cxn>
              <a:cxn ang="0">
                <a:pos x="26" y="105"/>
              </a:cxn>
              <a:cxn ang="0">
                <a:pos x="8" y="95"/>
              </a:cxn>
              <a:cxn ang="0">
                <a:pos x="3" y="113"/>
              </a:cxn>
              <a:cxn ang="0">
                <a:pos x="3" y="113"/>
              </a:cxn>
              <a:cxn ang="0">
                <a:pos x="37" y="199"/>
              </a:cxn>
              <a:cxn ang="0">
                <a:pos x="52" y="203"/>
              </a:cxn>
              <a:cxn ang="0">
                <a:pos x="141" y="167"/>
              </a:cxn>
              <a:cxn ang="0">
                <a:pos x="149" y="156"/>
              </a:cxn>
              <a:cxn ang="0">
                <a:pos x="140" y="144"/>
              </a:cxn>
              <a:cxn ang="0">
                <a:pos x="85" y="127"/>
              </a:cxn>
              <a:cxn ang="0">
                <a:pos x="85" y="126"/>
              </a:cxn>
              <a:cxn ang="0">
                <a:pos x="122" y="72"/>
              </a:cxn>
              <a:cxn ang="0">
                <a:pos x="240" y="23"/>
              </a:cxn>
              <a:cxn ang="0">
                <a:pos x="359" y="72"/>
              </a:cxn>
              <a:cxn ang="0">
                <a:pos x="408" y="191"/>
              </a:cxn>
              <a:cxn ang="0">
                <a:pos x="359" y="309"/>
              </a:cxn>
              <a:cxn ang="0">
                <a:pos x="240" y="358"/>
              </a:cxn>
              <a:cxn ang="0">
                <a:pos x="122" y="309"/>
              </a:cxn>
              <a:cxn ang="0">
                <a:pos x="92" y="268"/>
              </a:cxn>
              <a:cxn ang="0">
                <a:pos x="198" y="224"/>
              </a:cxn>
              <a:cxn ang="0">
                <a:pos x="199" y="224"/>
              </a:cxn>
              <a:cxn ang="0">
                <a:pos x="207" y="209"/>
              </a:cxn>
              <a:cxn ang="0">
                <a:pos x="203" y="192"/>
              </a:cxn>
              <a:cxn ang="0">
                <a:pos x="241" y="154"/>
              </a:cxn>
              <a:cxn ang="0">
                <a:pos x="278" y="192"/>
              </a:cxn>
              <a:cxn ang="0">
                <a:pos x="241" y="230"/>
              </a:cxn>
              <a:cxn ang="0">
                <a:pos x="235" y="229"/>
              </a:cxn>
              <a:cxn ang="0">
                <a:pos x="233" y="229"/>
              </a:cxn>
              <a:cxn ang="0">
                <a:pos x="233" y="229"/>
              </a:cxn>
              <a:cxn ang="0">
                <a:pos x="231" y="229"/>
              </a:cxn>
              <a:cxn ang="0">
                <a:pos x="219" y="239"/>
              </a:cxn>
              <a:cxn ang="0">
                <a:pos x="219" y="240"/>
              </a:cxn>
              <a:cxn ang="0">
                <a:pos x="230" y="253"/>
              </a:cxn>
              <a:cxn ang="0">
                <a:pos x="230" y="253"/>
              </a:cxn>
              <a:cxn ang="0">
                <a:pos x="230" y="253"/>
              </a:cxn>
              <a:cxn ang="0">
                <a:pos x="241" y="254"/>
              </a:cxn>
              <a:cxn ang="0">
                <a:pos x="302" y="192"/>
              </a:cxn>
              <a:cxn ang="0">
                <a:pos x="241" y="130"/>
              </a:cxn>
              <a:cxn ang="0">
                <a:pos x="179" y="192"/>
              </a:cxn>
              <a:cxn ang="0">
                <a:pos x="180" y="206"/>
              </a:cxn>
              <a:cxn ang="0">
                <a:pos x="74" y="250"/>
              </a:cxn>
              <a:cxn ang="0">
                <a:pos x="66" y="268"/>
              </a:cxn>
              <a:cxn ang="0">
                <a:pos x="71" y="277"/>
              </a:cxn>
              <a:cxn ang="0">
                <a:pos x="240" y="381"/>
              </a:cxn>
              <a:cxn ang="0">
                <a:pos x="431" y="191"/>
              </a:cxn>
              <a:cxn ang="0">
                <a:pos x="240" y="0"/>
              </a:cxn>
            </a:cxnLst>
            <a:rect l="0" t="0" r="r" b="b"/>
            <a:pathLst>
              <a:path w="431" h="381">
                <a:moveTo>
                  <a:pt x="240" y="0"/>
                </a:moveTo>
                <a:cubicBezTo>
                  <a:pt x="158" y="0"/>
                  <a:pt x="88" y="53"/>
                  <a:pt x="61" y="126"/>
                </a:cubicBezTo>
                <a:cubicBezTo>
                  <a:pt x="60" y="129"/>
                  <a:pt x="60" y="130"/>
                  <a:pt x="59" y="133"/>
                </a:cubicBezTo>
                <a:cubicBezTo>
                  <a:pt x="57" y="140"/>
                  <a:pt x="60" y="144"/>
                  <a:pt x="67" y="146"/>
                </a:cubicBezTo>
                <a:cubicBezTo>
                  <a:pt x="107" y="158"/>
                  <a:pt x="107" y="158"/>
                  <a:pt x="107" y="158"/>
                </a:cubicBezTo>
                <a:cubicBezTo>
                  <a:pt x="55" y="178"/>
                  <a:pt x="55" y="178"/>
                  <a:pt x="55" y="178"/>
                </a:cubicBezTo>
                <a:cubicBezTo>
                  <a:pt x="26" y="105"/>
                  <a:pt x="26" y="105"/>
                  <a:pt x="26" y="105"/>
                </a:cubicBezTo>
                <a:cubicBezTo>
                  <a:pt x="23" y="95"/>
                  <a:pt x="15" y="92"/>
                  <a:pt x="8" y="95"/>
                </a:cubicBezTo>
                <a:cubicBezTo>
                  <a:pt x="0" y="97"/>
                  <a:pt x="0" y="106"/>
                  <a:pt x="3" y="113"/>
                </a:cubicBezTo>
                <a:cubicBezTo>
                  <a:pt x="3" y="113"/>
                  <a:pt x="3" y="113"/>
                  <a:pt x="3" y="113"/>
                </a:cubicBezTo>
                <a:cubicBezTo>
                  <a:pt x="37" y="199"/>
                  <a:pt x="37" y="199"/>
                  <a:pt x="37" y="199"/>
                </a:cubicBezTo>
                <a:cubicBezTo>
                  <a:pt x="40" y="205"/>
                  <a:pt x="47" y="205"/>
                  <a:pt x="52" y="203"/>
                </a:cubicBezTo>
                <a:cubicBezTo>
                  <a:pt x="141" y="167"/>
                  <a:pt x="141" y="167"/>
                  <a:pt x="141" y="167"/>
                </a:cubicBezTo>
                <a:cubicBezTo>
                  <a:pt x="147" y="164"/>
                  <a:pt x="149" y="162"/>
                  <a:pt x="149" y="156"/>
                </a:cubicBezTo>
                <a:cubicBezTo>
                  <a:pt x="148" y="150"/>
                  <a:pt x="146" y="146"/>
                  <a:pt x="140" y="144"/>
                </a:cubicBezTo>
                <a:cubicBezTo>
                  <a:pt x="85" y="127"/>
                  <a:pt x="85" y="127"/>
                  <a:pt x="85" y="127"/>
                </a:cubicBezTo>
                <a:cubicBezTo>
                  <a:pt x="85" y="126"/>
                  <a:pt x="85" y="126"/>
                  <a:pt x="85" y="126"/>
                </a:cubicBezTo>
                <a:cubicBezTo>
                  <a:pt x="94" y="106"/>
                  <a:pt x="107" y="87"/>
                  <a:pt x="122" y="72"/>
                </a:cubicBezTo>
                <a:cubicBezTo>
                  <a:pt x="152" y="42"/>
                  <a:pt x="194" y="23"/>
                  <a:pt x="240" y="23"/>
                </a:cubicBezTo>
                <a:cubicBezTo>
                  <a:pt x="287" y="23"/>
                  <a:pt x="329" y="42"/>
                  <a:pt x="359" y="72"/>
                </a:cubicBezTo>
                <a:cubicBezTo>
                  <a:pt x="389" y="103"/>
                  <a:pt x="408" y="144"/>
                  <a:pt x="408" y="191"/>
                </a:cubicBezTo>
                <a:cubicBezTo>
                  <a:pt x="408" y="237"/>
                  <a:pt x="389" y="279"/>
                  <a:pt x="359" y="309"/>
                </a:cubicBezTo>
                <a:cubicBezTo>
                  <a:pt x="329" y="339"/>
                  <a:pt x="287" y="358"/>
                  <a:pt x="240" y="358"/>
                </a:cubicBezTo>
                <a:cubicBezTo>
                  <a:pt x="194" y="358"/>
                  <a:pt x="152" y="339"/>
                  <a:pt x="122" y="309"/>
                </a:cubicBezTo>
                <a:cubicBezTo>
                  <a:pt x="110" y="297"/>
                  <a:pt x="100" y="283"/>
                  <a:pt x="92" y="268"/>
                </a:cubicBezTo>
                <a:cubicBezTo>
                  <a:pt x="92" y="268"/>
                  <a:pt x="165" y="238"/>
                  <a:pt x="198" y="224"/>
                </a:cubicBezTo>
                <a:cubicBezTo>
                  <a:pt x="198" y="224"/>
                  <a:pt x="198" y="224"/>
                  <a:pt x="199" y="224"/>
                </a:cubicBezTo>
                <a:cubicBezTo>
                  <a:pt x="209" y="219"/>
                  <a:pt x="207" y="209"/>
                  <a:pt x="207" y="209"/>
                </a:cubicBezTo>
                <a:cubicBezTo>
                  <a:pt x="204" y="204"/>
                  <a:pt x="203" y="198"/>
                  <a:pt x="203" y="192"/>
                </a:cubicBezTo>
                <a:cubicBezTo>
                  <a:pt x="203" y="171"/>
                  <a:pt x="220" y="154"/>
                  <a:pt x="241" y="154"/>
                </a:cubicBezTo>
                <a:cubicBezTo>
                  <a:pt x="261" y="154"/>
                  <a:pt x="278" y="171"/>
                  <a:pt x="278" y="192"/>
                </a:cubicBezTo>
                <a:cubicBezTo>
                  <a:pt x="278" y="213"/>
                  <a:pt x="261" y="230"/>
                  <a:pt x="241" y="230"/>
                </a:cubicBezTo>
                <a:cubicBezTo>
                  <a:pt x="239" y="230"/>
                  <a:pt x="237" y="230"/>
                  <a:pt x="235" y="229"/>
                </a:cubicBezTo>
                <a:cubicBezTo>
                  <a:pt x="235" y="229"/>
                  <a:pt x="234" y="229"/>
                  <a:pt x="233" y="229"/>
                </a:cubicBezTo>
                <a:cubicBezTo>
                  <a:pt x="233" y="229"/>
                  <a:pt x="233" y="229"/>
                  <a:pt x="233" y="229"/>
                </a:cubicBezTo>
                <a:cubicBezTo>
                  <a:pt x="232" y="229"/>
                  <a:pt x="232" y="229"/>
                  <a:pt x="231" y="229"/>
                </a:cubicBezTo>
                <a:cubicBezTo>
                  <a:pt x="225" y="229"/>
                  <a:pt x="220" y="233"/>
                  <a:pt x="219" y="239"/>
                </a:cubicBezTo>
                <a:cubicBezTo>
                  <a:pt x="219" y="239"/>
                  <a:pt x="219" y="240"/>
                  <a:pt x="219" y="240"/>
                </a:cubicBezTo>
                <a:cubicBezTo>
                  <a:pt x="219" y="246"/>
                  <a:pt x="224" y="251"/>
                  <a:pt x="230" y="253"/>
                </a:cubicBezTo>
                <a:cubicBezTo>
                  <a:pt x="230" y="253"/>
                  <a:pt x="230" y="253"/>
                  <a:pt x="230" y="253"/>
                </a:cubicBezTo>
                <a:cubicBezTo>
                  <a:pt x="230" y="253"/>
                  <a:pt x="230" y="253"/>
                  <a:pt x="230" y="253"/>
                </a:cubicBezTo>
                <a:cubicBezTo>
                  <a:pt x="234" y="253"/>
                  <a:pt x="237" y="254"/>
                  <a:pt x="241" y="254"/>
                </a:cubicBezTo>
                <a:cubicBezTo>
                  <a:pt x="275" y="254"/>
                  <a:pt x="302" y="226"/>
                  <a:pt x="302" y="192"/>
                </a:cubicBezTo>
                <a:cubicBezTo>
                  <a:pt x="302" y="158"/>
                  <a:pt x="275" y="130"/>
                  <a:pt x="241" y="130"/>
                </a:cubicBezTo>
                <a:cubicBezTo>
                  <a:pt x="206" y="130"/>
                  <a:pt x="179" y="158"/>
                  <a:pt x="179" y="192"/>
                </a:cubicBezTo>
                <a:cubicBezTo>
                  <a:pt x="179" y="197"/>
                  <a:pt x="179" y="201"/>
                  <a:pt x="180" y="206"/>
                </a:cubicBezTo>
                <a:cubicBezTo>
                  <a:pt x="74" y="250"/>
                  <a:pt x="74" y="250"/>
                  <a:pt x="74" y="250"/>
                </a:cubicBezTo>
                <a:cubicBezTo>
                  <a:pt x="68" y="253"/>
                  <a:pt x="62" y="257"/>
                  <a:pt x="66" y="268"/>
                </a:cubicBezTo>
                <a:cubicBezTo>
                  <a:pt x="71" y="277"/>
                  <a:pt x="71" y="277"/>
                  <a:pt x="71" y="277"/>
                </a:cubicBezTo>
                <a:cubicBezTo>
                  <a:pt x="102" y="339"/>
                  <a:pt x="166" y="381"/>
                  <a:pt x="240" y="381"/>
                </a:cubicBezTo>
                <a:cubicBezTo>
                  <a:pt x="346" y="381"/>
                  <a:pt x="431" y="296"/>
                  <a:pt x="431" y="191"/>
                </a:cubicBezTo>
                <a:cubicBezTo>
                  <a:pt x="431" y="86"/>
                  <a:pt x="346" y="0"/>
                  <a:pt x="240" y="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1" name="Freeform 267"/>
          <p:cNvSpPr>
            <a:spLocks/>
          </p:cNvSpPr>
          <p:nvPr userDrawn="1"/>
        </p:nvSpPr>
        <p:spPr bwMode="auto">
          <a:xfrm>
            <a:off x="1913632" y="1790269"/>
            <a:ext cx="382291" cy="382190"/>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2" name="Freeform 276"/>
          <p:cNvSpPr>
            <a:spLocks/>
          </p:cNvSpPr>
          <p:nvPr userDrawn="1"/>
        </p:nvSpPr>
        <p:spPr bwMode="auto">
          <a:xfrm>
            <a:off x="1921969" y="2243815"/>
            <a:ext cx="365617" cy="384572"/>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3" name="Freeform 280"/>
          <p:cNvSpPr>
            <a:spLocks noEditPoints="1"/>
          </p:cNvSpPr>
          <p:nvPr userDrawn="1"/>
        </p:nvSpPr>
        <p:spPr bwMode="auto">
          <a:xfrm>
            <a:off x="1910060" y="1322117"/>
            <a:ext cx="389436" cy="361950"/>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4" name="Freeform 316"/>
          <p:cNvSpPr>
            <a:spLocks/>
          </p:cNvSpPr>
          <p:nvPr userDrawn="1"/>
        </p:nvSpPr>
        <p:spPr bwMode="auto">
          <a:xfrm>
            <a:off x="1907082" y="3803009"/>
            <a:ext cx="395390" cy="378619"/>
          </a:xfrm>
          <a:custGeom>
            <a:avLst/>
            <a:gdLst/>
            <a:ahLst/>
            <a:cxnLst>
              <a:cxn ang="0">
                <a:pos x="233" y="0"/>
              </a:cxn>
              <a:cxn ang="0">
                <a:pos x="208" y="19"/>
              </a:cxn>
              <a:cxn ang="0">
                <a:pos x="153" y="130"/>
              </a:cxn>
              <a:cxn ang="0">
                <a:pos x="146" y="135"/>
              </a:cxn>
              <a:cxn ang="0">
                <a:pos x="106" y="141"/>
              </a:cxn>
              <a:cxn ang="0">
                <a:pos x="25" y="153"/>
              </a:cxn>
              <a:cxn ang="0">
                <a:pos x="3" y="170"/>
              </a:cxn>
              <a:cxn ang="0">
                <a:pos x="13" y="202"/>
              </a:cxn>
              <a:cxn ang="0">
                <a:pos x="52" y="239"/>
              </a:cxn>
              <a:cxn ang="0">
                <a:pos x="82" y="268"/>
              </a:cxn>
              <a:cxn ang="0">
                <a:pos x="100" y="268"/>
              </a:cxn>
              <a:cxn ang="0">
                <a:pos x="104" y="259"/>
              </a:cxn>
              <a:cxn ang="0">
                <a:pos x="100" y="249"/>
              </a:cxn>
              <a:cxn ang="0">
                <a:pos x="70" y="220"/>
              </a:cxn>
              <a:cxn ang="0">
                <a:pos x="32" y="183"/>
              </a:cxn>
              <a:cxn ang="0">
                <a:pos x="29" y="179"/>
              </a:cxn>
              <a:cxn ang="0">
                <a:pos x="110" y="167"/>
              </a:cxn>
              <a:cxn ang="0">
                <a:pos x="150" y="161"/>
              </a:cxn>
              <a:cxn ang="0">
                <a:pos x="177" y="142"/>
              </a:cxn>
              <a:cxn ang="0">
                <a:pos x="232" y="31"/>
              </a:cxn>
              <a:cxn ang="0">
                <a:pos x="233" y="29"/>
              </a:cxn>
              <a:cxn ang="0">
                <a:pos x="234" y="31"/>
              </a:cxn>
              <a:cxn ang="0">
                <a:pos x="289" y="143"/>
              </a:cxn>
              <a:cxn ang="0">
                <a:pos x="314" y="161"/>
              </a:cxn>
              <a:cxn ang="0">
                <a:pos x="435" y="178"/>
              </a:cxn>
              <a:cxn ang="0">
                <a:pos x="437" y="179"/>
              </a:cxn>
              <a:cxn ang="0">
                <a:pos x="435" y="181"/>
              </a:cxn>
              <a:cxn ang="0">
                <a:pos x="347" y="268"/>
              </a:cxn>
              <a:cxn ang="0">
                <a:pos x="338" y="290"/>
              </a:cxn>
              <a:cxn ang="0">
                <a:pos x="339" y="294"/>
              </a:cxn>
              <a:cxn ang="0">
                <a:pos x="360" y="415"/>
              </a:cxn>
              <a:cxn ang="0">
                <a:pos x="360" y="417"/>
              </a:cxn>
              <a:cxn ang="0">
                <a:pos x="359" y="420"/>
              </a:cxn>
              <a:cxn ang="0">
                <a:pos x="355" y="418"/>
              </a:cxn>
              <a:cxn ang="0">
                <a:pos x="249" y="363"/>
              </a:cxn>
              <a:cxn ang="0">
                <a:pos x="217" y="363"/>
              </a:cxn>
              <a:cxn ang="0">
                <a:pos x="110" y="418"/>
              </a:cxn>
              <a:cxn ang="0">
                <a:pos x="105" y="420"/>
              </a:cxn>
              <a:cxn ang="0">
                <a:pos x="105" y="420"/>
              </a:cxn>
              <a:cxn ang="0">
                <a:pos x="106" y="417"/>
              </a:cxn>
              <a:cxn ang="0">
                <a:pos x="122" y="324"/>
              </a:cxn>
              <a:cxn ang="0">
                <a:pos x="122" y="322"/>
              </a:cxn>
              <a:cxn ang="0">
                <a:pos x="111" y="309"/>
              </a:cxn>
              <a:cxn ang="0">
                <a:pos x="96" y="320"/>
              </a:cxn>
              <a:cxn ang="0">
                <a:pos x="79" y="412"/>
              </a:cxn>
              <a:cxn ang="0">
                <a:pos x="88" y="442"/>
              </a:cxn>
              <a:cxn ang="0">
                <a:pos x="122" y="443"/>
              </a:cxn>
              <a:cxn ang="0">
                <a:pos x="229" y="387"/>
              </a:cxn>
              <a:cxn ang="0">
                <a:pos x="237" y="387"/>
              </a:cxn>
              <a:cxn ang="0">
                <a:pos x="344" y="443"/>
              </a:cxn>
              <a:cxn ang="0">
                <a:pos x="376" y="441"/>
              </a:cxn>
              <a:cxn ang="0">
                <a:pos x="386" y="410"/>
              </a:cxn>
              <a:cxn ang="0">
                <a:pos x="365" y="290"/>
              </a:cxn>
              <a:cxn ang="0">
                <a:pos x="366" y="287"/>
              </a:cxn>
              <a:cxn ang="0">
                <a:pos x="454" y="200"/>
              </a:cxn>
              <a:cxn ang="0">
                <a:pos x="463" y="170"/>
              </a:cxn>
              <a:cxn ang="0">
                <a:pos x="438" y="152"/>
              </a:cxn>
              <a:cxn ang="0">
                <a:pos x="318" y="134"/>
              </a:cxn>
              <a:cxn ang="0">
                <a:pos x="313" y="131"/>
              </a:cxn>
              <a:cxn ang="0">
                <a:pos x="258" y="19"/>
              </a:cxn>
              <a:cxn ang="0">
                <a:pos x="233" y="0"/>
              </a:cxn>
            </a:cxnLst>
            <a:rect l="0" t="0" r="r" b="b"/>
            <a:pathLst>
              <a:path w="467" h="448">
                <a:moveTo>
                  <a:pt x="233" y="0"/>
                </a:moveTo>
                <a:cubicBezTo>
                  <a:pt x="227" y="0"/>
                  <a:pt x="216" y="3"/>
                  <a:pt x="208" y="19"/>
                </a:cubicBezTo>
                <a:cubicBezTo>
                  <a:pt x="208" y="19"/>
                  <a:pt x="153" y="130"/>
                  <a:pt x="153" y="130"/>
                </a:cubicBezTo>
                <a:cubicBezTo>
                  <a:pt x="152" y="132"/>
                  <a:pt x="149" y="134"/>
                  <a:pt x="146" y="135"/>
                </a:cubicBezTo>
                <a:cubicBezTo>
                  <a:pt x="146" y="135"/>
                  <a:pt x="106" y="141"/>
                  <a:pt x="106" y="141"/>
                </a:cubicBezTo>
                <a:cubicBezTo>
                  <a:pt x="25" y="153"/>
                  <a:pt x="25" y="153"/>
                  <a:pt x="25" y="153"/>
                </a:cubicBezTo>
                <a:cubicBezTo>
                  <a:pt x="14" y="155"/>
                  <a:pt x="6" y="161"/>
                  <a:pt x="3" y="170"/>
                </a:cubicBezTo>
                <a:cubicBezTo>
                  <a:pt x="0" y="180"/>
                  <a:pt x="4" y="192"/>
                  <a:pt x="13" y="202"/>
                </a:cubicBezTo>
                <a:cubicBezTo>
                  <a:pt x="19" y="207"/>
                  <a:pt x="35" y="223"/>
                  <a:pt x="52" y="239"/>
                </a:cubicBezTo>
                <a:cubicBezTo>
                  <a:pt x="82" y="268"/>
                  <a:pt x="82" y="268"/>
                  <a:pt x="82" y="268"/>
                </a:cubicBezTo>
                <a:cubicBezTo>
                  <a:pt x="87" y="274"/>
                  <a:pt x="95" y="274"/>
                  <a:pt x="100" y="268"/>
                </a:cubicBezTo>
                <a:cubicBezTo>
                  <a:pt x="103" y="266"/>
                  <a:pt x="104" y="262"/>
                  <a:pt x="104" y="259"/>
                </a:cubicBezTo>
                <a:cubicBezTo>
                  <a:pt x="104" y="255"/>
                  <a:pt x="103" y="252"/>
                  <a:pt x="100" y="249"/>
                </a:cubicBezTo>
                <a:cubicBezTo>
                  <a:pt x="70" y="220"/>
                  <a:pt x="70" y="220"/>
                  <a:pt x="70" y="220"/>
                </a:cubicBezTo>
                <a:cubicBezTo>
                  <a:pt x="53" y="204"/>
                  <a:pt x="38" y="188"/>
                  <a:pt x="32" y="183"/>
                </a:cubicBezTo>
                <a:cubicBezTo>
                  <a:pt x="31" y="181"/>
                  <a:pt x="30" y="180"/>
                  <a:pt x="29" y="179"/>
                </a:cubicBezTo>
                <a:cubicBezTo>
                  <a:pt x="29" y="179"/>
                  <a:pt x="110" y="167"/>
                  <a:pt x="110" y="167"/>
                </a:cubicBezTo>
                <a:cubicBezTo>
                  <a:pt x="150" y="161"/>
                  <a:pt x="150" y="161"/>
                  <a:pt x="150" y="161"/>
                </a:cubicBezTo>
                <a:cubicBezTo>
                  <a:pt x="162" y="159"/>
                  <a:pt x="172" y="152"/>
                  <a:pt x="177" y="142"/>
                </a:cubicBezTo>
                <a:cubicBezTo>
                  <a:pt x="232" y="31"/>
                  <a:pt x="232" y="31"/>
                  <a:pt x="232" y="31"/>
                </a:cubicBezTo>
                <a:cubicBezTo>
                  <a:pt x="232" y="30"/>
                  <a:pt x="232" y="29"/>
                  <a:pt x="233" y="29"/>
                </a:cubicBezTo>
                <a:cubicBezTo>
                  <a:pt x="233" y="29"/>
                  <a:pt x="234" y="30"/>
                  <a:pt x="234" y="31"/>
                </a:cubicBezTo>
                <a:cubicBezTo>
                  <a:pt x="243" y="48"/>
                  <a:pt x="284" y="133"/>
                  <a:pt x="289" y="143"/>
                </a:cubicBezTo>
                <a:cubicBezTo>
                  <a:pt x="294" y="152"/>
                  <a:pt x="303" y="159"/>
                  <a:pt x="314" y="161"/>
                </a:cubicBezTo>
                <a:cubicBezTo>
                  <a:pt x="382" y="171"/>
                  <a:pt x="423" y="177"/>
                  <a:pt x="435" y="178"/>
                </a:cubicBezTo>
                <a:cubicBezTo>
                  <a:pt x="436" y="179"/>
                  <a:pt x="437" y="179"/>
                  <a:pt x="437" y="179"/>
                </a:cubicBezTo>
                <a:cubicBezTo>
                  <a:pt x="437" y="180"/>
                  <a:pt x="436" y="180"/>
                  <a:pt x="435" y="181"/>
                </a:cubicBezTo>
                <a:cubicBezTo>
                  <a:pt x="429" y="188"/>
                  <a:pt x="399" y="217"/>
                  <a:pt x="347" y="268"/>
                </a:cubicBezTo>
                <a:cubicBezTo>
                  <a:pt x="341" y="274"/>
                  <a:pt x="338" y="282"/>
                  <a:pt x="338" y="290"/>
                </a:cubicBezTo>
                <a:cubicBezTo>
                  <a:pt x="338" y="291"/>
                  <a:pt x="338" y="293"/>
                  <a:pt x="339" y="294"/>
                </a:cubicBezTo>
                <a:cubicBezTo>
                  <a:pt x="339" y="294"/>
                  <a:pt x="360" y="415"/>
                  <a:pt x="360" y="415"/>
                </a:cubicBezTo>
                <a:cubicBezTo>
                  <a:pt x="360" y="416"/>
                  <a:pt x="360" y="417"/>
                  <a:pt x="360" y="417"/>
                </a:cubicBezTo>
                <a:cubicBezTo>
                  <a:pt x="360" y="419"/>
                  <a:pt x="360" y="419"/>
                  <a:pt x="359" y="420"/>
                </a:cubicBezTo>
                <a:cubicBezTo>
                  <a:pt x="359" y="420"/>
                  <a:pt x="357" y="419"/>
                  <a:pt x="355" y="418"/>
                </a:cubicBezTo>
                <a:cubicBezTo>
                  <a:pt x="346" y="414"/>
                  <a:pt x="309" y="395"/>
                  <a:pt x="249" y="363"/>
                </a:cubicBezTo>
                <a:cubicBezTo>
                  <a:pt x="239" y="358"/>
                  <a:pt x="227" y="358"/>
                  <a:pt x="217" y="363"/>
                </a:cubicBezTo>
                <a:cubicBezTo>
                  <a:pt x="157" y="395"/>
                  <a:pt x="117" y="415"/>
                  <a:pt x="110" y="418"/>
                </a:cubicBezTo>
                <a:cubicBezTo>
                  <a:pt x="108" y="419"/>
                  <a:pt x="106" y="420"/>
                  <a:pt x="105" y="420"/>
                </a:cubicBezTo>
                <a:cubicBezTo>
                  <a:pt x="105" y="420"/>
                  <a:pt x="105" y="420"/>
                  <a:pt x="105" y="420"/>
                </a:cubicBezTo>
                <a:cubicBezTo>
                  <a:pt x="105" y="419"/>
                  <a:pt x="105" y="418"/>
                  <a:pt x="106" y="417"/>
                </a:cubicBezTo>
                <a:cubicBezTo>
                  <a:pt x="122" y="324"/>
                  <a:pt x="122" y="324"/>
                  <a:pt x="122" y="324"/>
                </a:cubicBezTo>
                <a:cubicBezTo>
                  <a:pt x="122" y="323"/>
                  <a:pt x="122" y="323"/>
                  <a:pt x="122" y="322"/>
                </a:cubicBezTo>
                <a:cubicBezTo>
                  <a:pt x="122" y="315"/>
                  <a:pt x="117" y="310"/>
                  <a:pt x="111" y="309"/>
                </a:cubicBezTo>
                <a:cubicBezTo>
                  <a:pt x="104" y="307"/>
                  <a:pt x="97" y="312"/>
                  <a:pt x="96" y="320"/>
                </a:cubicBezTo>
                <a:cubicBezTo>
                  <a:pt x="79" y="412"/>
                  <a:pt x="79" y="412"/>
                  <a:pt x="79" y="412"/>
                </a:cubicBezTo>
                <a:cubicBezTo>
                  <a:pt x="76" y="429"/>
                  <a:pt x="84" y="438"/>
                  <a:pt x="88" y="442"/>
                </a:cubicBezTo>
                <a:cubicBezTo>
                  <a:pt x="97" y="448"/>
                  <a:pt x="109" y="448"/>
                  <a:pt x="122" y="443"/>
                </a:cubicBezTo>
                <a:cubicBezTo>
                  <a:pt x="131" y="438"/>
                  <a:pt x="193" y="406"/>
                  <a:pt x="229" y="387"/>
                </a:cubicBezTo>
                <a:cubicBezTo>
                  <a:pt x="231" y="385"/>
                  <a:pt x="234" y="385"/>
                  <a:pt x="237" y="387"/>
                </a:cubicBezTo>
                <a:cubicBezTo>
                  <a:pt x="279" y="409"/>
                  <a:pt x="332" y="437"/>
                  <a:pt x="344" y="443"/>
                </a:cubicBezTo>
                <a:cubicBezTo>
                  <a:pt x="356" y="448"/>
                  <a:pt x="367" y="447"/>
                  <a:pt x="376" y="441"/>
                </a:cubicBezTo>
                <a:cubicBezTo>
                  <a:pt x="384" y="435"/>
                  <a:pt x="388" y="423"/>
                  <a:pt x="386" y="410"/>
                </a:cubicBezTo>
                <a:cubicBezTo>
                  <a:pt x="386" y="410"/>
                  <a:pt x="365" y="290"/>
                  <a:pt x="365" y="290"/>
                </a:cubicBezTo>
                <a:cubicBezTo>
                  <a:pt x="365" y="289"/>
                  <a:pt x="365" y="288"/>
                  <a:pt x="366" y="287"/>
                </a:cubicBezTo>
                <a:cubicBezTo>
                  <a:pt x="418" y="236"/>
                  <a:pt x="448" y="207"/>
                  <a:pt x="454" y="200"/>
                </a:cubicBezTo>
                <a:cubicBezTo>
                  <a:pt x="463" y="191"/>
                  <a:pt x="467" y="180"/>
                  <a:pt x="463" y="170"/>
                </a:cubicBezTo>
                <a:cubicBezTo>
                  <a:pt x="460" y="160"/>
                  <a:pt x="451" y="154"/>
                  <a:pt x="438" y="152"/>
                </a:cubicBezTo>
                <a:cubicBezTo>
                  <a:pt x="430" y="151"/>
                  <a:pt x="403" y="147"/>
                  <a:pt x="318" y="134"/>
                </a:cubicBezTo>
                <a:cubicBezTo>
                  <a:pt x="316" y="134"/>
                  <a:pt x="314" y="133"/>
                  <a:pt x="313" y="131"/>
                </a:cubicBezTo>
                <a:cubicBezTo>
                  <a:pt x="308" y="121"/>
                  <a:pt x="267" y="37"/>
                  <a:pt x="258" y="19"/>
                </a:cubicBezTo>
                <a:cubicBezTo>
                  <a:pt x="249" y="2"/>
                  <a:pt x="238" y="0"/>
                  <a:pt x="233" y="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5" name="Freeform 341"/>
          <p:cNvSpPr>
            <a:spLocks/>
          </p:cNvSpPr>
          <p:nvPr userDrawn="1"/>
        </p:nvSpPr>
        <p:spPr bwMode="auto">
          <a:xfrm>
            <a:off x="1911846" y="2788785"/>
            <a:ext cx="385863" cy="327422"/>
          </a:xfrm>
          <a:custGeom>
            <a:avLst/>
            <a:gdLst/>
            <a:ahLst/>
            <a:cxnLst>
              <a:cxn ang="0">
                <a:pos x="228" y="14"/>
              </a:cxn>
              <a:cxn ang="0">
                <a:pos x="124" y="0"/>
              </a:cxn>
              <a:cxn ang="0">
                <a:pos x="0" y="54"/>
              </a:cxn>
              <a:cxn ang="0">
                <a:pos x="1" y="56"/>
              </a:cxn>
              <a:cxn ang="0">
                <a:pos x="14" y="160"/>
              </a:cxn>
              <a:cxn ang="0">
                <a:pos x="1" y="265"/>
              </a:cxn>
              <a:cxn ang="0">
                <a:pos x="16" y="373"/>
              </a:cxn>
              <a:cxn ang="0">
                <a:pos x="124" y="388"/>
              </a:cxn>
              <a:cxn ang="0">
                <a:pos x="228" y="375"/>
              </a:cxn>
              <a:cxn ang="0">
                <a:pos x="333" y="388"/>
              </a:cxn>
              <a:cxn ang="0">
                <a:pos x="456" y="335"/>
              </a:cxn>
              <a:cxn ang="0">
                <a:pos x="443" y="230"/>
              </a:cxn>
              <a:cxn ang="0">
                <a:pos x="456" y="126"/>
              </a:cxn>
              <a:cxn ang="0">
                <a:pos x="429" y="9"/>
              </a:cxn>
              <a:cxn ang="0">
                <a:pos x="411" y="27"/>
              </a:cxn>
              <a:cxn ang="0">
                <a:pos x="429" y="56"/>
              </a:cxn>
              <a:cxn ang="0">
                <a:pos x="409" y="91"/>
              </a:cxn>
              <a:cxn ang="0">
                <a:pos x="416" y="149"/>
              </a:cxn>
              <a:cxn ang="0">
                <a:pos x="416" y="172"/>
              </a:cxn>
              <a:cxn ang="0">
                <a:pos x="409" y="230"/>
              </a:cxn>
              <a:cxn ang="0">
                <a:pos x="429" y="265"/>
              </a:cxn>
              <a:cxn ang="0">
                <a:pos x="411" y="294"/>
              </a:cxn>
              <a:cxn ang="0">
                <a:pos x="418" y="312"/>
              </a:cxn>
              <a:cxn ang="0">
                <a:pos x="379" y="348"/>
              </a:cxn>
              <a:cxn ang="0">
                <a:pos x="333" y="361"/>
              </a:cxn>
              <a:cxn ang="0">
                <a:pos x="286" y="348"/>
              </a:cxn>
              <a:cxn ang="0">
                <a:pos x="228" y="341"/>
              </a:cxn>
              <a:cxn ang="0">
                <a:pos x="170" y="348"/>
              </a:cxn>
              <a:cxn ang="0">
                <a:pos x="124" y="361"/>
              </a:cxn>
              <a:cxn ang="0">
                <a:pos x="95" y="343"/>
              </a:cxn>
              <a:cxn ang="0">
                <a:pos x="54" y="362"/>
              </a:cxn>
              <a:cxn ang="0">
                <a:pos x="41" y="311"/>
              </a:cxn>
              <a:cxn ang="0">
                <a:pos x="41" y="288"/>
              </a:cxn>
              <a:cxn ang="0">
                <a:pos x="47" y="230"/>
              </a:cxn>
              <a:cxn ang="0">
                <a:pos x="27" y="195"/>
              </a:cxn>
              <a:cxn ang="0">
                <a:pos x="47" y="160"/>
              </a:cxn>
              <a:cxn ang="0">
                <a:pos x="41" y="102"/>
              </a:cxn>
              <a:cxn ang="0">
                <a:pos x="41" y="79"/>
              </a:cxn>
              <a:cxn ang="0">
                <a:pos x="27" y="54"/>
              </a:cxn>
              <a:cxn ang="0">
                <a:pos x="89" y="47"/>
              </a:cxn>
              <a:cxn ang="0">
                <a:pos x="147" y="41"/>
              </a:cxn>
              <a:cxn ang="0">
                <a:pos x="194" y="27"/>
              </a:cxn>
              <a:cxn ang="0">
                <a:pos x="240" y="41"/>
              </a:cxn>
              <a:cxn ang="0">
                <a:pos x="298" y="47"/>
              </a:cxn>
              <a:cxn ang="0">
                <a:pos x="347" y="14"/>
              </a:cxn>
            </a:cxnLst>
            <a:rect l="0" t="0" r="r" b="b"/>
            <a:pathLst>
              <a:path w="456" h="388">
                <a:moveTo>
                  <a:pt x="298" y="14"/>
                </a:moveTo>
                <a:cubicBezTo>
                  <a:pt x="289" y="5"/>
                  <a:pt x="276" y="0"/>
                  <a:pt x="263" y="0"/>
                </a:cubicBezTo>
                <a:cubicBezTo>
                  <a:pt x="250" y="0"/>
                  <a:pt x="238" y="5"/>
                  <a:pt x="228" y="14"/>
                </a:cubicBezTo>
                <a:cubicBezTo>
                  <a:pt x="219" y="5"/>
                  <a:pt x="207" y="0"/>
                  <a:pt x="194" y="0"/>
                </a:cubicBezTo>
                <a:cubicBezTo>
                  <a:pt x="181" y="0"/>
                  <a:pt x="168" y="5"/>
                  <a:pt x="159" y="14"/>
                </a:cubicBezTo>
                <a:cubicBezTo>
                  <a:pt x="149" y="5"/>
                  <a:pt x="137" y="0"/>
                  <a:pt x="124" y="0"/>
                </a:cubicBezTo>
                <a:cubicBezTo>
                  <a:pt x="111" y="0"/>
                  <a:pt x="98" y="5"/>
                  <a:pt x="89" y="14"/>
                </a:cubicBezTo>
                <a:cubicBezTo>
                  <a:pt x="79" y="5"/>
                  <a:pt x="67" y="0"/>
                  <a:pt x="54" y="0"/>
                </a:cubicBezTo>
                <a:cubicBezTo>
                  <a:pt x="24" y="0"/>
                  <a:pt x="0" y="24"/>
                  <a:pt x="0" y="54"/>
                </a:cubicBezTo>
                <a:cubicBezTo>
                  <a:pt x="0" y="54"/>
                  <a:pt x="0" y="55"/>
                  <a:pt x="0" y="55"/>
                </a:cubicBezTo>
                <a:cubicBezTo>
                  <a:pt x="1" y="57"/>
                  <a:pt x="1" y="57"/>
                  <a:pt x="1" y="57"/>
                </a:cubicBezTo>
                <a:cubicBezTo>
                  <a:pt x="1" y="57"/>
                  <a:pt x="1" y="56"/>
                  <a:pt x="1" y="56"/>
                </a:cubicBezTo>
                <a:cubicBezTo>
                  <a:pt x="1" y="69"/>
                  <a:pt x="5" y="81"/>
                  <a:pt x="14" y="90"/>
                </a:cubicBezTo>
                <a:cubicBezTo>
                  <a:pt x="5" y="100"/>
                  <a:pt x="1" y="112"/>
                  <a:pt x="1" y="125"/>
                </a:cubicBezTo>
                <a:cubicBezTo>
                  <a:pt x="1" y="138"/>
                  <a:pt x="5" y="151"/>
                  <a:pt x="14" y="160"/>
                </a:cubicBezTo>
                <a:cubicBezTo>
                  <a:pt x="5" y="170"/>
                  <a:pt x="1" y="182"/>
                  <a:pt x="1" y="195"/>
                </a:cubicBezTo>
                <a:cubicBezTo>
                  <a:pt x="1" y="208"/>
                  <a:pt x="5" y="220"/>
                  <a:pt x="14" y="230"/>
                </a:cubicBezTo>
                <a:cubicBezTo>
                  <a:pt x="5" y="240"/>
                  <a:pt x="1" y="252"/>
                  <a:pt x="1" y="265"/>
                </a:cubicBezTo>
                <a:cubicBezTo>
                  <a:pt x="1" y="278"/>
                  <a:pt x="5" y="290"/>
                  <a:pt x="14" y="300"/>
                </a:cubicBezTo>
                <a:cubicBezTo>
                  <a:pt x="5" y="309"/>
                  <a:pt x="1" y="322"/>
                  <a:pt x="1" y="335"/>
                </a:cubicBezTo>
                <a:cubicBezTo>
                  <a:pt x="1" y="349"/>
                  <a:pt x="6" y="362"/>
                  <a:pt x="16" y="373"/>
                </a:cubicBezTo>
                <a:cubicBezTo>
                  <a:pt x="26" y="383"/>
                  <a:pt x="40" y="388"/>
                  <a:pt x="54" y="388"/>
                </a:cubicBezTo>
                <a:cubicBezTo>
                  <a:pt x="67" y="388"/>
                  <a:pt x="79" y="383"/>
                  <a:pt x="89" y="375"/>
                </a:cubicBezTo>
                <a:cubicBezTo>
                  <a:pt x="99" y="383"/>
                  <a:pt x="111" y="388"/>
                  <a:pt x="124" y="388"/>
                </a:cubicBezTo>
                <a:cubicBezTo>
                  <a:pt x="137" y="388"/>
                  <a:pt x="149" y="383"/>
                  <a:pt x="158" y="375"/>
                </a:cubicBezTo>
                <a:cubicBezTo>
                  <a:pt x="168" y="383"/>
                  <a:pt x="180" y="388"/>
                  <a:pt x="193" y="388"/>
                </a:cubicBezTo>
                <a:cubicBezTo>
                  <a:pt x="206" y="388"/>
                  <a:pt x="219" y="383"/>
                  <a:pt x="228" y="375"/>
                </a:cubicBezTo>
                <a:cubicBezTo>
                  <a:pt x="238" y="383"/>
                  <a:pt x="250" y="388"/>
                  <a:pt x="263" y="388"/>
                </a:cubicBezTo>
                <a:cubicBezTo>
                  <a:pt x="276" y="388"/>
                  <a:pt x="288" y="383"/>
                  <a:pt x="298" y="375"/>
                </a:cubicBezTo>
                <a:cubicBezTo>
                  <a:pt x="308" y="383"/>
                  <a:pt x="320" y="388"/>
                  <a:pt x="333" y="388"/>
                </a:cubicBezTo>
                <a:cubicBezTo>
                  <a:pt x="346" y="388"/>
                  <a:pt x="358" y="383"/>
                  <a:pt x="368" y="375"/>
                </a:cubicBezTo>
                <a:cubicBezTo>
                  <a:pt x="377" y="383"/>
                  <a:pt x="390" y="388"/>
                  <a:pt x="403" y="388"/>
                </a:cubicBezTo>
                <a:cubicBezTo>
                  <a:pt x="432" y="388"/>
                  <a:pt x="456" y="364"/>
                  <a:pt x="456" y="335"/>
                </a:cubicBezTo>
                <a:cubicBezTo>
                  <a:pt x="456" y="322"/>
                  <a:pt x="451" y="309"/>
                  <a:pt x="443" y="300"/>
                </a:cubicBezTo>
                <a:cubicBezTo>
                  <a:pt x="451" y="290"/>
                  <a:pt x="456" y="278"/>
                  <a:pt x="456" y="265"/>
                </a:cubicBezTo>
                <a:cubicBezTo>
                  <a:pt x="456" y="252"/>
                  <a:pt x="451" y="240"/>
                  <a:pt x="443" y="230"/>
                </a:cubicBezTo>
                <a:cubicBezTo>
                  <a:pt x="451" y="221"/>
                  <a:pt x="456" y="208"/>
                  <a:pt x="456" y="195"/>
                </a:cubicBezTo>
                <a:cubicBezTo>
                  <a:pt x="456" y="182"/>
                  <a:pt x="451" y="170"/>
                  <a:pt x="443" y="161"/>
                </a:cubicBezTo>
                <a:cubicBezTo>
                  <a:pt x="451" y="151"/>
                  <a:pt x="456" y="139"/>
                  <a:pt x="456" y="126"/>
                </a:cubicBezTo>
                <a:cubicBezTo>
                  <a:pt x="456" y="113"/>
                  <a:pt x="451" y="100"/>
                  <a:pt x="443" y="91"/>
                </a:cubicBezTo>
                <a:cubicBezTo>
                  <a:pt x="451" y="81"/>
                  <a:pt x="456" y="69"/>
                  <a:pt x="456" y="56"/>
                </a:cubicBezTo>
                <a:cubicBezTo>
                  <a:pt x="456" y="37"/>
                  <a:pt x="446" y="19"/>
                  <a:pt x="429" y="9"/>
                </a:cubicBezTo>
                <a:cubicBezTo>
                  <a:pt x="424" y="6"/>
                  <a:pt x="418" y="7"/>
                  <a:pt x="413" y="11"/>
                </a:cubicBezTo>
                <a:cubicBezTo>
                  <a:pt x="411" y="14"/>
                  <a:pt x="409" y="17"/>
                  <a:pt x="409" y="21"/>
                </a:cubicBezTo>
                <a:cubicBezTo>
                  <a:pt x="409" y="23"/>
                  <a:pt x="410" y="25"/>
                  <a:pt x="411" y="27"/>
                </a:cubicBezTo>
                <a:cubicBezTo>
                  <a:pt x="411" y="28"/>
                  <a:pt x="411" y="28"/>
                  <a:pt x="411" y="28"/>
                </a:cubicBezTo>
                <a:cubicBezTo>
                  <a:pt x="412" y="30"/>
                  <a:pt x="415" y="32"/>
                  <a:pt x="417" y="33"/>
                </a:cubicBezTo>
                <a:cubicBezTo>
                  <a:pt x="425" y="38"/>
                  <a:pt x="429" y="47"/>
                  <a:pt x="429" y="56"/>
                </a:cubicBezTo>
                <a:cubicBezTo>
                  <a:pt x="429" y="65"/>
                  <a:pt x="424" y="74"/>
                  <a:pt x="416" y="79"/>
                </a:cubicBezTo>
                <a:cubicBezTo>
                  <a:pt x="412" y="81"/>
                  <a:pt x="409" y="86"/>
                  <a:pt x="409" y="91"/>
                </a:cubicBezTo>
                <a:cubicBezTo>
                  <a:pt x="409" y="91"/>
                  <a:pt x="409" y="91"/>
                  <a:pt x="409" y="91"/>
                </a:cubicBezTo>
                <a:cubicBezTo>
                  <a:pt x="409" y="95"/>
                  <a:pt x="412" y="100"/>
                  <a:pt x="416" y="102"/>
                </a:cubicBezTo>
                <a:cubicBezTo>
                  <a:pt x="424" y="107"/>
                  <a:pt x="429" y="116"/>
                  <a:pt x="429" y="126"/>
                </a:cubicBezTo>
                <a:cubicBezTo>
                  <a:pt x="429" y="135"/>
                  <a:pt x="424" y="144"/>
                  <a:pt x="416" y="149"/>
                </a:cubicBezTo>
                <a:cubicBezTo>
                  <a:pt x="412" y="151"/>
                  <a:pt x="409" y="156"/>
                  <a:pt x="409" y="161"/>
                </a:cubicBezTo>
                <a:cubicBezTo>
                  <a:pt x="409" y="161"/>
                  <a:pt x="409" y="161"/>
                  <a:pt x="409" y="161"/>
                </a:cubicBezTo>
                <a:cubicBezTo>
                  <a:pt x="409" y="165"/>
                  <a:pt x="412" y="170"/>
                  <a:pt x="416" y="172"/>
                </a:cubicBezTo>
                <a:cubicBezTo>
                  <a:pt x="424" y="177"/>
                  <a:pt x="429" y="186"/>
                  <a:pt x="429" y="195"/>
                </a:cubicBezTo>
                <a:cubicBezTo>
                  <a:pt x="429" y="205"/>
                  <a:pt x="424" y="214"/>
                  <a:pt x="416" y="219"/>
                </a:cubicBezTo>
                <a:cubicBezTo>
                  <a:pt x="412" y="221"/>
                  <a:pt x="409" y="225"/>
                  <a:pt x="409" y="230"/>
                </a:cubicBezTo>
                <a:cubicBezTo>
                  <a:pt x="409" y="230"/>
                  <a:pt x="409" y="230"/>
                  <a:pt x="409" y="230"/>
                </a:cubicBezTo>
                <a:cubicBezTo>
                  <a:pt x="409" y="235"/>
                  <a:pt x="412" y="239"/>
                  <a:pt x="416" y="242"/>
                </a:cubicBezTo>
                <a:cubicBezTo>
                  <a:pt x="424" y="247"/>
                  <a:pt x="429" y="256"/>
                  <a:pt x="429" y="265"/>
                </a:cubicBezTo>
                <a:cubicBezTo>
                  <a:pt x="429" y="274"/>
                  <a:pt x="425" y="283"/>
                  <a:pt x="417" y="288"/>
                </a:cubicBezTo>
                <a:cubicBezTo>
                  <a:pt x="414" y="289"/>
                  <a:pt x="412" y="291"/>
                  <a:pt x="411" y="294"/>
                </a:cubicBezTo>
                <a:cubicBezTo>
                  <a:pt x="411" y="294"/>
                  <a:pt x="411" y="294"/>
                  <a:pt x="411" y="294"/>
                </a:cubicBezTo>
                <a:cubicBezTo>
                  <a:pt x="410" y="296"/>
                  <a:pt x="409" y="298"/>
                  <a:pt x="409" y="300"/>
                </a:cubicBezTo>
                <a:cubicBezTo>
                  <a:pt x="409" y="304"/>
                  <a:pt x="411" y="307"/>
                  <a:pt x="413" y="310"/>
                </a:cubicBezTo>
                <a:cubicBezTo>
                  <a:pt x="415" y="311"/>
                  <a:pt x="416" y="312"/>
                  <a:pt x="418" y="312"/>
                </a:cubicBezTo>
                <a:cubicBezTo>
                  <a:pt x="425" y="317"/>
                  <a:pt x="430" y="326"/>
                  <a:pt x="430" y="335"/>
                </a:cubicBezTo>
                <a:cubicBezTo>
                  <a:pt x="430" y="349"/>
                  <a:pt x="418" y="361"/>
                  <a:pt x="403" y="361"/>
                </a:cubicBezTo>
                <a:cubicBezTo>
                  <a:pt x="393" y="361"/>
                  <a:pt x="384" y="356"/>
                  <a:pt x="379" y="348"/>
                </a:cubicBezTo>
                <a:cubicBezTo>
                  <a:pt x="377" y="344"/>
                  <a:pt x="373" y="341"/>
                  <a:pt x="368" y="341"/>
                </a:cubicBezTo>
                <a:cubicBezTo>
                  <a:pt x="363" y="341"/>
                  <a:pt x="359" y="344"/>
                  <a:pt x="356" y="348"/>
                </a:cubicBezTo>
                <a:cubicBezTo>
                  <a:pt x="351" y="356"/>
                  <a:pt x="342" y="361"/>
                  <a:pt x="333" y="361"/>
                </a:cubicBezTo>
                <a:cubicBezTo>
                  <a:pt x="323" y="361"/>
                  <a:pt x="314" y="356"/>
                  <a:pt x="310" y="348"/>
                </a:cubicBezTo>
                <a:cubicBezTo>
                  <a:pt x="307" y="344"/>
                  <a:pt x="303" y="341"/>
                  <a:pt x="298" y="341"/>
                </a:cubicBezTo>
                <a:cubicBezTo>
                  <a:pt x="293" y="341"/>
                  <a:pt x="289" y="344"/>
                  <a:pt x="286" y="348"/>
                </a:cubicBezTo>
                <a:cubicBezTo>
                  <a:pt x="282" y="356"/>
                  <a:pt x="273" y="361"/>
                  <a:pt x="263" y="361"/>
                </a:cubicBezTo>
                <a:cubicBezTo>
                  <a:pt x="254" y="361"/>
                  <a:pt x="245" y="356"/>
                  <a:pt x="240" y="348"/>
                </a:cubicBezTo>
                <a:cubicBezTo>
                  <a:pt x="237" y="344"/>
                  <a:pt x="233" y="341"/>
                  <a:pt x="228" y="341"/>
                </a:cubicBezTo>
                <a:cubicBezTo>
                  <a:pt x="223" y="341"/>
                  <a:pt x="219" y="344"/>
                  <a:pt x="217" y="348"/>
                </a:cubicBezTo>
                <a:cubicBezTo>
                  <a:pt x="212" y="356"/>
                  <a:pt x="203" y="361"/>
                  <a:pt x="193" y="361"/>
                </a:cubicBezTo>
                <a:cubicBezTo>
                  <a:pt x="184" y="361"/>
                  <a:pt x="175" y="356"/>
                  <a:pt x="170" y="348"/>
                </a:cubicBezTo>
                <a:cubicBezTo>
                  <a:pt x="168" y="344"/>
                  <a:pt x="163" y="341"/>
                  <a:pt x="158" y="341"/>
                </a:cubicBezTo>
                <a:cubicBezTo>
                  <a:pt x="154" y="341"/>
                  <a:pt x="149" y="344"/>
                  <a:pt x="147" y="348"/>
                </a:cubicBezTo>
                <a:cubicBezTo>
                  <a:pt x="142" y="356"/>
                  <a:pt x="133" y="361"/>
                  <a:pt x="124" y="361"/>
                </a:cubicBezTo>
                <a:cubicBezTo>
                  <a:pt x="114" y="361"/>
                  <a:pt x="106" y="357"/>
                  <a:pt x="101" y="349"/>
                </a:cubicBezTo>
                <a:cubicBezTo>
                  <a:pt x="100" y="347"/>
                  <a:pt x="98" y="344"/>
                  <a:pt x="95" y="343"/>
                </a:cubicBezTo>
                <a:cubicBezTo>
                  <a:pt x="95" y="343"/>
                  <a:pt x="95" y="343"/>
                  <a:pt x="95" y="343"/>
                </a:cubicBezTo>
                <a:cubicBezTo>
                  <a:pt x="90" y="340"/>
                  <a:pt x="83" y="341"/>
                  <a:pt x="79" y="345"/>
                </a:cubicBezTo>
                <a:cubicBezTo>
                  <a:pt x="78" y="347"/>
                  <a:pt x="77" y="348"/>
                  <a:pt x="76" y="350"/>
                </a:cubicBezTo>
                <a:cubicBezTo>
                  <a:pt x="71" y="357"/>
                  <a:pt x="63" y="362"/>
                  <a:pt x="54" y="362"/>
                </a:cubicBezTo>
                <a:cubicBezTo>
                  <a:pt x="47" y="362"/>
                  <a:pt x="40" y="359"/>
                  <a:pt x="35" y="354"/>
                </a:cubicBezTo>
                <a:cubicBezTo>
                  <a:pt x="30" y="349"/>
                  <a:pt x="27" y="342"/>
                  <a:pt x="27" y="335"/>
                </a:cubicBezTo>
                <a:cubicBezTo>
                  <a:pt x="27" y="325"/>
                  <a:pt x="32" y="316"/>
                  <a:pt x="41" y="311"/>
                </a:cubicBezTo>
                <a:cubicBezTo>
                  <a:pt x="45" y="309"/>
                  <a:pt x="47" y="305"/>
                  <a:pt x="47" y="300"/>
                </a:cubicBezTo>
                <a:cubicBezTo>
                  <a:pt x="47" y="300"/>
                  <a:pt x="47" y="300"/>
                  <a:pt x="47" y="300"/>
                </a:cubicBezTo>
                <a:cubicBezTo>
                  <a:pt x="47" y="295"/>
                  <a:pt x="45" y="291"/>
                  <a:pt x="41" y="288"/>
                </a:cubicBezTo>
                <a:cubicBezTo>
                  <a:pt x="32" y="283"/>
                  <a:pt x="27" y="275"/>
                  <a:pt x="27" y="265"/>
                </a:cubicBezTo>
                <a:cubicBezTo>
                  <a:pt x="27" y="255"/>
                  <a:pt x="32" y="246"/>
                  <a:pt x="41" y="242"/>
                </a:cubicBezTo>
                <a:cubicBezTo>
                  <a:pt x="45" y="239"/>
                  <a:pt x="47" y="235"/>
                  <a:pt x="47" y="230"/>
                </a:cubicBezTo>
                <a:cubicBezTo>
                  <a:pt x="47" y="230"/>
                  <a:pt x="47" y="230"/>
                  <a:pt x="47" y="230"/>
                </a:cubicBezTo>
                <a:cubicBezTo>
                  <a:pt x="47" y="225"/>
                  <a:pt x="45" y="221"/>
                  <a:pt x="41" y="218"/>
                </a:cubicBezTo>
                <a:cubicBezTo>
                  <a:pt x="32" y="214"/>
                  <a:pt x="27" y="205"/>
                  <a:pt x="27" y="195"/>
                </a:cubicBezTo>
                <a:cubicBezTo>
                  <a:pt x="27" y="186"/>
                  <a:pt x="32" y="177"/>
                  <a:pt x="41" y="172"/>
                </a:cubicBezTo>
                <a:cubicBezTo>
                  <a:pt x="45" y="169"/>
                  <a:pt x="47" y="165"/>
                  <a:pt x="47" y="160"/>
                </a:cubicBezTo>
                <a:cubicBezTo>
                  <a:pt x="47" y="160"/>
                  <a:pt x="47" y="160"/>
                  <a:pt x="47" y="160"/>
                </a:cubicBezTo>
                <a:cubicBezTo>
                  <a:pt x="47" y="155"/>
                  <a:pt x="45" y="151"/>
                  <a:pt x="41" y="149"/>
                </a:cubicBezTo>
                <a:cubicBezTo>
                  <a:pt x="32" y="144"/>
                  <a:pt x="27" y="135"/>
                  <a:pt x="27" y="125"/>
                </a:cubicBezTo>
                <a:cubicBezTo>
                  <a:pt x="27" y="116"/>
                  <a:pt x="32" y="107"/>
                  <a:pt x="41" y="102"/>
                </a:cubicBezTo>
                <a:cubicBezTo>
                  <a:pt x="45" y="100"/>
                  <a:pt x="47" y="95"/>
                  <a:pt x="47" y="91"/>
                </a:cubicBezTo>
                <a:cubicBezTo>
                  <a:pt x="47" y="91"/>
                  <a:pt x="47" y="90"/>
                  <a:pt x="47" y="90"/>
                </a:cubicBezTo>
                <a:cubicBezTo>
                  <a:pt x="47" y="86"/>
                  <a:pt x="45" y="81"/>
                  <a:pt x="41" y="79"/>
                </a:cubicBezTo>
                <a:cubicBezTo>
                  <a:pt x="32" y="74"/>
                  <a:pt x="27" y="65"/>
                  <a:pt x="27" y="56"/>
                </a:cubicBezTo>
                <a:cubicBezTo>
                  <a:pt x="27" y="55"/>
                  <a:pt x="27" y="55"/>
                  <a:pt x="27" y="54"/>
                </a:cubicBezTo>
                <a:cubicBezTo>
                  <a:pt x="27" y="54"/>
                  <a:pt x="27" y="54"/>
                  <a:pt x="27" y="54"/>
                </a:cubicBezTo>
                <a:cubicBezTo>
                  <a:pt x="27" y="39"/>
                  <a:pt x="39" y="27"/>
                  <a:pt x="54" y="27"/>
                </a:cubicBezTo>
                <a:cubicBezTo>
                  <a:pt x="64" y="27"/>
                  <a:pt x="72" y="32"/>
                  <a:pt x="77" y="41"/>
                </a:cubicBezTo>
                <a:cubicBezTo>
                  <a:pt x="80" y="45"/>
                  <a:pt x="84" y="47"/>
                  <a:pt x="89" y="47"/>
                </a:cubicBezTo>
                <a:cubicBezTo>
                  <a:pt x="94" y="47"/>
                  <a:pt x="98" y="45"/>
                  <a:pt x="100" y="41"/>
                </a:cubicBezTo>
                <a:cubicBezTo>
                  <a:pt x="105" y="32"/>
                  <a:pt x="114" y="27"/>
                  <a:pt x="124" y="27"/>
                </a:cubicBezTo>
                <a:cubicBezTo>
                  <a:pt x="133" y="27"/>
                  <a:pt x="142" y="32"/>
                  <a:pt x="147" y="41"/>
                </a:cubicBezTo>
                <a:cubicBezTo>
                  <a:pt x="149" y="45"/>
                  <a:pt x="154" y="47"/>
                  <a:pt x="159" y="47"/>
                </a:cubicBezTo>
                <a:cubicBezTo>
                  <a:pt x="163" y="47"/>
                  <a:pt x="168" y="45"/>
                  <a:pt x="170" y="41"/>
                </a:cubicBezTo>
                <a:cubicBezTo>
                  <a:pt x="175" y="32"/>
                  <a:pt x="184" y="27"/>
                  <a:pt x="194" y="27"/>
                </a:cubicBezTo>
                <a:cubicBezTo>
                  <a:pt x="203" y="27"/>
                  <a:pt x="212" y="32"/>
                  <a:pt x="217" y="41"/>
                </a:cubicBezTo>
                <a:cubicBezTo>
                  <a:pt x="219" y="45"/>
                  <a:pt x="224" y="47"/>
                  <a:pt x="228" y="47"/>
                </a:cubicBezTo>
                <a:cubicBezTo>
                  <a:pt x="233" y="47"/>
                  <a:pt x="238" y="45"/>
                  <a:pt x="240" y="41"/>
                </a:cubicBezTo>
                <a:cubicBezTo>
                  <a:pt x="245" y="32"/>
                  <a:pt x="254" y="27"/>
                  <a:pt x="263" y="27"/>
                </a:cubicBezTo>
                <a:cubicBezTo>
                  <a:pt x="273" y="27"/>
                  <a:pt x="282" y="32"/>
                  <a:pt x="287" y="41"/>
                </a:cubicBezTo>
                <a:cubicBezTo>
                  <a:pt x="289" y="45"/>
                  <a:pt x="293" y="47"/>
                  <a:pt x="298" y="47"/>
                </a:cubicBezTo>
                <a:cubicBezTo>
                  <a:pt x="303" y="47"/>
                  <a:pt x="307" y="45"/>
                  <a:pt x="310" y="41"/>
                </a:cubicBezTo>
                <a:cubicBezTo>
                  <a:pt x="315" y="32"/>
                  <a:pt x="324" y="27"/>
                  <a:pt x="333" y="27"/>
                </a:cubicBezTo>
                <a:cubicBezTo>
                  <a:pt x="341" y="27"/>
                  <a:pt x="347" y="21"/>
                  <a:pt x="347" y="14"/>
                </a:cubicBezTo>
                <a:cubicBezTo>
                  <a:pt x="347" y="6"/>
                  <a:pt x="341" y="0"/>
                  <a:pt x="333" y="0"/>
                </a:cubicBezTo>
                <a:cubicBezTo>
                  <a:pt x="320" y="0"/>
                  <a:pt x="308" y="5"/>
                  <a:pt x="298" y="1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6" name="Freeform 155"/>
          <p:cNvSpPr>
            <a:spLocks/>
          </p:cNvSpPr>
          <p:nvPr userDrawn="1"/>
        </p:nvSpPr>
        <p:spPr bwMode="auto">
          <a:xfrm>
            <a:off x="2400096" y="892673"/>
            <a:ext cx="328698" cy="347663"/>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7" name="Freeform 238"/>
          <p:cNvSpPr>
            <a:spLocks/>
          </p:cNvSpPr>
          <p:nvPr userDrawn="1"/>
        </p:nvSpPr>
        <p:spPr bwMode="auto">
          <a:xfrm>
            <a:off x="2366750" y="3317297"/>
            <a:ext cx="395390" cy="357187"/>
          </a:xfrm>
          <a:custGeom>
            <a:avLst/>
            <a:gdLst/>
            <a:ahLst/>
            <a:cxnLst>
              <a:cxn ang="0">
                <a:pos x="162" y="286"/>
              </a:cxn>
              <a:cxn ang="0">
                <a:pos x="162" y="268"/>
              </a:cxn>
              <a:cxn ang="0">
                <a:pos x="181" y="48"/>
              </a:cxn>
              <a:cxn ang="0">
                <a:pos x="177" y="118"/>
              </a:cxn>
              <a:cxn ang="0">
                <a:pos x="168" y="122"/>
              </a:cxn>
              <a:cxn ang="0">
                <a:pos x="27" y="122"/>
              </a:cxn>
              <a:cxn ang="0">
                <a:pos x="168" y="171"/>
              </a:cxn>
              <a:cxn ang="0">
                <a:pos x="182" y="184"/>
              </a:cxn>
              <a:cxn ang="0">
                <a:pos x="168" y="198"/>
              </a:cxn>
              <a:cxn ang="0">
                <a:pos x="13" y="198"/>
              </a:cxn>
              <a:cxn ang="0">
                <a:pos x="4" y="194"/>
              </a:cxn>
              <a:cxn ang="0">
                <a:pos x="0" y="184"/>
              </a:cxn>
              <a:cxn ang="0">
                <a:pos x="4" y="100"/>
              </a:cxn>
              <a:cxn ang="0">
                <a:pos x="13" y="96"/>
              </a:cxn>
              <a:cxn ang="0">
                <a:pos x="155" y="96"/>
              </a:cxn>
              <a:cxn ang="0">
                <a:pos x="163" y="2"/>
              </a:cxn>
              <a:cxn ang="0">
                <a:pos x="178" y="6"/>
              </a:cxn>
              <a:cxn ang="0">
                <a:pos x="304" y="138"/>
              </a:cxn>
              <a:cxn ang="0">
                <a:pos x="304" y="156"/>
              </a:cxn>
              <a:cxn ang="0">
                <a:pos x="286" y="376"/>
              </a:cxn>
              <a:cxn ang="0">
                <a:pos x="289" y="305"/>
              </a:cxn>
              <a:cxn ang="0">
                <a:pos x="299" y="301"/>
              </a:cxn>
              <a:cxn ang="0">
                <a:pos x="440" y="301"/>
              </a:cxn>
              <a:cxn ang="0">
                <a:pos x="298" y="252"/>
              </a:cxn>
              <a:cxn ang="0">
                <a:pos x="285" y="239"/>
              </a:cxn>
              <a:cxn ang="0">
                <a:pos x="298" y="226"/>
              </a:cxn>
              <a:cxn ang="0">
                <a:pos x="463" y="229"/>
              </a:cxn>
              <a:cxn ang="0">
                <a:pos x="467" y="239"/>
              </a:cxn>
              <a:cxn ang="0">
                <a:pos x="467" y="314"/>
              </a:cxn>
              <a:cxn ang="0">
                <a:pos x="463" y="324"/>
              </a:cxn>
              <a:cxn ang="0">
                <a:pos x="453" y="328"/>
              </a:cxn>
              <a:cxn ang="0">
                <a:pos x="312" y="409"/>
              </a:cxn>
              <a:cxn ang="0">
                <a:pos x="304" y="421"/>
              </a:cxn>
              <a:cxn ang="0">
                <a:pos x="299" y="422"/>
              </a:cxn>
            </a:cxnLst>
            <a:rect l="0" t="0" r="r" b="b"/>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8" name="Freeform 284"/>
          <p:cNvSpPr>
            <a:spLocks/>
          </p:cNvSpPr>
          <p:nvPr userDrawn="1"/>
        </p:nvSpPr>
        <p:spPr bwMode="auto">
          <a:xfrm>
            <a:off x="2447734" y="1346525"/>
            <a:ext cx="233423" cy="313134"/>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9" name="Freeform 288"/>
          <p:cNvSpPr>
            <a:spLocks/>
          </p:cNvSpPr>
          <p:nvPr userDrawn="1"/>
        </p:nvSpPr>
        <p:spPr bwMode="auto">
          <a:xfrm>
            <a:off x="2389973" y="1815866"/>
            <a:ext cx="348944" cy="330993"/>
          </a:xfrm>
          <a:custGeom>
            <a:avLst/>
            <a:gdLst/>
            <a:ahLst/>
            <a:cxnLst>
              <a:cxn ang="0">
                <a:pos x="387" y="147"/>
              </a:cxn>
              <a:cxn ang="0">
                <a:pos x="334" y="107"/>
              </a:cxn>
              <a:cxn ang="0">
                <a:pos x="354" y="73"/>
              </a:cxn>
              <a:cxn ang="0">
                <a:pos x="306" y="26"/>
              </a:cxn>
              <a:cxn ang="0">
                <a:pos x="256" y="11"/>
              </a:cxn>
              <a:cxn ang="0">
                <a:pos x="240" y="38"/>
              </a:cxn>
              <a:cxn ang="0">
                <a:pos x="213" y="40"/>
              </a:cxn>
              <a:cxn ang="0">
                <a:pos x="181" y="29"/>
              </a:cxn>
              <a:cxn ang="0">
                <a:pos x="167" y="3"/>
              </a:cxn>
              <a:cxn ang="0">
                <a:pos x="70" y="49"/>
              </a:cxn>
              <a:cxn ang="0">
                <a:pos x="86" y="91"/>
              </a:cxn>
              <a:cxn ang="0">
                <a:pos x="26" y="129"/>
              </a:cxn>
              <a:cxn ang="0">
                <a:pos x="11" y="138"/>
              </a:cxn>
              <a:cxn ang="0">
                <a:pos x="13" y="246"/>
              </a:cxn>
              <a:cxn ang="0">
                <a:pos x="53" y="247"/>
              </a:cxn>
              <a:cxn ang="0">
                <a:pos x="56" y="320"/>
              </a:cxn>
              <a:cxn ang="0">
                <a:pos x="94" y="367"/>
              </a:cxn>
              <a:cxn ang="0">
                <a:pos x="157" y="383"/>
              </a:cxn>
              <a:cxn ang="0">
                <a:pos x="223" y="356"/>
              </a:cxn>
              <a:cxn ang="0">
                <a:pos x="238" y="332"/>
              </a:cxn>
              <a:cxn ang="0">
                <a:pos x="185" y="219"/>
              </a:cxn>
              <a:cxn ang="0">
                <a:pos x="143" y="123"/>
              </a:cxn>
              <a:cxn ang="0">
                <a:pos x="188" y="180"/>
              </a:cxn>
              <a:cxn ang="0">
                <a:pos x="221" y="177"/>
              </a:cxn>
              <a:cxn ang="0">
                <a:pos x="275" y="185"/>
              </a:cxn>
              <a:cxn ang="0">
                <a:pos x="292" y="228"/>
              </a:cxn>
              <a:cxn ang="0">
                <a:pos x="301" y="311"/>
              </a:cxn>
              <a:cxn ang="0">
                <a:pos x="236" y="384"/>
              </a:cxn>
              <a:cxn ang="0">
                <a:pos x="331" y="351"/>
              </a:cxn>
              <a:cxn ang="0">
                <a:pos x="327" y="273"/>
              </a:cxn>
              <a:cxn ang="0">
                <a:pos x="308" y="197"/>
              </a:cxn>
              <a:cxn ang="0">
                <a:pos x="253" y="151"/>
              </a:cxn>
              <a:cxn ang="0">
                <a:pos x="205" y="155"/>
              </a:cxn>
              <a:cxn ang="0">
                <a:pos x="141" y="94"/>
              </a:cxn>
              <a:cxn ang="0">
                <a:pos x="118" y="136"/>
              </a:cxn>
              <a:cxn ang="0">
                <a:pos x="160" y="309"/>
              </a:cxn>
              <a:cxn ang="0">
                <a:pos x="176" y="327"/>
              </a:cxn>
              <a:cxn ang="0">
                <a:pos x="139" y="361"/>
              </a:cxn>
              <a:cxn ang="0">
                <a:pos x="83" y="327"/>
              </a:cxn>
              <a:cxn ang="0">
                <a:pos x="104" y="284"/>
              </a:cxn>
              <a:cxn ang="0">
                <a:pos x="76" y="229"/>
              </a:cxn>
              <a:cxn ang="0">
                <a:pos x="31" y="222"/>
              </a:cxn>
              <a:cxn ang="0">
                <a:pos x="78" y="154"/>
              </a:cxn>
              <a:cxn ang="0">
                <a:pos x="107" y="108"/>
              </a:cxn>
              <a:cxn ang="0">
                <a:pos x="109" y="77"/>
              </a:cxn>
              <a:cxn ang="0">
                <a:pos x="152" y="29"/>
              </a:cxn>
              <a:cxn ang="0">
                <a:pos x="163" y="54"/>
              </a:cxn>
              <a:cxn ang="0">
                <a:pos x="188" y="67"/>
              </a:cxn>
              <a:cxn ang="0">
                <a:pos x="241" y="73"/>
              </a:cxn>
              <a:cxn ang="0">
                <a:pos x="263" y="51"/>
              </a:cxn>
              <a:cxn ang="0">
                <a:pos x="289" y="47"/>
              </a:cxn>
              <a:cxn ang="0">
                <a:pos x="324" y="75"/>
              </a:cxn>
              <a:cxn ang="0">
                <a:pos x="311" y="121"/>
              </a:cxn>
              <a:cxn ang="0">
                <a:pos x="334" y="169"/>
              </a:cxn>
              <a:cxn ang="0">
                <a:pos x="373" y="245"/>
              </a:cxn>
              <a:cxn ang="0">
                <a:pos x="395" y="261"/>
              </a:cxn>
            </a:cxnLst>
            <a:rect l="0" t="0" r="r" b="b"/>
            <a:pathLst>
              <a:path w="413" h="391">
                <a:moveTo>
                  <a:pt x="401" y="155"/>
                </a:moveTo>
                <a:cubicBezTo>
                  <a:pt x="400" y="152"/>
                  <a:pt x="398" y="150"/>
                  <a:pt x="396" y="149"/>
                </a:cubicBezTo>
                <a:cubicBezTo>
                  <a:pt x="393" y="147"/>
                  <a:pt x="390" y="146"/>
                  <a:pt x="387" y="147"/>
                </a:cubicBezTo>
                <a:cubicBezTo>
                  <a:pt x="356" y="150"/>
                  <a:pt x="356" y="150"/>
                  <a:pt x="356" y="150"/>
                </a:cubicBezTo>
                <a:cubicBezTo>
                  <a:pt x="354" y="145"/>
                  <a:pt x="351" y="138"/>
                  <a:pt x="347" y="131"/>
                </a:cubicBezTo>
                <a:cubicBezTo>
                  <a:pt x="343" y="121"/>
                  <a:pt x="338" y="113"/>
                  <a:pt x="334" y="107"/>
                </a:cubicBezTo>
                <a:cubicBezTo>
                  <a:pt x="351" y="83"/>
                  <a:pt x="351" y="83"/>
                  <a:pt x="351" y="83"/>
                </a:cubicBezTo>
                <a:cubicBezTo>
                  <a:pt x="351" y="83"/>
                  <a:pt x="351" y="83"/>
                  <a:pt x="352" y="83"/>
                </a:cubicBezTo>
                <a:cubicBezTo>
                  <a:pt x="353" y="80"/>
                  <a:pt x="354" y="76"/>
                  <a:pt x="354" y="73"/>
                </a:cubicBezTo>
                <a:cubicBezTo>
                  <a:pt x="354" y="73"/>
                  <a:pt x="354" y="73"/>
                  <a:pt x="354" y="73"/>
                </a:cubicBezTo>
                <a:cubicBezTo>
                  <a:pt x="353" y="67"/>
                  <a:pt x="350" y="61"/>
                  <a:pt x="335" y="48"/>
                </a:cubicBezTo>
                <a:cubicBezTo>
                  <a:pt x="326" y="40"/>
                  <a:pt x="315" y="33"/>
                  <a:pt x="306" y="26"/>
                </a:cubicBezTo>
                <a:cubicBezTo>
                  <a:pt x="305" y="26"/>
                  <a:pt x="304" y="25"/>
                  <a:pt x="303" y="25"/>
                </a:cubicBezTo>
                <a:cubicBezTo>
                  <a:pt x="282" y="11"/>
                  <a:pt x="268" y="7"/>
                  <a:pt x="256" y="11"/>
                </a:cubicBezTo>
                <a:cubicBezTo>
                  <a:pt x="256" y="11"/>
                  <a:pt x="256" y="11"/>
                  <a:pt x="256" y="11"/>
                </a:cubicBezTo>
                <a:cubicBezTo>
                  <a:pt x="255" y="11"/>
                  <a:pt x="254" y="12"/>
                  <a:pt x="253" y="13"/>
                </a:cubicBezTo>
                <a:cubicBezTo>
                  <a:pt x="251" y="14"/>
                  <a:pt x="249" y="16"/>
                  <a:pt x="248" y="17"/>
                </a:cubicBezTo>
                <a:cubicBezTo>
                  <a:pt x="247" y="20"/>
                  <a:pt x="245" y="25"/>
                  <a:pt x="240" y="38"/>
                </a:cubicBezTo>
                <a:cubicBezTo>
                  <a:pt x="238" y="41"/>
                  <a:pt x="238" y="41"/>
                  <a:pt x="238" y="41"/>
                </a:cubicBezTo>
                <a:cubicBezTo>
                  <a:pt x="238" y="42"/>
                  <a:pt x="238" y="43"/>
                  <a:pt x="237" y="44"/>
                </a:cubicBezTo>
                <a:cubicBezTo>
                  <a:pt x="231" y="42"/>
                  <a:pt x="222" y="41"/>
                  <a:pt x="213" y="40"/>
                </a:cubicBezTo>
                <a:cubicBezTo>
                  <a:pt x="203" y="40"/>
                  <a:pt x="194" y="40"/>
                  <a:pt x="187" y="40"/>
                </a:cubicBezTo>
                <a:cubicBezTo>
                  <a:pt x="185" y="38"/>
                  <a:pt x="184" y="34"/>
                  <a:pt x="182" y="30"/>
                </a:cubicBezTo>
                <a:cubicBezTo>
                  <a:pt x="181" y="29"/>
                  <a:pt x="181" y="29"/>
                  <a:pt x="181" y="29"/>
                </a:cubicBezTo>
                <a:cubicBezTo>
                  <a:pt x="178" y="23"/>
                  <a:pt x="174" y="14"/>
                  <a:pt x="172" y="10"/>
                </a:cubicBezTo>
                <a:cubicBezTo>
                  <a:pt x="171" y="8"/>
                  <a:pt x="170" y="5"/>
                  <a:pt x="167" y="4"/>
                </a:cubicBezTo>
                <a:cubicBezTo>
                  <a:pt x="167" y="4"/>
                  <a:pt x="167" y="4"/>
                  <a:pt x="167" y="3"/>
                </a:cubicBezTo>
                <a:cubicBezTo>
                  <a:pt x="165" y="2"/>
                  <a:pt x="163" y="1"/>
                  <a:pt x="160" y="1"/>
                </a:cubicBezTo>
                <a:cubicBezTo>
                  <a:pt x="147" y="0"/>
                  <a:pt x="120" y="13"/>
                  <a:pt x="112" y="17"/>
                </a:cubicBezTo>
                <a:cubicBezTo>
                  <a:pt x="90" y="28"/>
                  <a:pt x="76" y="39"/>
                  <a:pt x="70" y="49"/>
                </a:cubicBezTo>
                <a:cubicBezTo>
                  <a:pt x="69" y="50"/>
                  <a:pt x="68" y="51"/>
                  <a:pt x="67" y="53"/>
                </a:cubicBezTo>
                <a:cubicBezTo>
                  <a:pt x="65" y="57"/>
                  <a:pt x="66" y="62"/>
                  <a:pt x="69" y="67"/>
                </a:cubicBezTo>
                <a:cubicBezTo>
                  <a:pt x="75" y="77"/>
                  <a:pt x="80" y="84"/>
                  <a:pt x="86" y="91"/>
                </a:cubicBezTo>
                <a:cubicBezTo>
                  <a:pt x="80" y="98"/>
                  <a:pt x="73" y="107"/>
                  <a:pt x="68" y="116"/>
                </a:cubicBezTo>
                <a:cubicBezTo>
                  <a:pt x="63" y="122"/>
                  <a:pt x="60" y="129"/>
                  <a:pt x="57" y="134"/>
                </a:cubicBezTo>
                <a:cubicBezTo>
                  <a:pt x="26" y="129"/>
                  <a:pt x="26" y="129"/>
                  <a:pt x="26" y="129"/>
                </a:cubicBezTo>
                <a:cubicBezTo>
                  <a:pt x="21" y="128"/>
                  <a:pt x="15" y="131"/>
                  <a:pt x="12" y="135"/>
                </a:cubicBezTo>
                <a:cubicBezTo>
                  <a:pt x="12" y="136"/>
                  <a:pt x="12" y="136"/>
                  <a:pt x="12" y="136"/>
                </a:cubicBezTo>
                <a:cubicBezTo>
                  <a:pt x="11" y="137"/>
                  <a:pt x="11" y="137"/>
                  <a:pt x="11" y="138"/>
                </a:cubicBezTo>
                <a:cubicBezTo>
                  <a:pt x="10" y="138"/>
                  <a:pt x="10" y="138"/>
                  <a:pt x="10" y="139"/>
                </a:cubicBezTo>
                <a:cubicBezTo>
                  <a:pt x="6" y="150"/>
                  <a:pt x="0" y="215"/>
                  <a:pt x="7" y="238"/>
                </a:cubicBezTo>
                <a:cubicBezTo>
                  <a:pt x="8" y="241"/>
                  <a:pt x="10" y="244"/>
                  <a:pt x="13" y="246"/>
                </a:cubicBezTo>
                <a:cubicBezTo>
                  <a:pt x="15" y="248"/>
                  <a:pt x="18" y="249"/>
                  <a:pt x="20" y="249"/>
                </a:cubicBezTo>
                <a:cubicBezTo>
                  <a:pt x="21" y="249"/>
                  <a:pt x="21" y="249"/>
                  <a:pt x="21" y="249"/>
                </a:cubicBezTo>
                <a:cubicBezTo>
                  <a:pt x="29" y="249"/>
                  <a:pt x="42" y="248"/>
                  <a:pt x="53" y="247"/>
                </a:cubicBezTo>
                <a:cubicBezTo>
                  <a:pt x="58" y="261"/>
                  <a:pt x="68" y="280"/>
                  <a:pt x="76" y="292"/>
                </a:cubicBezTo>
                <a:cubicBezTo>
                  <a:pt x="67" y="304"/>
                  <a:pt x="56" y="320"/>
                  <a:pt x="56" y="320"/>
                </a:cubicBezTo>
                <a:cubicBezTo>
                  <a:pt x="56" y="320"/>
                  <a:pt x="56" y="320"/>
                  <a:pt x="56" y="320"/>
                </a:cubicBezTo>
                <a:cubicBezTo>
                  <a:pt x="53" y="324"/>
                  <a:pt x="53" y="329"/>
                  <a:pt x="55" y="333"/>
                </a:cubicBezTo>
                <a:cubicBezTo>
                  <a:pt x="58" y="341"/>
                  <a:pt x="68" y="351"/>
                  <a:pt x="86" y="363"/>
                </a:cubicBezTo>
                <a:cubicBezTo>
                  <a:pt x="89" y="364"/>
                  <a:pt x="91" y="366"/>
                  <a:pt x="94" y="367"/>
                </a:cubicBezTo>
                <a:cubicBezTo>
                  <a:pt x="103" y="373"/>
                  <a:pt x="127" y="387"/>
                  <a:pt x="143" y="389"/>
                </a:cubicBezTo>
                <a:cubicBezTo>
                  <a:pt x="144" y="390"/>
                  <a:pt x="144" y="390"/>
                  <a:pt x="145" y="390"/>
                </a:cubicBezTo>
                <a:cubicBezTo>
                  <a:pt x="150" y="390"/>
                  <a:pt x="155" y="387"/>
                  <a:pt x="157" y="383"/>
                </a:cubicBezTo>
                <a:cubicBezTo>
                  <a:pt x="158" y="383"/>
                  <a:pt x="158" y="382"/>
                  <a:pt x="158" y="381"/>
                </a:cubicBezTo>
                <a:cubicBezTo>
                  <a:pt x="172" y="354"/>
                  <a:pt x="172" y="354"/>
                  <a:pt x="172" y="354"/>
                </a:cubicBezTo>
                <a:cubicBezTo>
                  <a:pt x="190" y="358"/>
                  <a:pt x="209" y="357"/>
                  <a:pt x="223" y="356"/>
                </a:cubicBezTo>
                <a:cubicBezTo>
                  <a:pt x="229" y="356"/>
                  <a:pt x="229" y="356"/>
                  <a:pt x="229" y="356"/>
                </a:cubicBezTo>
                <a:cubicBezTo>
                  <a:pt x="234" y="356"/>
                  <a:pt x="238" y="354"/>
                  <a:pt x="241" y="350"/>
                </a:cubicBezTo>
                <a:cubicBezTo>
                  <a:pt x="245" y="344"/>
                  <a:pt x="244" y="336"/>
                  <a:pt x="238" y="332"/>
                </a:cubicBezTo>
                <a:cubicBezTo>
                  <a:pt x="181" y="292"/>
                  <a:pt x="181" y="292"/>
                  <a:pt x="181" y="292"/>
                </a:cubicBezTo>
                <a:cubicBezTo>
                  <a:pt x="178" y="287"/>
                  <a:pt x="170" y="270"/>
                  <a:pt x="176" y="252"/>
                </a:cubicBezTo>
                <a:cubicBezTo>
                  <a:pt x="179" y="241"/>
                  <a:pt x="182" y="230"/>
                  <a:pt x="185" y="219"/>
                </a:cubicBezTo>
                <a:cubicBezTo>
                  <a:pt x="186" y="216"/>
                  <a:pt x="186" y="212"/>
                  <a:pt x="184" y="209"/>
                </a:cubicBezTo>
                <a:cubicBezTo>
                  <a:pt x="142" y="125"/>
                  <a:pt x="142" y="125"/>
                  <a:pt x="142" y="125"/>
                </a:cubicBezTo>
                <a:cubicBezTo>
                  <a:pt x="142" y="124"/>
                  <a:pt x="142" y="123"/>
                  <a:pt x="143" y="123"/>
                </a:cubicBezTo>
                <a:cubicBezTo>
                  <a:pt x="153" y="118"/>
                  <a:pt x="153" y="118"/>
                  <a:pt x="153" y="118"/>
                </a:cubicBezTo>
                <a:cubicBezTo>
                  <a:pt x="155" y="117"/>
                  <a:pt x="156" y="117"/>
                  <a:pt x="157" y="117"/>
                </a:cubicBezTo>
                <a:cubicBezTo>
                  <a:pt x="188" y="180"/>
                  <a:pt x="188" y="180"/>
                  <a:pt x="188" y="180"/>
                </a:cubicBezTo>
                <a:cubicBezTo>
                  <a:pt x="190" y="184"/>
                  <a:pt x="193" y="187"/>
                  <a:pt x="197" y="187"/>
                </a:cubicBezTo>
                <a:cubicBezTo>
                  <a:pt x="201" y="188"/>
                  <a:pt x="205" y="187"/>
                  <a:pt x="208" y="185"/>
                </a:cubicBezTo>
                <a:cubicBezTo>
                  <a:pt x="215" y="179"/>
                  <a:pt x="220" y="178"/>
                  <a:pt x="221" y="177"/>
                </a:cubicBezTo>
                <a:cubicBezTo>
                  <a:pt x="234" y="183"/>
                  <a:pt x="242" y="180"/>
                  <a:pt x="247" y="178"/>
                </a:cubicBezTo>
                <a:cubicBezTo>
                  <a:pt x="247" y="178"/>
                  <a:pt x="248" y="177"/>
                  <a:pt x="249" y="177"/>
                </a:cubicBezTo>
                <a:cubicBezTo>
                  <a:pt x="257" y="179"/>
                  <a:pt x="271" y="183"/>
                  <a:pt x="275" y="185"/>
                </a:cubicBezTo>
                <a:cubicBezTo>
                  <a:pt x="276" y="186"/>
                  <a:pt x="276" y="188"/>
                  <a:pt x="280" y="197"/>
                </a:cubicBezTo>
                <a:cubicBezTo>
                  <a:pt x="280" y="200"/>
                  <a:pt x="281" y="202"/>
                  <a:pt x="282" y="206"/>
                </a:cubicBezTo>
                <a:cubicBezTo>
                  <a:pt x="285" y="213"/>
                  <a:pt x="289" y="221"/>
                  <a:pt x="292" y="228"/>
                </a:cubicBezTo>
                <a:cubicBezTo>
                  <a:pt x="297" y="238"/>
                  <a:pt x="302" y="248"/>
                  <a:pt x="302" y="256"/>
                </a:cubicBezTo>
                <a:cubicBezTo>
                  <a:pt x="302" y="260"/>
                  <a:pt x="301" y="265"/>
                  <a:pt x="300" y="271"/>
                </a:cubicBezTo>
                <a:cubicBezTo>
                  <a:pt x="299" y="283"/>
                  <a:pt x="298" y="297"/>
                  <a:pt x="301" y="311"/>
                </a:cubicBezTo>
                <a:cubicBezTo>
                  <a:pt x="303" y="319"/>
                  <a:pt x="306" y="327"/>
                  <a:pt x="308" y="333"/>
                </a:cubicBezTo>
                <a:cubicBezTo>
                  <a:pt x="242" y="366"/>
                  <a:pt x="242" y="366"/>
                  <a:pt x="242" y="366"/>
                </a:cubicBezTo>
                <a:cubicBezTo>
                  <a:pt x="235" y="369"/>
                  <a:pt x="233" y="377"/>
                  <a:pt x="236" y="384"/>
                </a:cubicBezTo>
                <a:cubicBezTo>
                  <a:pt x="238" y="388"/>
                  <a:pt x="243" y="391"/>
                  <a:pt x="248" y="391"/>
                </a:cubicBezTo>
                <a:cubicBezTo>
                  <a:pt x="250" y="391"/>
                  <a:pt x="252" y="390"/>
                  <a:pt x="254" y="389"/>
                </a:cubicBezTo>
                <a:cubicBezTo>
                  <a:pt x="331" y="351"/>
                  <a:pt x="331" y="351"/>
                  <a:pt x="331" y="351"/>
                </a:cubicBezTo>
                <a:cubicBezTo>
                  <a:pt x="337" y="348"/>
                  <a:pt x="340" y="340"/>
                  <a:pt x="337" y="334"/>
                </a:cubicBezTo>
                <a:cubicBezTo>
                  <a:pt x="337" y="333"/>
                  <a:pt x="331" y="321"/>
                  <a:pt x="327" y="305"/>
                </a:cubicBezTo>
                <a:cubicBezTo>
                  <a:pt x="325" y="295"/>
                  <a:pt x="326" y="284"/>
                  <a:pt x="327" y="273"/>
                </a:cubicBezTo>
                <a:cubicBezTo>
                  <a:pt x="328" y="267"/>
                  <a:pt x="328" y="261"/>
                  <a:pt x="328" y="255"/>
                </a:cubicBezTo>
                <a:cubicBezTo>
                  <a:pt x="328" y="243"/>
                  <a:pt x="322" y="230"/>
                  <a:pt x="316" y="216"/>
                </a:cubicBezTo>
                <a:cubicBezTo>
                  <a:pt x="313" y="210"/>
                  <a:pt x="310" y="203"/>
                  <a:pt x="308" y="197"/>
                </a:cubicBezTo>
                <a:cubicBezTo>
                  <a:pt x="306" y="193"/>
                  <a:pt x="305" y="191"/>
                  <a:pt x="305" y="188"/>
                </a:cubicBezTo>
                <a:cubicBezTo>
                  <a:pt x="300" y="175"/>
                  <a:pt x="299" y="172"/>
                  <a:pt x="294" y="167"/>
                </a:cubicBezTo>
                <a:cubicBezTo>
                  <a:pt x="285" y="157"/>
                  <a:pt x="253" y="151"/>
                  <a:pt x="253" y="151"/>
                </a:cubicBezTo>
                <a:cubicBezTo>
                  <a:pt x="246" y="150"/>
                  <a:pt x="241" y="152"/>
                  <a:pt x="237" y="153"/>
                </a:cubicBezTo>
                <a:cubicBezTo>
                  <a:pt x="235" y="154"/>
                  <a:pt x="235" y="154"/>
                  <a:pt x="233" y="153"/>
                </a:cubicBezTo>
                <a:cubicBezTo>
                  <a:pt x="225" y="149"/>
                  <a:pt x="216" y="150"/>
                  <a:pt x="205" y="155"/>
                </a:cubicBezTo>
                <a:cubicBezTo>
                  <a:pt x="180" y="105"/>
                  <a:pt x="180" y="105"/>
                  <a:pt x="180" y="105"/>
                </a:cubicBezTo>
                <a:cubicBezTo>
                  <a:pt x="177" y="98"/>
                  <a:pt x="170" y="93"/>
                  <a:pt x="162" y="91"/>
                </a:cubicBezTo>
                <a:cubicBezTo>
                  <a:pt x="155" y="90"/>
                  <a:pt x="148" y="91"/>
                  <a:pt x="141" y="94"/>
                </a:cubicBezTo>
                <a:cubicBezTo>
                  <a:pt x="131" y="99"/>
                  <a:pt x="131" y="99"/>
                  <a:pt x="131" y="99"/>
                </a:cubicBezTo>
                <a:cubicBezTo>
                  <a:pt x="125" y="102"/>
                  <a:pt x="119" y="108"/>
                  <a:pt x="117" y="115"/>
                </a:cubicBezTo>
                <a:cubicBezTo>
                  <a:pt x="114" y="122"/>
                  <a:pt x="114" y="130"/>
                  <a:pt x="118" y="136"/>
                </a:cubicBezTo>
                <a:cubicBezTo>
                  <a:pt x="158" y="217"/>
                  <a:pt x="158" y="217"/>
                  <a:pt x="158" y="217"/>
                </a:cubicBezTo>
                <a:cubicBezTo>
                  <a:pt x="155" y="226"/>
                  <a:pt x="152" y="235"/>
                  <a:pt x="150" y="245"/>
                </a:cubicBezTo>
                <a:cubicBezTo>
                  <a:pt x="140" y="279"/>
                  <a:pt x="160" y="308"/>
                  <a:pt x="160" y="309"/>
                </a:cubicBezTo>
                <a:cubicBezTo>
                  <a:pt x="161" y="310"/>
                  <a:pt x="162" y="312"/>
                  <a:pt x="164" y="312"/>
                </a:cubicBezTo>
                <a:cubicBezTo>
                  <a:pt x="188" y="329"/>
                  <a:pt x="188" y="329"/>
                  <a:pt x="188" y="329"/>
                </a:cubicBezTo>
                <a:cubicBezTo>
                  <a:pt x="184" y="329"/>
                  <a:pt x="180" y="328"/>
                  <a:pt x="176" y="327"/>
                </a:cubicBezTo>
                <a:cubicBezTo>
                  <a:pt x="168" y="325"/>
                  <a:pt x="168" y="325"/>
                  <a:pt x="168" y="325"/>
                </a:cubicBezTo>
                <a:cubicBezTo>
                  <a:pt x="162" y="324"/>
                  <a:pt x="156" y="327"/>
                  <a:pt x="153" y="332"/>
                </a:cubicBezTo>
                <a:cubicBezTo>
                  <a:pt x="139" y="361"/>
                  <a:pt x="139" y="361"/>
                  <a:pt x="139" y="361"/>
                </a:cubicBezTo>
                <a:cubicBezTo>
                  <a:pt x="131" y="357"/>
                  <a:pt x="119" y="351"/>
                  <a:pt x="107" y="344"/>
                </a:cubicBezTo>
                <a:cubicBezTo>
                  <a:pt x="105" y="343"/>
                  <a:pt x="103" y="342"/>
                  <a:pt x="101" y="340"/>
                </a:cubicBezTo>
                <a:cubicBezTo>
                  <a:pt x="92" y="334"/>
                  <a:pt x="87" y="330"/>
                  <a:pt x="83" y="327"/>
                </a:cubicBezTo>
                <a:cubicBezTo>
                  <a:pt x="88" y="321"/>
                  <a:pt x="94" y="313"/>
                  <a:pt x="99" y="306"/>
                </a:cubicBezTo>
                <a:cubicBezTo>
                  <a:pt x="104" y="300"/>
                  <a:pt x="104" y="300"/>
                  <a:pt x="104" y="300"/>
                </a:cubicBezTo>
                <a:cubicBezTo>
                  <a:pt x="107" y="295"/>
                  <a:pt x="107" y="289"/>
                  <a:pt x="104" y="284"/>
                </a:cubicBezTo>
                <a:cubicBezTo>
                  <a:pt x="99" y="278"/>
                  <a:pt x="99" y="278"/>
                  <a:pt x="99" y="278"/>
                </a:cubicBezTo>
                <a:cubicBezTo>
                  <a:pt x="91" y="267"/>
                  <a:pt x="82" y="249"/>
                  <a:pt x="78" y="237"/>
                </a:cubicBezTo>
                <a:cubicBezTo>
                  <a:pt x="76" y="229"/>
                  <a:pt x="76" y="229"/>
                  <a:pt x="76" y="229"/>
                </a:cubicBezTo>
                <a:cubicBezTo>
                  <a:pt x="74" y="223"/>
                  <a:pt x="68" y="219"/>
                  <a:pt x="62" y="219"/>
                </a:cubicBezTo>
                <a:cubicBezTo>
                  <a:pt x="54" y="220"/>
                  <a:pt x="54" y="220"/>
                  <a:pt x="54" y="220"/>
                </a:cubicBezTo>
                <a:cubicBezTo>
                  <a:pt x="47" y="220"/>
                  <a:pt x="38" y="221"/>
                  <a:pt x="31" y="222"/>
                </a:cubicBezTo>
                <a:cubicBezTo>
                  <a:pt x="30" y="204"/>
                  <a:pt x="32" y="174"/>
                  <a:pt x="34" y="157"/>
                </a:cubicBezTo>
                <a:cubicBezTo>
                  <a:pt x="64" y="162"/>
                  <a:pt x="64" y="162"/>
                  <a:pt x="64" y="162"/>
                </a:cubicBezTo>
                <a:cubicBezTo>
                  <a:pt x="70" y="163"/>
                  <a:pt x="76" y="160"/>
                  <a:pt x="78" y="154"/>
                </a:cubicBezTo>
                <a:cubicBezTo>
                  <a:pt x="81" y="146"/>
                  <a:pt x="81" y="146"/>
                  <a:pt x="81" y="146"/>
                </a:cubicBezTo>
                <a:cubicBezTo>
                  <a:pt x="83" y="142"/>
                  <a:pt x="86" y="136"/>
                  <a:pt x="90" y="130"/>
                </a:cubicBezTo>
                <a:cubicBezTo>
                  <a:pt x="95" y="122"/>
                  <a:pt x="102" y="114"/>
                  <a:pt x="107" y="108"/>
                </a:cubicBezTo>
                <a:cubicBezTo>
                  <a:pt x="114" y="101"/>
                  <a:pt x="114" y="101"/>
                  <a:pt x="114" y="101"/>
                </a:cubicBezTo>
                <a:cubicBezTo>
                  <a:pt x="118" y="97"/>
                  <a:pt x="119" y="89"/>
                  <a:pt x="114" y="84"/>
                </a:cubicBezTo>
                <a:cubicBezTo>
                  <a:pt x="109" y="77"/>
                  <a:pt x="109" y="77"/>
                  <a:pt x="109" y="77"/>
                </a:cubicBezTo>
                <a:cubicBezTo>
                  <a:pt x="104" y="71"/>
                  <a:pt x="100" y="66"/>
                  <a:pt x="96" y="59"/>
                </a:cubicBezTo>
                <a:cubicBezTo>
                  <a:pt x="101" y="55"/>
                  <a:pt x="110" y="48"/>
                  <a:pt x="124" y="41"/>
                </a:cubicBezTo>
                <a:cubicBezTo>
                  <a:pt x="136" y="35"/>
                  <a:pt x="146" y="31"/>
                  <a:pt x="152" y="29"/>
                </a:cubicBezTo>
                <a:cubicBezTo>
                  <a:pt x="153" y="33"/>
                  <a:pt x="155" y="37"/>
                  <a:pt x="157" y="41"/>
                </a:cubicBezTo>
                <a:cubicBezTo>
                  <a:pt x="157" y="41"/>
                  <a:pt x="157" y="41"/>
                  <a:pt x="157" y="41"/>
                </a:cubicBezTo>
                <a:cubicBezTo>
                  <a:pt x="160" y="47"/>
                  <a:pt x="162" y="51"/>
                  <a:pt x="163" y="54"/>
                </a:cubicBezTo>
                <a:cubicBezTo>
                  <a:pt x="167" y="61"/>
                  <a:pt x="167" y="61"/>
                  <a:pt x="167" y="61"/>
                </a:cubicBezTo>
                <a:cubicBezTo>
                  <a:pt x="169" y="66"/>
                  <a:pt x="175" y="69"/>
                  <a:pt x="180" y="68"/>
                </a:cubicBezTo>
                <a:cubicBezTo>
                  <a:pt x="188" y="67"/>
                  <a:pt x="188" y="67"/>
                  <a:pt x="188" y="67"/>
                </a:cubicBezTo>
                <a:cubicBezTo>
                  <a:pt x="194" y="66"/>
                  <a:pt x="202" y="66"/>
                  <a:pt x="211" y="67"/>
                </a:cubicBezTo>
                <a:cubicBezTo>
                  <a:pt x="220" y="68"/>
                  <a:pt x="227" y="69"/>
                  <a:pt x="233" y="70"/>
                </a:cubicBezTo>
                <a:cubicBezTo>
                  <a:pt x="241" y="73"/>
                  <a:pt x="241" y="73"/>
                  <a:pt x="241" y="73"/>
                </a:cubicBezTo>
                <a:cubicBezTo>
                  <a:pt x="248" y="75"/>
                  <a:pt x="255" y="71"/>
                  <a:pt x="257" y="65"/>
                </a:cubicBezTo>
                <a:cubicBezTo>
                  <a:pt x="261" y="56"/>
                  <a:pt x="261" y="56"/>
                  <a:pt x="261" y="56"/>
                </a:cubicBezTo>
                <a:cubicBezTo>
                  <a:pt x="262" y="55"/>
                  <a:pt x="262" y="53"/>
                  <a:pt x="263" y="51"/>
                </a:cubicBezTo>
                <a:cubicBezTo>
                  <a:pt x="264" y="48"/>
                  <a:pt x="264" y="48"/>
                  <a:pt x="264" y="48"/>
                </a:cubicBezTo>
                <a:cubicBezTo>
                  <a:pt x="266" y="44"/>
                  <a:pt x="268" y="40"/>
                  <a:pt x="269" y="37"/>
                </a:cubicBezTo>
                <a:cubicBezTo>
                  <a:pt x="273" y="38"/>
                  <a:pt x="279" y="41"/>
                  <a:pt x="289" y="47"/>
                </a:cubicBezTo>
                <a:cubicBezTo>
                  <a:pt x="290" y="48"/>
                  <a:pt x="291" y="48"/>
                  <a:pt x="291" y="49"/>
                </a:cubicBezTo>
                <a:cubicBezTo>
                  <a:pt x="300" y="54"/>
                  <a:pt x="309" y="61"/>
                  <a:pt x="317" y="68"/>
                </a:cubicBezTo>
                <a:cubicBezTo>
                  <a:pt x="320" y="71"/>
                  <a:pt x="323" y="73"/>
                  <a:pt x="324" y="75"/>
                </a:cubicBezTo>
                <a:cubicBezTo>
                  <a:pt x="307" y="99"/>
                  <a:pt x="307" y="99"/>
                  <a:pt x="307" y="99"/>
                </a:cubicBezTo>
                <a:cubicBezTo>
                  <a:pt x="304" y="104"/>
                  <a:pt x="304" y="110"/>
                  <a:pt x="307" y="115"/>
                </a:cubicBezTo>
                <a:cubicBezTo>
                  <a:pt x="311" y="121"/>
                  <a:pt x="311" y="121"/>
                  <a:pt x="311" y="121"/>
                </a:cubicBezTo>
                <a:cubicBezTo>
                  <a:pt x="314" y="124"/>
                  <a:pt x="318" y="130"/>
                  <a:pt x="323" y="142"/>
                </a:cubicBezTo>
                <a:cubicBezTo>
                  <a:pt x="327" y="150"/>
                  <a:pt x="330" y="156"/>
                  <a:pt x="331" y="161"/>
                </a:cubicBezTo>
                <a:cubicBezTo>
                  <a:pt x="334" y="169"/>
                  <a:pt x="334" y="169"/>
                  <a:pt x="334" y="169"/>
                </a:cubicBezTo>
                <a:cubicBezTo>
                  <a:pt x="336" y="175"/>
                  <a:pt x="342" y="179"/>
                  <a:pt x="348" y="178"/>
                </a:cubicBezTo>
                <a:cubicBezTo>
                  <a:pt x="379" y="174"/>
                  <a:pt x="379" y="174"/>
                  <a:pt x="379" y="174"/>
                </a:cubicBezTo>
                <a:cubicBezTo>
                  <a:pt x="381" y="191"/>
                  <a:pt x="383" y="224"/>
                  <a:pt x="373" y="245"/>
                </a:cubicBezTo>
                <a:cubicBezTo>
                  <a:pt x="371" y="247"/>
                  <a:pt x="370" y="250"/>
                  <a:pt x="369" y="253"/>
                </a:cubicBezTo>
                <a:cubicBezTo>
                  <a:pt x="368" y="260"/>
                  <a:pt x="374" y="267"/>
                  <a:pt x="381" y="268"/>
                </a:cubicBezTo>
                <a:cubicBezTo>
                  <a:pt x="386" y="268"/>
                  <a:pt x="392" y="266"/>
                  <a:pt x="395" y="261"/>
                </a:cubicBezTo>
                <a:cubicBezTo>
                  <a:pt x="395" y="261"/>
                  <a:pt x="395" y="260"/>
                  <a:pt x="395" y="260"/>
                </a:cubicBezTo>
                <a:cubicBezTo>
                  <a:pt x="413" y="227"/>
                  <a:pt x="407" y="167"/>
                  <a:pt x="401" y="15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0" name="Freeform 304"/>
          <p:cNvSpPr>
            <a:spLocks noEditPoints="1"/>
          </p:cNvSpPr>
          <p:nvPr userDrawn="1"/>
        </p:nvSpPr>
        <p:spPr bwMode="auto">
          <a:xfrm>
            <a:off x="2416174" y="2249173"/>
            <a:ext cx="296543" cy="373856"/>
          </a:xfrm>
          <a:custGeom>
            <a:avLst/>
            <a:gdLst/>
            <a:ahLst/>
            <a:cxnLst>
              <a:cxn ang="0">
                <a:pos x="144" y="17"/>
              </a:cxn>
              <a:cxn ang="0">
                <a:pos x="108" y="173"/>
              </a:cxn>
              <a:cxn ang="0">
                <a:pos x="89" y="249"/>
              </a:cxn>
              <a:cxn ang="0">
                <a:pos x="62" y="372"/>
              </a:cxn>
              <a:cxn ang="0">
                <a:pos x="0" y="385"/>
              </a:cxn>
              <a:cxn ang="0">
                <a:pos x="69" y="398"/>
              </a:cxn>
              <a:cxn ang="0">
                <a:pos x="139" y="309"/>
              </a:cxn>
              <a:cxn ang="0">
                <a:pos x="141" y="295"/>
              </a:cxn>
              <a:cxn ang="0">
                <a:pos x="110" y="223"/>
              </a:cxn>
              <a:cxn ang="0">
                <a:pos x="136" y="179"/>
              </a:cxn>
              <a:cxn ang="0">
                <a:pos x="130" y="131"/>
              </a:cxn>
              <a:cxn ang="0">
                <a:pos x="167" y="32"/>
              </a:cxn>
              <a:cxn ang="0">
                <a:pos x="238" y="131"/>
              </a:cxn>
              <a:cxn ang="0">
                <a:pos x="272" y="196"/>
              </a:cxn>
              <a:cxn ang="0">
                <a:pos x="271" y="209"/>
              </a:cxn>
              <a:cxn ang="0">
                <a:pos x="307" y="324"/>
              </a:cxn>
              <a:cxn ang="0">
                <a:pos x="170" y="265"/>
              </a:cxn>
              <a:cxn ang="0">
                <a:pos x="161" y="385"/>
              </a:cxn>
              <a:cxn ang="0">
                <a:pos x="240" y="398"/>
              </a:cxn>
              <a:cxn ang="0">
                <a:pos x="14" y="417"/>
              </a:cxn>
              <a:cxn ang="0">
                <a:pos x="14" y="444"/>
              </a:cxn>
              <a:cxn ang="0">
                <a:pos x="266" y="431"/>
              </a:cxn>
              <a:cxn ang="0">
                <a:pos x="253" y="372"/>
              </a:cxn>
              <a:cxn ang="0">
                <a:pos x="188" y="308"/>
              </a:cxn>
              <a:cxn ang="0">
                <a:pos x="325" y="348"/>
              </a:cxn>
              <a:cxn ang="0">
                <a:pos x="336" y="328"/>
              </a:cxn>
              <a:cxn ang="0">
                <a:pos x="332" y="145"/>
              </a:cxn>
              <a:cxn ang="0">
                <a:pos x="352" y="127"/>
              </a:cxn>
              <a:cxn ang="0">
                <a:pos x="334" y="114"/>
              </a:cxn>
              <a:cxn ang="0">
                <a:pos x="249" y="106"/>
              </a:cxn>
              <a:cxn ang="0">
                <a:pos x="157" y="4"/>
              </a:cxn>
              <a:cxn ang="0">
                <a:pos x="275" y="193"/>
              </a:cxn>
              <a:cxn ang="0">
                <a:pos x="274" y="195"/>
              </a:cxn>
              <a:cxn ang="0">
                <a:pos x="274" y="195"/>
              </a:cxn>
            </a:cxnLst>
            <a:rect l="0" t="0" r="r" b="b"/>
            <a:pathLst>
              <a:path w="352" h="444">
                <a:moveTo>
                  <a:pt x="157" y="4"/>
                </a:moveTo>
                <a:cubicBezTo>
                  <a:pt x="153" y="8"/>
                  <a:pt x="148" y="12"/>
                  <a:pt x="144" y="17"/>
                </a:cubicBezTo>
                <a:cubicBezTo>
                  <a:pt x="118" y="47"/>
                  <a:pt x="104" y="87"/>
                  <a:pt x="104" y="131"/>
                </a:cubicBezTo>
                <a:cubicBezTo>
                  <a:pt x="104" y="145"/>
                  <a:pt x="105" y="159"/>
                  <a:pt x="108" y="173"/>
                </a:cubicBezTo>
                <a:cubicBezTo>
                  <a:pt x="92" y="185"/>
                  <a:pt x="84" y="204"/>
                  <a:pt x="84" y="223"/>
                </a:cubicBezTo>
                <a:cubicBezTo>
                  <a:pt x="84" y="231"/>
                  <a:pt x="85" y="240"/>
                  <a:pt x="89" y="249"/>
                </a:cubicBezTo>
                <a:cubicBezTo>
                  <a:pt x="89" y="249"/>
                  <a:pt x="108" y="289"/>
                  <a:pt x="113" y="300"/>
                </a:cubicBezTo>
                <a:cubicBezTo>
                  <a:pt x="106" y="310"/>
                  <a:pt x="69" y="363"/>
                  <a:pt x="62" y="372"/>
                </a:cubicBezTo>
                <a:cubicBezTo>
                  <a:pt x="52" y="372"/>
                  <a:pt x="14" y="372"/>
                  <a:pt x="14" y="372"/>
                </a:cubicBezTo>
                <a:cubicBezTo>
                  <a:pt x="6" y="372"/>
                  <a:pt x="0" y="378"/>
                  <a:pt x="0" y="385"/>
                </a:cubicBezTo>
                <a:cubicBezTo>
                  <a:pt x="0" y="392"/>
                  <a:pt x="6" y="398"/>
                  <a:pt x="14" y="398"/>
                </a:cubicBezTo>
                <a:cubicBezTo>
                  <a:pt x="69" y="398"/>
                  <a:pt x="69" y="398"/>
                  <a:pt x="69" y="398"/>
                </a:cubicBezTo>
                <a:cubicBezTo>
                  <a:pt x="73" y="398"/>
                  <a:pt x="77" y="396"/>
                  <a:pt x="80" y="393"/>
                </a:cubicBezTo>
                <a:cubicBezTo>
                  <a:pt x="139" y="309"/>
                  <a:pt x="139" y="309"/>
                  <a:pt x="139" y="309"/>
                </a:cubicBezTo>
                <a:cubicBezTo>
                  <a:pt x="141" y="306"/>
                  <a:pt x="142" y="304"/>
                  <a:pt x="142" y="301"/>
                </a:cubicBezTo>
                <a:cubicBezTo>
                  <a:pt x="142" y="299"/>
                  <a:pt x="141" y="297"/>
                  <a:pt x="141" y="295"/>
                </a:cubicBezTo>
                <a:cubicBezTo>
                  <a:pt x="114" y="238"/>
                  <a:pt x="114" y="238"/>
                  <a:pt x="114" y="238"/>
                </a:cubicBezTo>
                <a:cubicBezTo>
                  <a:pt x="111" y="233"/>
                  <a:pt x="110" y="228"/>
                  <a:pt x="110" y="223"/>
                </a:cubicBezTo>
                <a:cubicBezTo>
                  <a:pt x="110" y="210"/>
                  <a:pt x="117" y="198"/>
                  <a:pt x="129" y="191"/>
                </a:cubicBezTo>
                <a:cubicBezTo>
                  <a:pt x="134" y="189"/>
                  <a:pt x="136" y="184"/>
                  <a:pt x="136" y="179"/>
                </a:cubicBezTo>
                <a:cubicBezTo>
                  <a:pt x="136" y="178"/>
                  <a:pt x="136" y="177"/>
                  <a:pt x="136" y="176"/>
                </a:cubicBezTo>
                <a:cubicBezTo>
                  <a:pt x="132" y="161"/>
                  <a:pt x="130" y="146"/>
                  <a:pt x="130" y="131"/>
                </a:cubicBezTo>
                <a:cubicBezTo>
                  <a:pt x="130" y="94"/>
                  <a:pt x="142" y="60"/>
                  <a:pt x="164" y="35"/>
                </a:cubicBezTo>
                <a:cubicBezTo>
                  <a:pt x="165" y="34"/>
                  <a:pt x="166" y="33"/>
                  <a:pt x="167" y="32"/>
                </a:cubicBezTo>
                <a:cubicBezTo>
                  <a:pt x="180" y="45"/>
                  <a:pt x="202" y="76"/>
                  <a:pt x="229" y="125"/>
                </a:cubicBezTo>
                <a:cubicBezTo>
                  <a:pt x="231" y="128"/>
                  <a:pt x="234" y="131"/>
                  <a:pt x="238" y="131"/>
                </a:cubicBezTo>
                <a:cubicBezTo>
                  <a:pt x="238" y="131"/>
                  <a:pt x="280" y="139"/>
                  <a:pt x="302" y="143"/>
                </a:cubicBezTo>
                <a:cubicBezTo>
                  <a:pt x="291" y="162"/>
                  <a:pt x="273" y="195"/>
                  <a:pt x="272" y="196"/>
                </a:cubicBezTo>
                <a:cubicBezTo>
                  <a:pt x="270" y="199"/>
                  <a:pt x="270" y="201"/>
                  <a:pt x="270" y="204"/>
                </a:cubicBezTo>
                <a:cubicBezTo>
                  <a:pt x="270" y="206"/>
                  <a:pt x="270" y="208"/>
                  <a:pt x="271" y="209"/>
                </a:cubicBezTo>
                <a:cubicBezTo>
                  <a:pt x="297" y="269"/>
                  <a:pt x="308" y="307"/>
                  <a:pt x="309" y="323"/>
                </a:cubicBezTo>
                <a:cubicBezTo>
                  <a:pt x="309" y="324"/>
                  <a:pt x="308" y="324"/>
                  <a:pt x="307" y="324"/>
                </a:cubicBezTo>
                <a:cubicBezTo>
                  <a:pt x="265" y="327"/>
                  <a:pt x="219" y="307"/>
                  <a:pt x="185" y="268"/>
                </a:cubicBezTo>
                <a:cubicBezTo>
                  <a:pt x="181" y="264"/>
                  <a:pt x="175" y="263"/>
                  <a:pt x="170" y="265"/>
                </a:cubicBezTo>
                <a:cubicBezTo>
                  <a:pt x="165" y="267"/>
                  <a:pt x="161" y="272"/>
                  <a:pt x="161" y="277"/>
                </a:cubicBezTo>
                <a:cubicBezTo>
                  <a:pt x="161" y="385"/>
                  <a:pt x="161" y="385"/>
                  <a:pt x="161" y="385"/>
                </a:cubicBezTo>
                <a:cubicBezTo>
                  <a:pt x="161" y="392"/>
                  <a:pt x="167" y="398"/>
                  <a:pt x="175" y="398"/>
                </a:cubicBezTo>
                <a:cubicBezTo>
                  <a:pt x="175" y="398"/>
                  <a:pt x="221" y="398"/>
                  <a:pt x="240" y="398"/>
                </a:cubicBezTo>
                <a:cubicBezTo>
                  <a:pt x="240" y="406"/>
                  <a:pt x="240" y="409"/>
                  <a:pt x="240" y="417"/>
                </a:cubicBezTo>
                <a:cubicBezTo>
                  <a:pt x="216" y="417"/>
                  <a:pt x="14" y="417"/>
                  <a:pt x="14" y="417"/>
                </a:cubicBezTo>
                <a:cubicBezTo>
                  <a:pt x="6" y="417"/>
                  <a:pt x="0" y="423"/>
                  <a:pt x="0" y="431"/>
                </a:cubicBezTo>
                <a:cubicBezTo>
                  <a:pt x="0" y="438"/>
                  <a:pt x="6" y="444"/>
                  <a:pt x="14" y="444"/>
                </a:cubicBezTo>
                <a:cubicBezTo>
                  <a:pt x="253" y="444"/>
                  <a:pt x="253" y="444"/>
                  <a:pt x="253" y="444"/>
                </a:cubicBezTo>
                <a:cubicBezTo>
                  <a:pt x="260" y="444"/>
                  <a:pt x="266" y="438"/>
                  <a:pt x="266" y="431"/>
                </a:cubicBezTo>
                <a:cubicBezTo>
                  <a:pt x="266" y="385"/>
                  <a:pt x="266" y="385"/>
                  <a:pt x="266" y="385"/>
                </a:cubicBezTo>
                <a:cubicBezTo>
                  <a:pt x="266" y="378"/>
                  <a:pt x="260" y="372"/>
                  <a:pt x="253" y="372"/>
                </a:cubicBezTo>
                <a:cubicBezTo>
                  <a:pt x="253" y="372"/>
                  <a:pt x="206" y="372"/>
                  <a:pt x="188" y="372"/>
                </a:cubicBezTo>
                <a:cubicBezTo>
                  <a:pt x="188" y="358"/>
                  <a:pt x="188" y="334"/>
                  <a:pt x="188" y="308"/>
                </a:cubicBezTo>
                <a:cubicBezTo>
                  <a:pt x="225" y="338"/>
                  <a:pt x="268" y="354"/>
                  <a:pt x="310" y="350"/>
                </a:cubicBezTo>
                <a:cubicBezTo>
                  <a:pt x="315" y="350"/>
                  <a:pt x="320" y="349"/>
                  <a:pt x="325" y="348"/>
                </a:cubicBezTo>
                <a:cubicBezTo>
                  <a:pt x="330" y="347"/>
                  <a:pt x="334" y="343"/>
                  <a:pt x="335" y="339"/>
                </a:cubicBezTo>
                <a:cubicBezTo>
                  <a:pt x="336" y="336"/>
                  <a:pt x="336" y="332"/>
                  <a:pt x="336" y="328"/>
                </a:cubicBezTo>
                <a:cubicBezTo>
                  <a:pt x="336" y="297"/>
                  <a:pt x="312" y="237"/>
                  <a:pt x="298" y="205"/>
                </a:cubicBezTo>
                <a:cubicBezTo>
                  <a:pt x="303" y="196"/>
                  <a:pt x="328" y="151"/>
                  <a:pt x="332" y="145"/>
                </a:cubicBezTo>
                <a:cubicBezTo>
                  <a:pt x="336" y="142"/>
                  <a:pt x="344" y="139"/>
                  <a:pt x="344" y="139"/>
                </a:cubicBezTo>
                <a:cubicBezTo>
                  <a:pt x="349" y="137"/>
                  <a:pt x="352" y="132"/>
                  <a:pt x="352" y="127"/>
                </a:cubicBezTo>
                <a:cubicBezTo>
                  <a:pt x="352" y="125"/>
                  <a:pt x="352" y="123"/>
                  <a:pt x="351" y="122"/>
                </a:cubicBezTo>
                <a:cubicBezTo>
                  <a:pt x="348" y="115"/>
                  <a:pt x="341" y="112"/>
                  <a:pt x="334" y="114"/>
                </a:cubicBezTo>
                <a:cubicBezTo>
                  <a:pt x="334" y="114"/>
                  <a:pt x="325" y="118"/>
                  <a:pt x="321" y="120"/>
                </a:cubicBezTo>
                <a:cubicBezTo>
                  <a:pt x="314" y="119"/>
                  <a:pt x="259" y="108"/>
                  <a:pt x="249" y="106"/>
                </a:cubicBezTo>
                <a:cubicBezTo>
                  <a:pt x="232" y="76"/>
                  <a:pt x="197" y="17"/>
                  <a:pt x="173" y="3"/>
                </a:cubicBezTo>
                <a:cubicBezTo>
                  <a:pt x="168" y="0"/>
                  <a:pt x="162" y="0"/>
                  <a:pt x="157" y="4"/>
                </a:cubicBezTo>
                <a:close/>
                <a:moveTo>
                  <a:pt x="277" y="192"/>
                </a:moveTo>
                <a:cubicBezTo>
                  <a:pt x="276" y="192"/>
                  <a:pt x="276" y="193"/>
                  <a:pt x="275" y="193"/>
                </a:cubicBezTo>
                <a:cubicBezTo>
                  <a:pt x="276" y="193"/>
                  <a:pt x="276" y="192"/>
                  <a:pt x="277" y="192"/>
                </a:cubicBezTo>
                <a:close/>
                <a:moveTo>
                  <a:pt x="274" y="195"/>
                </a:moveTo>
                <a:cubicBezTo>
                  <a:pt x="273" y="195"/>
                  <a:pt x="273" y="195"/>
                  <a:pt x="272" y="196"/>
                </a:cubicBezTo>
                <a:cubicBezTo>
                  <a:pt x="273" y="195"/>
                  <a:pt x="273" y="195"/>
                  <a:pt x="274" y="19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1" name="Freeform 337"/>
          <p:cNvSpPr>
            <a:spLocks noEditPoints="1"/>
          </p:cNvSpPr>
          <p:nvPr userDrawn="1"/>
        </p:nvSpPr>
        <p:spPr bwMode="auto">
          <a:xfrm>
            <a:off x="2376873" y="2759018"/>
            <a:ext cx="375144" cy="386954"/>
          </a:xfrm>
          <a:custGeom>
            <a:avLst/>
            <a:gdLst/>
            <a:ahLst/>
            <a:cxnLst>
              <a:cxn ang="0">
                <a:pos x="238" y="3"/>
              </a:cxn>
              <a:cxn ang="0">
                <a:pos x="176" y="46"/>
              </a:cxn>
              <a:cxn ang="0">
                <a:pos x="175" y="51"/>
              </a:cxn>
              <a:cxn ang="0">
                <a:pos x="175" y="94"/>
              </a:cxn>
              <a:cxn ang="0">
                <a:pos x="32" y="120"/>
              </a:cxn>
              <a:cxn ang="0">
                <a:pos x="21" y="132"/>
              </a:cxn>
              <a:cxn ang="0">
                <a:pos x="0" y="363"/>
              </a:cxn>
              <a:cxn ang="0">
                <a:pos x="0" y="364"/>
              </a:cxn>
              <a:cxn ang="0">
                <a:pos x="5" y="374"/>
              </a:cxn>
              <a:cxn ang="0">
                <a:pos x="95" y="453"/>
              </a:cxn>
              <a:cxn ang="0">
                <a:pos x="109" y="456"/>
              </a:cxn>
              <a:cxn ang="0">
                <a:pos x="117" y="444"/>
              </a:cxn>
              <a:cxn ang="0">
                <a:pos x="130" y="202"/>
              </a:cxn>
              <a:cxn ang="0">
                <a:pos x="191" y="185"/>
              </a:cxn>
              <a:cxn ang="0">
                <a:pos x="201" y="172"/>
              </a:cxn>
              <a:cxn ang="0">
                <a:pos x="201" y="116"/>
              </a:cxn>
              <a:cxn ang="0">
                <a:pos x="279" y="102"/>
              </a:cxn>
              <a:cxn ang="0">
                <a:pos x="280" y="123"/>
              </a:cxn>
              <a:cxn ang="0">
                <a:pos x="293" y="136"/>
              </a:cxn>
              <a:cxn ang="0">
                <a:pos x="306" y="123"/>
              </a:cxn>
              <a:cxn ang="0">
                <a:pos x="306" y="97"/>
              </a:cxn>
              <a:cxn ang="0">
                <a:pos x="380" y="83"/>
              </a:cxn>
              <a:cxn ang="0">
                <a:pos x="418" y="111"/>
              </a:cxn>
              <a:cxn ang="0">
                <a:pos x="418" y="366"/>
              </a:cxn>
              <a:cxn ang="0">
                <a:pos x="158" y="423"/>
              </a:cxn>
              <a:cxn ang="0">
                <a:pos x="148" y="436"/>
              </a:cxn>
              <a:cxn ang="0">
                <a:pos x="148" y="439"/>
              </a:cxn>
              <a:cxn ang="0">
                <a:pos x="164" y="449"/>
              </a:cxn>
              <a:cxn ang="0">
                <a:pos x="435" y="389"/>
              </a:cxn>
              <a:cxn ang="0">
                <a:pos x="445" y="376"/>
              </a:cxn>
              <a:cxn ang="0">
                <a:pos x="445" y="105"/>
              </a:cxn>
              <a:cxn ang="0">
                <a:pos x="440" y="94"/>
              </a:cxn>
              <a:cxn ang="0">
                <a:pos x="391" y="59"/>
              </a:cxn>
              <a:cxn ang="0">
                <a:pos x="381" y="56"/>
              </a:cxn>
              <a:cxn ang="0">
                <a:pos x="305" y="70"/>
              </a:cxn>
              <a:cxn ang="0">
                <a:pos x="305" y="45"/>
              </a:cxn>
              <a:cxn ang="0">
                <a:pos x="304" y="40"/>
              </a:cxn>
              <a:cxn ang="0">
                <a:pos x="238" y="3"/>
              </a:cxn>
              <a:cxn ang="0">
                <a:pos x="240" y="30"/>
              </a:cxn>
              <a:cxn ang="0">
                <a:pos x="278" y="49"/>
              </a:cxn>
              <a:cxn ang="0">
                <a:pos x="279" y="75"/>
              </a:cxn>
              <a:cxn ang="0">
                <a:pos x="202" y="89"/>
              </a:cxn>
              <a:cxn ang="0">
                <a:pos x="202" y="54"/>
              </a:cxn>
              <a:cxn ang="0">
                <a:pos x="240" y="30"/>
              </a:cxn>
              <a:cxn ang="0">
                <a:pos x="175" y="121"/>
              </a:cxn>
              <a:cxn ang="0">
                <a:pos x="174" y="162"/>
              </a:cxn>
              <a:cxn ang="0">
                <a:pos x="114" y="179"/>
              </a:cxn>
              <a:cxn ang="0">
                <a:pos x="104" y="191"/>
              </a:cxn>
              <a:cxn ang="0">
                <a:pos x="92" y="415"/>
              </a:cxn>
              <a:cxn ang="0">
                <a:pos x="27" y="359"/>
              </a:cxn>
              <a:cxn ang="0">
                <a:pos x="47" y="145"/>
              </a:cxn>
              <a:cxn ang="0">
                <a:pos x="175" y="121"/>
              </a:cxn>
            </a:cxnLst>
            <a:rect l="0" t="0" r="r" b="b"/>
            <a:pathLst>
              <a:path w="445" h="457">
                <a:moveTo>
                  <a:pt x="238" y="3"/>
                </a:moveTo>
                <a:cubicBezTo>
                  <a:pt x="191" y="6"/>
                  <a:pt x="177" y="44"/>
                  <a:pt x="176" y="46"/>
                </a:cubicBezTo>
                <a:cubicBezTo>
                  <a:pt x="176" y="47"/>
                  <a:pt x="176" y="49"/>
                  <a:pt x="175" y="51"/>
                </a:cubicBezTo>
                <a:cubicBezTo>
                  <a:pt x="175" y="51"/>
                  <a:pt x="175" y="74"/>
                  <a:pt x="175" y="94"/>
                </a:cubicBezTo>
                <a:cubicBezTo>
                  <a:pt x="106" y="107"/>
                  <a:pt x="32" y="120"/>
                  <a:pt x="32" y="120"/>
                </a:cubicBezTo>
                <a:cubicBezTo>
                  <a:pt x="26" y="122"/>
                  <a:pt x="22" y="126"/>
                  <a:pt x="21" y="132"/>
                </a:cubicBezTo>
                <a:cubicBezTo>
                  <a:pt x="0" y="363"/>
                  <a:pt x="0" y="363"/>
                  <a:pt x="0" y="363"/>
                </a:cubicBezTo>
                <a:cubicBezTo>
                  <a:pt x="0" y="363"/>
                  <a:pt x="0" y="364"/>
                  <a:pt x="0" y="364"/>
                </a:cubicBezTo>
                <a:cubicBezTo>
                  <a:pt x="0" y="368"/>
                  <a:pt x="2" y="372"/>
                  <a:pt x="5" y="374"/>
                </a:cubicBezTo>
                <a:cubicBezTo>
                  <a:pt x="95" y="453"/>
                  <a:pt x="95" y="453"/>
                  <a:pt x="95" y="453"/>
                </a:cubicBezTo>
                <a:cubicBezTo>
                  <a:pt x="98" y="457"/>
                  <a:pt x="104" y="457"/>
                  <a:pt x="109" y="456"/>
                </a:cubicBezTo>
                <a:cubicBezTo>
                  <a:pt x="113" y="454"/>
                  <a:pt x="116" y="449"/>
                  <a:pt x="117" y="444"/>
                </a:cubicBezTo>
                <a:cubicBezTo>
                  <a:pt x="117" y="444"/>
                  <a:pt x="129" y="220"/>
                  <a:pt x="130" y="202"/>
                </a:cubicBezTo>
                <a:cubicBezTo>
                  <a:pt x="144" y="198"/>
                  <a:pt x="191" y="185"/>
                  <a:pt x="191" y="185"/>
                </a:cubicBezTo>
                <a:cubicBezTo>
                  <a:pt x="197" y="183"/>
                  <a:pt x="201" y="178"/>
                  <a:pt x="201" y="172"/>
                </a:cubicBezTo>
                <a:cubicBezTo>
                  <a:pt x="201" y="172"/>
                  <a:pt x="201" y="144"/>
                  <a:pt x="201" y="116"/>
                </a:cubicBezTo>
                <a:cubicBezTo>
                  <a:pt x="240" y="109"/>
                  <a:pt x="246" y="108"/>
                  <a:pt x="279" y="102"/>
                </a:cubicBezTo>
                <a:cubicBezTo>
                  <a:pt x="279" y="110"/>
                  <a:pt x="280" y="123"/>
                  <a:pt x="280" y="123"/>
                </a:cubicBezTo>
                <a:cubicBezTo>
                  <a:pt x="280" y="130"/>
                  <a:pt x="286" y="136"/>
                  <a:pt x="293" y="136"/>
                </a:cubicBezTo>
                <a:cubicBezTo>
                  <a:pt x="300" y="136"/>
                  <a:pt x="306" y="130"/>
                  <a:pt x="306" y="123"/>
                </a:cubicBezTo>
                <a:cubicBezTo>
                  <a:pt x="306" y="123"/>
                  <a:pt x="306" y="108"/>
                  <a:pt x="306" y="97"/>
                </a:cubicBezTo>
                <a:cubicBezTo>
                  <a:pt x="332" y="92"/>
                  <a:pt x="378" y="84"/>
                  <a:pt x="380" y="83"/>
                </a:cubicBezTo>
                <a:cubicBezTo>
                  <a:pt x="387" y="88"/>
                  <a:pt x="411" y="106"/>
                  <a:pt x="418" y="111"/>
                </a:cubicBezTo>
                <a:cubicBezTo>
                  <a:pt x="418" y="124"/>
                  <a:pt x="418" y="346"/>
                  <a:pt x="418" y="366"/>
                </a:cubicBezTo>
                <a:cubicBezTo>
                  <a:pt x="399" y="370"/>
                  <a:pt x="158" y="423"/>
                  <a:pt x="158" y="423"/>
                </a:cubicBezTo>
                <a:cubicBezTo>
                  <a:pt x="152" y="425"/>
                  <a:pt x="148" y="430"/>
                  <a:pt x="148" y="436"/>
                </a:cubicBezTo>
                <a:cubicBezTo>
                  <a:pt x="148" y="437"/>
                  <a:pt x="148" y="438"/>
                  <a:pt x="148" y="439"/>
                </a:cubicBezTo>
                <a:cubicBezTo>
                  <a:pt x="150" y="446"/>
                  <a:pt x="157" y="451"/>
                  <a:pt x="164" y="449"/>
                </a:cubicBezTo>
                <a:cubicBezTo>
                  <a:pt x="435" y="389"/>
                  <a:pt x="435" y="389"/>
                  <a:pt x="435" y="389"/>
                </a:cubicBezTo>
                <a:cubicBezTo>
                  <a:pt x="441" y="388"/>
                  <a:pt x="445" y="383"/>
                  <a:pt x="445" y="376"/>
                </a:cubicBezTo>
                <a:cubicBezTo>
                  <a:pt x="445" y="105"/>
                  <a:pt x="445" y="105"/>
                  <a:pt x="445" y="105"/>
                </a:cubicBezTo>
                <a:cubicBezTo>
                  <a:pt x="445" y="100"/>
                  <a:pt x="443" y="96"/>
                  <a:pt x="440" y="94"/>
                </a:cubicBezTo>
                <a:cubicBezTo>
                  <a:pt x="391" y="59"/>
                  <a:pt x="391" y="59"/>
                  <a:pt x="391" y="59"/>
                </a:cubicBezTo>
                <a:cubicBezTo>
                  <a:pt x="388" y="56"/>
                  <a:pt x="385" y="56"/>
                  <a:pt x="381" y="56"/>
                </a:cubicBezTo>
                <a:cubicBezTo>
                  <a:pt x="381" y="56"/>
                  <a:pt x="331" y="65"/>
                  <a:pt x="305" y="70"/>
                </a:cubicBezTo>
                <a:cubicBezTo>
                  <a:pt x="305" y="59"/>
                  <a:pt x="305" y="45"/>
                  <a:pt x="305" y="45"/>
                </a:cubicBezTo>
                <a:cubicBezTo>
                  <a:pt x="305" y="43"/>
                  <a:pt x="305" y="42"/>
                  <a:pt x="304" y="40"/>
                </a:cubicBezTo>
                <a:cubicBezTo>
                  <a:pt x="303" y="38"/>
                  <a:pt x="285" y="0"/>
                  <a:pt x="238" y="3"/>
                </a:cubicBezTo>
                <a:close/>
                <a:moveTo>
                  <a:pt x="240" y="30"/>
                </a:moveTo>
                <a:cubicBezTo>
                  <a:pt x="263" y="28"/>
                  <a:pt x="275" y="43"/>
                  <a:pt x="278" y="49"/>
                </a:cubicBezTo>
                <a:cubicBezTo>
                  <a:pt x="278" y="51"/>
                  <a:pt x="279" y="63"/>
                  <a:pt x="279" y="75"/>
                </a:cubicBezTo>
                <a:cubicBezTo>
                  <a:pt x="247" y="81"/>
                  <a:pt x="240" y="82"/>
                  <a:pt x="202" y="89"/>
                </a:cubicBezTo>
                <a:cubicBezTo>
                  <a:pt x="202" y="74"/>
                  <a:pt x="202" y="55"/>
                  <a:pt x="202" y="54"/>
                </a:cubicBezTo>
                <a:cubicBezTo>
                  <a:pt x="205" y="48"/>
                  <a:pt x="215" y="32"/>
                  <a:pt x="240" y="30"/>
                </a:cubicBezTo>
                <a:close/>
                <a:moveTo>
                  <a:pt x="175" y="121"/>
                </a:moveTo>
                <a:cubicBezTo>
                  <a:pt x="175" y="141"/>
                  <a:pt x="174" y="156"/>
                  <a:pt x="174" y="162"/>
                </a:cubicBezTo>
                <a:cubicBezTo>
                  <a:pt x="160" y="166"/>
                  <a:pt x="114" y="179"/>
                  <a:pt x="114" y="179"/>
                </a:cubicBezTo>
                <a:cubicBezTo>
                  <a:pt x="108" y="181"/>
                  <a:pt x="105" y="186"/>
                  <a:pt x="104" y="191"/>
                </a:cubicBezTo>
                <a:cubicBezTo>
                  <a:pt x="104" y="191"/>
                  <a:pt x="94" y="372"/>
                  <a:pt x="92" y="415"/>
                </a:cubicBezTo>
                <a:cubicBezTo>
                  <a:pt x="69" y="395"/>
                  <a:pt x="34" y="365"/>
                  <a:pt x="27" y="359"/>
                </a:cubicBezTo>
                <a:cubicBezTo>
                  <a:pt x="28" y="346"/>
                  <a:pt x="45" y="163"/>
                  <a:pt x="47" y="145"/>
                </a:cubicBezTo>
                <a:cubicBezTo>
                  <a:pt x="54" y="144"/>
                  <a:pt x="114" y="133"/>
                  <a:pt x="175" y="12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2" name="Freeform 353"/>
          <p:cNvSpPr>
            <a:spLocks/>
          </p:cNvSpPr>
          <p:nvPr userDrawn="1"/>
        </p:nvSpPr>
        <p:spPr bwMode="auto">
          <a:xfrm>
            <a:off x="2386401" y="3826226"/>
            <a:ext cx="356090" cy="332185"/>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3" name="Freeform 365"/>
          <p:cNvSpPr>
            <a:spLocks/>
          </p:cNvSpPr>
          <p:nvPr userDrawn="1"/>
        </p:nvSpPr>
        <p:spPr bwMode="auto">
          <a:xfrm>
            <a:off x="3640357" y="1338785"/>
            <a:ext cx="165540" cy="332184"/>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grpSp>
        <p:nvGrpSpPr>
          <p:cNvPr id="3" name="Group 214"/>
          <p:cNvGrpSpPr>
            <a:grpSpLocks noChangeAspect="1"/>
          </p:cNvGrpSpPr>
          <p:nvPr userDrawn="1"/>
        </p:nvGrpSpPr>
        <p:grpSpPr bwMode="auto">
          <a:xfrm>
            <a:off x="2877721" y="3225619"/>
            <a:ext cx="292787" cy="415283"/>
            <a:chOff x="1257" y="2375"/>
            <a:chExt cx="320" cy="454"/>
          </a:xfrm>
          <a:solidFill>
            <a:srgbClr val="009530"/>
          </a:solidFill>
        </p:grpSpPr>
        <p:sp>
          <p:nvSpPr>
            <p:cNvPr id="35" name="Freeform 215"/>
            <p:cNvSpPr>
              <a:spLocks/>
            </p:cNvSpPr>
            <p:nvPr/>
          </p:nvSpPr>
          <p:spPr bwMode="auto">
            <a:xfrm>
              <a:off x="1257" y="2375"/>
              <a:ext cx="320" cy="454"/>
            </a:xfrm>
            <a:custGeom>
              <a:avLst/>
              <a:gdLst/>
              <a:ahLst/>
              <a:cxnLst>
                <a:cxn ang="0">
                  <a:pos x="55" y="0"/>
                </a:cxn>
                <a:cxn ang="0">
                  <a:pos x="0" y="240"/>
                </a:cxn>
                <a:cxn ang="0">
                  <a:pos x="40" y="240"/>
                </a:cxn>
                <a:cxn ang="0">
                  <a:pos x="55" y="38"/>
                </a:cxn>
                <a:cxn ang="0">
                  <a:pos x="412" y="54"/>
                </a:cxn>
                <a:cxn ang="0">
                  <a:pos x="396" y="601"/>
                </a:cxn>
                <a:cxn ang="0">
                  <a:pos x="281" y="581"/>
                </a:cxn>
                <a:cxn ang="0">
                  <a:pos x="169" y="581"/>
                </a:cxn>
                <a:cxn ang="0">
                  <a:pos x="54" y="601"/>
                </a:cxn>
                <a:cxn ang="0">
                  <a:pos x="39" y="337"/>
                </a:cxn>
                <a:cxn ang="0">
                  <a:pos x="98" y="277"/>
                </a:cxn>
                <a:cxn ang="0">
                  <a:pos x="346" y="105"/>
                </a:cxn>
                <a:cxn ang="0">
                  <a:pos x="99" y="475"/>
                </a:cxn>
                <a:cxn ang="0">
                  <a:pos x="80" y="334"/>
                </a:cxn>
                <a:cxn ang="0">
                  <a:pos x="61" y="494"/>
                </a:cxn>
                <a:cxn ang="0">
                  <a:pos x="80" y="513"/>
                </a:cxn>
                <a:cxn ang="0">
                  <a:pos x="385" y="494"/>
                </a:cxn>
                <a:cxn ang="0">
                  <a:pos x="366" y="66"/>
                </a:cxn>
                <a:cxn ang="0">
                  <a:pos x="60" y="86"/>
                </a:cxn>
                <a:cxn ang="0">
                  <a:pos x="60" y="268"/>
                </a:cxn>
                <a:cxn ang="0">
                  <a:pos x="0" y="330"/>
                </a:cxn>
                <a:cxn ang="0">
                  <a:pos x="0" y="586"/>
                </a:cxn>
                <a:cxn ang="0">
                  <a:pos x="193" y="640"/>
                </a:cxn>
                <a:cxn ang="0">
                  <a:pos x="198" y="640"/>
                </a:cxn>
                <a:cxn ang="0">
                  <a:pos x="216" y="603"/>
                </a:cxn>
                <a:cxn ang="0">
                  <a:pos x="210" y="588"/>
                </a:cxn>
                <a:cxn ang="0">
                  <a:pos x="225" y="563"/>
                </a:cxn>
                <a:cxn ang="0">
                  <a:pos x="241" y="588"/>
                </a:cxn>
                <a:cxn ang="0">
                  <a:pos x="237" y="602"/>
                </a:cxn>
                <a:cxn ang="0">
                  <a:pos x="254" y="639"/>
                </a:cxn>
                <a:cxn ang="0">
                  <a:pos x="259" y="640"/>
                </a:cxn>
                <a:cxn ang="0">
                  <a:pos x="450" y="585"/>
                </a:cxn>
                <a:cxn ang="0">
                  <a:pos x="396" y="0"/>
                </a:cxn>
              </a:cxnLst>
              <a:rect l="0" t="0" r="r" b="b"/>
              <a:pathLst>
                <a:path w="450" h="640">
                  <a:moveTo>
                    <a:pt x="396" y="0"/>
                  </a:moveTo>
                  <a:cubicBezTo>
                    <a:pt x="55" y="0"/>
                    <a:pt x="55" y="0"/>
                    <a:pt x="55" y="0"/>
                  </a:cubicBezTo>
                  <a:cubicBezTo>
                    <a:pt x="25" y="0"/>
                    <a:pt x="1" y="24"/>
                    <a:pt x="0" y="54"/>
                  </a:cubicBezTo>
                  <a:cubicBezTo>
                    <a:pt x="0" y="240"/>
                    <a:pt x="0" y="240"/>
                    <a:pt x="0" y="240"/>
                  </a:cubicBezTo>
                  <a:cubicBezTo>
                    <a:pt x="0" y="250"/>
                    <a:pt x="9" y="259"/>
                    <a:pt x="20" y="259"/>
                  </a:cubicBezTo>
                  <a:cubicBezTo>
                    <a:pt x="30" y="259"/>
                    <a:pt x="40" y="250"/>
                    <a:pt x="40" y="240"/>
                  </a:cubicBezTo>
                  <a:cubicBezTo>
                    <a:pt x="40" y="54"/>
                    <a:pt x="40" y="54"/>
                    <a:pt x="40" y="54"/>
                  </a:cubicBezTo>
                  <a:cubicBezTo>
                    <a:pt x="40" y="45"/>
                    <a:pt x="46" y="38"/>
                    <a:pt x="55" y="38"/>
                  </a:cubicBezTo>
                  <a:cubicBezTo>
                    <a:pt x="396" y="38"/>
                    <a:pt x="396" y="38"/>
                    <a:pt x="396" y="38"/>
                  </a:cubicBezTo>
                  <a:cubicBezTo>
                    <a:pt x="405" y="38"/>
                    <a:pt x="412" y="45"/>
                    <a:pt x="412" y="54"/>
                  </a:cubicBezTo>
                  <a:cubicBezTo>
                    <a:pt x="412" y="585"/>
                    <a:pt x="412" y="585"/>
                    <a:pt x="412" y="585"/>
                  </a:cubicBezTo>
                  <a:cubicBezTo>
                    <a:pt x="412" y="593"/>
                    <a:pt x="405" y="601"/>
                    <a:pt x="396" y="601"/>
                  </a:cubicBezTo>
                  <a:cubicBezTo>
                    <a:pt x="278" y="601"/>
                    <a:pt x="278" y="601"/>
                    <a:pt x="278" y="601"/>
                  </a:cubicBezTo>
                  <a:cubicBezTo>
                    <a:pt x="280" y="594"/>
                    <a:pt x="281" y="588"/>
                    <a:pt x="281" y="581"/>
                  </a:cubicBezTo>
                  <a:cubicBezTo>
                    <a:pt x="281" y="550"/>
                    <a:pt x="256" y="525"/>
                    <a:pt x="225" y="525"/>
                  </a:cubicBezTo>
                  <a:cubicBezTo>
                    <a:pt x="195" y="525"/>
                    <a:pt x="169" y="550"/>
                    <a:pt x="169" y="581"/>
                  </a:cubicBezTo>
                  <a:cubicBezTo>
                    <a:pt x="169" y="588"/>
                    <a:pt x="171" y="595"/>
                    <a:pt x="173" y="601"/>
                  </a:cubicBezTo>
                  <a:cubicBezTo>
                    <a:pt x="54" y="601"/>
                    <a:pt x="54" y="601"/>
                    <a:pt x="54" y="601"/>
                  </a:cubicBezTo>
                  <a:cubicBezTo>
                    <a:pt x="46" y="601"/>
                    <a:pt x="39" y="594"/>
                    <a:pt x="39" y="586"/>
                  </a:cubicBezTo>
                  <a:cubicBezTo>
                    <a:pt x="39" y="337"/>
                    <a:pt x="39" y="337"/>
                    <a:pt x="39" y="337"/>
                  </a:cubicBezTo>
                  <a:cubicBezTo>
                    <a:pt x="92" y="292"/>
                    <a:pt x="92" y="292"/>
                    <a:pt x="92" y="292"/>
                  </a:cubicBezTo>
                  <a:cubicBezTo>
                    <a:pt x="96" y="289"/>
                    <a:pt x="98" y="283"/>
                    <a:pt x="98" y="277"/>
                  </a:cubicBezTo>
                  <a:cubicBezTo>
                    <a:pt x="98" y="105"/>
                    <a:pt x="98" y="105"/>
                    <a:pt x="98" y="105"/>
                  </a:cubicBezTo>
                  <a:cubicBezTo>
                    <a:pt x="346" y="105"/>
                    <a:pt x="346" y="105"/>
                    <a:pt x="346" y="105"/>
                  </a:cubicBezTo>
                  <a:cubicBezTo>
                    <a:pt x="346" y="475"/>
                    <a:pt x="346" y="475"/>
                    <a:pt x="346" y="475"/>
                  </a:cubicBezTo>
                  <a:cubicBezTo>
                    <a:pt x="99" y="475"/>
                    <a:pt x="99" y="475"/>
                    <a:pt x="99" y="475"/>
                  </a:cubicBezTo>
                  <a:cubicBezTo>
                    <a:pt x="100" y="353"/>
                    <a:pt x="100" y="353"/>
                    <a:pt x="100" y="353"/>
                  </a:cubicBezTo>
                  <a:cubicBezTo>
                    <a:pt x="100" y="343"/>
                    <a:pt x="91" y="334"/>
                    <a:pt x="80" y="334"/>
                  </a:cubicBezTo>
                  <a:cubicBezTo>
                    <a:pt x="70" y="334"/>
                    <a:pt x="61" y="343"/>
                    <a:pt x="61" y="353"/>
                  </a:cubicBezTo>
                  <a:cubicBezTo>
                    <a:pt x="61" y="494"/>
                    <a:pt x="61" y="494"/>
                    <a:pt x="61" y="494"/>
                  </a:cubicBezTo>
                  <a:cubicBezTo>
                    <a:pt x="61" y="499"/>
                    <a:pt x="63" y="504"/>
                    <a:pt x="67" y="508"/>
                  </a:cubicBezTo>
                  <a:cubicBezTo>
                    <a:pt x="70" y="511"/>
                    <a:pt x="75" y="513"/>
                    <a:pt x="80" y="513"/>
                  </a:cubicBezTo>
                  <a:cubicBezTo>
                    <a:pt x="366" y="513"/>
                    <a:pt x="366" y="513"/>
                    <a:pt x="366" y="513"/>
                  </a:cubicBezTo>
                  <a:cubicBezTo>
                    <a:pt x="377" y="513"/>
                    <a:pt x="385" y="505"/>
                    <a:pt x="385" y="494"/>
                  </a:cubicBezTo>
                  <a:cubicBezTo>
                    <a:pt x="385" y="86"/>
                    <a:pt x="385" y="86"/>
                    <a:pt x="385" y="86"/>
                  </a:cubicBezTo>
                  <a:cubicBezTo>
                    <a:pt x="385" y="75"/>
                    <a:pt x="377" y="66"/>
                    <a:pt x="366" y="66"/>
                  </a:cubicBezTo>
                  <a:cubicBezTo>
                    <a:pt x="79" y="66"/>
                    <a:pt x="79" y="66"/>
                    <a:pt x="79" y="66"/>
                  </a:cubicBezTo>
                  <a:cubicBezTo>
                    <a:pt x="68" y="66"/>
                    <a:pt x="60" y="75"/>
                    <a:pt x="60" y="86"/>
                  </a:cubicBezTo>
                  <a:cubicBezTo>
                    <a:pt x="60" y="86"/>
                    <a:pt x="60" y="87"/>
                    <a:pt x="60" y="87"/>
                  </a:cubicBezTo>
                  <a:cubicBezTo>
                    <a:pt x="60" y="268"/>
                    <a:pt x="60" y="268"/>
                    <a:pt x="60" y="268"/>
                  </a:cubicBezTo>
                  <a:cubicBezTo>
                    <a:pt x="7" y="313"/>
                    <a:pt x="7" y="313"/>
                    <a:pt x="7" y="313"/>
                  </a:cubicBezTo>
                  <a:cubicBezTo>
                    <a:pt x="2" y="317"/>
                    <a:pt x="0" y="324"/>
                    <a:pt x="0" y="330"/>
                  </a:cubicBezTo>
                  <a:cubicBezTo>
                    <a:pt x="0" y="331"/>
                    <a:pt x="0" y="331"/>
                    <a:pt x="0" y="332"/>
                  </a:cubicBezTo>
                  <a:cubicBezTo>
                    <a:pt x="0" y="586"/>
                    <a:pt x="0" y="586"/>
                    <a:pt x="0" y="586"/>
                  </a:cubicBezTo>
                  <a:cubicBezTo>
                    <a:pt x="0" y="615"/>
                    <a:pt x="25" y="640"/>
                    <a:pt x="54" y="640"/>
                  </a:cubicBezTo>
                  <a:cubicBezTo>
                    <a:pt x="193" y="640"/>
                    <a:pt x="193" y="640"/>
                    <a:pt x="193" y="640"/>
                  </a:cubicBezTo>
                  <a:cubicBezTo>
                    <a:pt x="194" y="640"/>
                    <a:pt x="194" y="640"/>
                    <a:pt x="195" y="640"/>
                  </a:cubicBezTo>
                  <a:cubicBezTo>
                    <a:pt x="198" y="640"/>
                    <a:pt x="198" y="640"/>
                    <a:pt x="198" y="640"/>
                  </a:cubicBezTo>
                  <a:cubicBezTo>
                    <a:pt x="208" y="639"/>
                    <a:pt x="216" y="630"/>
                    <a:pt x="216" y="620"/>
                  </a:cubicBezTo>
                  <a:cubicBezTo>
                    <a:pt x="216" y="603"/>
                    <a:pt x="216" y="603"/>
                    <a:pt x="216" y="603"/>
                  </a:cubicBezTo>
                  <a:cubicBezTo>
                    <a:pt x="216" y="598"/>
                    <a:pt x="215" y="596"/>
                    <a:pt x="213" y="593"/>
                  </a:cubicBezTo>
                  <a:cubicBezTo>
                    <a:pt x="210" y="588"/>
                    <a:pt x="210" y="588"/>
                    <a:pt x="210" y="588"/>
                  </a:cubicBezTo>
                  <a:cubicBezTo>
                    <a:pt x="209" y="586"/>
                    <a:pt x="208" y="583"/>
                    <a:pt x="208" y="581"/>
                  </a:cubicBezTo>
                  <a:cubicBezTo>
                    <a:pt x="208" y="569"/>
                    <a:pt x="216" y="563"/>
                    <a:pt x="225" y="563"/>
                  </a:cubicBezTo>
                  <a:cubicBezTo>
                    <a:pt x="236" y="563"/>
                    <a:pt x="243" y="570"/>
                    <a:pt x="243" y="581"/>
                  </a:cubicBezTo>
                  <a:cubicBezTo>
                    <a:pt x="243" y="583"/>
                    <a:pt x="242" y="586"/>
                    <a:pt x="241" y="588"/>
                  </a:cubicBezTo>
                  <a:cubicBezTo>
                    <a:pt x="239" y="593"/>
                    <a:pt x="239" y="593"/>
                    <a:pt x="239" y="593"/>
                  </a:cubicBezTo>
                  <a:cubicBezTo>
                    <a:pt x="237" y="595"/>
                    <a:pt x="237" y="599"/>
                    <a:pt x="237" y="602"/>
                  </a:cubicBezTo>
                  <a:cubicBezTo>
                    <a:pt x="237" y="619"/>
                    <a:pt x="237" y="619"/>
                    <a:pt x="237" y="619"/>
                  </a:cubicBezTo>
                  <a:cubicBezTo>
                    <a:pt x="237" y="630"/>
                    <a:pt x="244" y="638"/>
                    <a:pt x="254" y="639"/>
                  </a:cubicBezTo>
                  <a:cubicBezTo>
                    <a:pt x="258" y="639"/>
                    <a:pt x="258" y="639"/>
                    <a:pt x="258" y="639"/>
                  </a:cubicBezTo>
                  <a:cubicBezTo>
                    <a:pt x="258" y="639"/>
                    <a:pt x="259" y="640"/>
                    <a:pt x="259" y="640"/>
                  </a:cubicBezTo>
                  <a:cubicBezTo>
                    <a:pt x="396" y="640"/>
                    <a:pt x="396" y="640"/>
                    <a:pt x="396" y="640"/>
                  </a:cubicBezTo>
                  <a:cubicBezTo>
                    <a:pt x="426" y="640"/>
                    <a:pt x="450" y="615"/>
                    <a:pt x="450" y="585"/>
                  </a:cubicBezTo>
                  <a:cubicBezTo>
                    <a:pt x="450" y="54"/>
                    <a:pt x="450" y="54"/>
                    <a:pt x="450" y="54"/>
                  </a:cubicBezTo>
                  <a:cubicBezTo>
                    <a:pt x="450" y="24"/>
                    <a:pt x="426" y="0"/>
                    <a:pt x="3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Line 216"/>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Line 217"/>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8" name="Freeform 259"/>
          <p:cNvSpPr>
            <a:spLocks noEditPoints="1"/>
          </p:cNvSpPr>
          <p:nvPr userDrawn="1"/>
        </p:nvSpPr>
        <p:spPr bwMode="auto">
          <a:xfrm>
            <a:off x="2826418" y="908152"/>
            <a:ext cx="395390" cy="316706"/>
          </a:xfrm>
          <a:custGeom>
            <a:avLst/>
            <a:gdLst/>
            <a:ahLst/>
            <a:cxnLst>
              <a:cxn ang="0">
                <a:pos x="205" y="4"/>
              </a:cxn>
              <a:cxn ang="0">
                <a:pos x="61" y="129"/>
              </a:cxn>
              <a:cxn ang="0">
                <a:pos x="60" y="148"/>
              </a:cxn>
              <a:cxn ang="0">
                <a:pos x="79" y="149"/>
              </a:cxn>
              <a:cxn ang="0">
                <a:pos x="218" y="28"/>
              </a:cxn>
              <a:cxn ang="0">
                <a:pos x="413" y="62"/>
              </a:cxn>
              <a:cxn ang="0">
                <a:pos x="400" y="113"/>
              </a:cxn>
              <a:cxn ang="0">
                <a:pos x="402" y="131"/>
              </a:cxn>
              <a:cxn ang="0">
                <a:pos x="430" y="174"/>
              </a:cxn>
              <a:cxn ang="0">
                <a:pos x="261" y="344"/>
              </a:cxn>
              <a:cxn ang="0">
                <a:pos x="71" y="290"/>
              </a:cxn>
              <a:cxn ang="0">
                <a:pos x="32" y="243"/>
              </a:cxn>
              <a:cxn ang="0">
                <a:pos x="31" y="234"/>
              </a:cxn>
              <a:cxn ang="0">
                <a:pos x="58" y="197"/>
              </a:cxn>
              <a:cxn ang="0">
                <a:pos x="241" y="247"/>
              </a:cxn>
              <a:cxn ang="0">
                <a:pos x="253" y="243"/>
              </a:cxn>
              <a:cxn ang="0">
                <a:pos x="376" y="131"/>
              </a:cxn>
              <a:cxn ang="0">
                <a:pos x="385" y="118"/>
              </a:cxn>
              <a:cxn ang="0">
                <a:pos x="372" y="105"/>
              </a:cxn>
              <a:cxn ang="0">
                <a:pos x="295" y="166"/>
              </a:cxn>
              <a:cxn ang="0">
                <a:pos x="240" y="219"/>
              </a:cxn>
              <a:cxn ang="0">
                <a:pos x="60" y="170"/>
              </a:cxn>
              <a:cxn ang="0">
                <a:pos x="51" y="171"/>
              </a:cxn>
              <a:cxn ang="0">
                <a:pos x="6" y="248"/>
              </a:cxn>
              <a:cxn ang="0">
                <a:pos x="69" y="317"/>
              </a:cxn>
              <a:cxn ang="0">
                <a:pos x="261" y="372"/>
              </a:cxn>
              <a:cxn ang="0">
                <a:pos x="274" y="368"/>
              </a:cxn>
              <a:cxn ang="0">
                <a:pos x="462" y="181"/>
              </a:cxn>
              <a:cxn ang="0">
                <a:pos x="466" y="169"/>
              </a:cxn>
              <a:cxn ang="0">
                <a:pos x="457" y="159"/>
              </a:cxn>
              <a:cxn ang="0">
                <a:pos x="428" y="126"/>
              </a:cxn>
              <a:cxn ang="0">
                <a:pos x="446" y="62"/>
              </a:cxn>
              <a:cxn ang="0">
                <a:pos x="449" y="49"/>
              </a:cxn>
              <a:cxn ang="0">
                <a:pos x="439" y="40"/>
              </a:cxn>
              <a:cxn ang="0">
                <a:pos x="216" y="0"/>
              </a:cxn>
              <a:cxn ang="0">
                <a:pos x="205" y="4"/>
              </a:cxn>
              <a:cxn ang="0">
                <a:pos x="374" y="131"/>
              </a:cxn>
              <a:cxn ang="0">
                <a:pos x="372" y="131"/>
              </a:cxn>
              <a:cxn ang="0">
                <a:pos x="374" y="131"/>
              </a:cxn>
            </a:cxnLst>
            <a:rect l="0" t="0" r="r" b="b"/>
            <a:pathLst>
              <a:path w="467" h="373">
                <a:moveTo>
                  <a:pt x="205" y="4"/>
                </a:moveTo>
                <a:cubicBezTo>
                  <a:pt x="61" y="129"/>
                  <a:pt x="61" y="129"/>
                  <a:pt x="61" y="129"/>
                </a:cubicBezTo>
                <a:cubicBezTo>
                  <a:pt x="56" y="134"/>
                  <a:pt x="55" y="142"/>
                  <a:pt x="60" y="148"/>
                </a:cubicBezTo>
                <a:cubicBezTo>
                  <a:pt x="65" y="153"/>
                  <a:pt x="73" y="154"/>
                  <a:pt x="79" y="149"/>
                </a:cubicBezTo>
                <a:cubicBezTo>
                  <a:pt x="79" y="149"/>
                  <a:pt x="209" y="36"/>
                  <a:pt x="218" y="28"/>
                </a:cubicBezTo>
                <a:cubicBezTo>
                  <a:pt x="229" y="30"/>
                  <a:pt x="380" y="57"/>
                  <a:pt x="413" y="62"/>
                </a:cubicBezTo>
                <a:cubicBezTo>
                  <a:pt x="405" y="78"/>
                  <a:pt x="400" y="96"/>
                  <a:pt x="400" y="113"/>
                </a:cubicBezTo>
                <a:cubicBezTo>
                  <a:pt x="400" y="119"/>
                  <a:pt x="401" y="125"/>
                  <a:pt x="402" y="131"/>
                </a:cubicBezTo>
                <a:cubicBezTo>
                  <a:pt x="406" y="149"/>
                  <a:pt x="416" y="164"/>
                  <a:pt x="430" y="174"/>
                </a:cubicBezTo>
                <a:cubicBezTo>
                  <a:pt x="386" y="218"/>
                  <a:pt x="287" y="318"/>
                  <a:pt x="261" y="344"/>
                </a:cubicBezTo>
                <a:cubicBezTo>
                  <a:pt x="229" y="333"/>
                  <a:pt x="109" y="293"/>
                  <a:pt x="71" y="290"/>
                </a:cubicBezTo>
                <a:cubicBezTo>
                  <a:pt x="59" y="289"/>
                  <a:pt x="37" y="268"/>
                  <a:pt x="32" y="243"/>
                </a:cubicBezTo>
                <a:cubicBezTo>
                  <a:pt x="31" y="240"/>
                  <a:pt x="31" y="237"/>
                  <a:pt x="31" y="234"/>
                </a:cubicBezTo>
                <a:cubicBezTo>
                  <a:pt x="31" y="219"/>
                  <a:pt x="40" y="206"/>
                  <a:pt x="58" y="197"/>
                </a:cubicBezTo>
                <a:cubicBezTo>
                  <a:pt x="67" y="200"/>
                  <a:pt x="241" y="247"/>
                  <a:pt x="241" y="247"/>
                </a:cubicBezTo>
                <a:cubicBezTo>
                  <a:pt x="245" y="248"/>
                  <a:pt x="250" y="247"/>
                  <a:pt x="253" y="243"/>
                </a:cubicBezTo>
                <a:cubicBezTo>
                  <a:pt x="305" y="192"/>
                  <a:pt x="365" y="137"/>
                  <a:pt x="376" y="131"/>
                </a:cubicBezTo>
                <a:cubicBezTo>
                  <a:pt x="381" y="129"/>
                  <a:pt x="385" y="124"/>
                  <a:pt x="385" y="118"/>
                </a:cubicBezTo>
                <a:cubicBezTo>
                  <a:pt x="385" y="111"/>
                  <a:pt x="379" y="105"/>
                  <a:pt x="372" y="105"/>
                </a:cubicBezTo>
                <a:cubicBezTo>
                  <a:pt x="365" y="105"/>
                  <a:pt x="361" y="105"/>
                  <a:pt x="295" y="166"/>
                </a:cubicBezTo>
                <a:cubicBezTo>
                  <a:pt x="273" y="188"/>
                  <a:pt x="250" y="209"/>
                  <a:pt x="240" y="219"/>
                </a:cubicBezTo>
                <a:cubicBezTo>
                  <a:pt x="227" y="215"/>
                  <a:pt x="60" y="170"/>
                  <a:pt x="60" y="170"/>
                </a:cubicBezTo>
                <a:cubicBezTo>
                  <a:pt x="57" y="169"/>
                  <a:pt x="54" y="169"/>
                  <a:pt x="51" y="171"/>
                </a:cubicBezTo>
                <a:cubicBezTo>
                  <a:pt x="16" y="186"/>
                  <a:pt x="0" y="215"/>
                  <a:pt x="6" y="248"/>
                </a:cubicBezTo>
                <a:cubicBezTo>
                  <a:pt x="12" y="282"/>
                  <a:pt x="42" y="315"/>
                  <a:pt x="69" y="317"/>
                </a:cubicBezTo>
                <a:cubicBezTo>
                  <a:pt x="102" y="319"/>
                  <a:pt x="218" y="357"/>
                  <a:pt x="261" y="372"/>
                </a:cubicBezTo>
                <a:cubicBezTo>
                  <a:pt x="265" y="373"/>
                  <a:pt x="271" y="372"/>
                  <a:pt x="274" y="368"/>
                </a:cubicBezTo>
                <a:cubicBezTo>
                  <a:pt x="276" y="367"/>
                  <a:pt x="425" y="215"/>
                  <a:pt x="462" y="181"/>
                </a:cubicBezTo>
                <a:cubicBezTo>
                  <a:pt x="465" y="178"/>
                  <a:pt x="467" y="173"/>
                  <a:pt x="466" y="169"/>
                </a:cubicBezTo>
                <a:cubicBezTo>
                  <a:pt x="465" y="164"/>
                  <a:pt x="462" y="160"/>
                  <a:pt x="457" y="159"/>
                </a:cubicBezTo>
                <a:cubicBezTo>
                  <a:pt x="441" y="153"/>
                  <a:pt x="431" y="142"/>
                  <a:pt x="428" y="126"/>
                </a:cubicBezTo>
                <a:cubicBezTo>
                  <a:pt x="423" y="102"/>
                  <a:pt x="433" y="75"/>
                  <a:pt x="446" y="62"/>
                </a:cubicBezTo>
                <a:cubicBezTo>
                  <a:pt x="449" y="59"/>
                  <a:pt x="451" y="54"/>
                  <a:pt x="449" y="49"/>
                </a:cubicBezTo>
                <a:cubicBezTo>
                  <a:pt x="448" y="44"/>
                  <a:pt x="444" y="41"/>
                  <a:pt x="439" y="40"/>
                </a:cubicBezTo>
                <a:cubicBezTo>
                  <a:pt x="216" y="0"/>
                  <a:pt x="216" y="0"/>
                  <a:pt x="216" y="0"/>
                </a:cubicBezTo>
                <a:cubicBezTo>
                  <a:pt x="212" y="0"/>
                  <a:pt x="208" y="1"/>
                  <a:pt x="205" y="4"/>
                </a:cubicBezTo>
                <a:close/>
                <a:moveTo>
                  <a:pt x="374" y="131"/>
                </a:moveTo>
                <a:cubicBezTo>
                  <a:pt x="373" y="131"/>
                  <a:pt x="372" y="131"/>
                  <a:pt x="372" y="131"/>
                </a:cubicBezTo>
                <a:cubicBezTo>
                  <a:pt x="372" y="131"/>
                  <a:pt x="373" y="131"/>
                  <a:pt x="374" y="13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9" name="Freeform 292"/>
          <p:cNvSpPr>
            <a:spLocks/>
          </p:cNvSpPr>
          <p:nvPr userDrawn="1"/>
        </p:nvSpPr>
        <p:spPr bwMode="auto">
          <a:xfrm>
            <a:off x="2829396" y="2247385"/>
            <a:ext cx="389435" cy="377429"/>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0" name="Freeform 325"/>
          <p:cNvSpPr>
            <a:spLocks/>
          </p:cNvSpPr>
          <p:nvPr userDrawn="1"/>
        </p:nvSpPr>
        <p:spPr bwMode="auto">
          <a:xfrm>
            <a:off x="2852619" y="1309021"/>
            <a:ext cx="342989" cy="388144"/>
          </a:xfrm>
          <a:custGeom>
            <a:avLst/>
            <a:gdLst/>
            <a:ahLst/>
            <a:cxnLst>
              <a:cxn ang="0">
                <a:pos x="392" y="0"/>
              </a:cxn>
              <a:cxn ang="0">
                <a:pos x="115" y="0"/>
              </a:cxn>
              <a:cxn ang="0">
                <a:pos x="102" y="13"/>
              </a:cxn>
              <a:cxn ang="0">
                <a:pos x="102" y="188"/>
              </a:cxn>
              <a:cxn ang="0">
                <a:pos x="115" y="201"/>
              </a:cxn>
              <a:cxn ang="0">
                <a:pos x="183" y="201"/>
              </a:cxn>
              <a:cxn ang="0">
                <a:pos x="164" y="222"/>
              </a:cxn>
              <a:cxn ang="0">
                <a:pos x="160" y="231"/>
              </a:cxn>
              <a:cxn ang="0">
                <a:pos x="164" y="241"/>
              </a:cxn>
              <a:cxn ang="0">
                <a:pos x="183" y="240"/>
              </a:cxn>
              <a:cxn ang="0">
                <a:pos x="224" y="197"/>
              </a:cxn>
              <a:cxn ang="0">
                <a:pos x="223" y="179"/>
              </a:cxn>
              <a:cxn ang="0">
                <a:pos x="183" y="139"/>
              </a:cxn>
              <a:cxn ang="0">
                <a:pos x="164" y="139"/>
              </a:cxn>
              <a:cxn ang="0">
                <a:pos x="160" y="148"/>
              </a:cxn>
              <a:cxn ang="0">
                <a:pos x="164" y="158"/>
              </a:cxn>
              <a:cxn ang="0">
                <a:pos x="181" y="175"/>
              </a:cxn>
              <a:cxn ang="0">
                <a:pos x="129" y="175"/>
              </a:cxn>
              <a:cxn ang="0">
                <a:pos x="129" y="27"/>
              </a:cxn>
              <a:cxn ang="0">
                <a:pos x="379" y="27"/>
              </a:cxn>
              <a:cxn ang="0">
                <a:pos x="379" y="432"/>
              </a:cxn>
              <a:cxn ang="0">
                <a:pos x="129" y="432"/>
              </a:cxn>
              <a:cxn ang="0">
                <a:pos x="129" y="269"/>
              </a:cxn>
              <a:cxn ang="0">
                <a:pos x="115" y="256"/>
              </a:cxn>
              <a:cxn ang="0">
                <a:pos x="46" y="256"/>
              </a:cxn>
              <a:cxn ang="0">
                <a:pos x="65" y="235"/>
              </a:cxn>
              <a:cxn ang="0">
                <a:pos x="69" y="226"/>
              </a:cxn>
              <a:cxn ang="0">
                <a:pos x="64" y="217"/>
              </a:cxn>
              <a:cxn ang="0">
                <a:pos x="46" y="217"/>
              </a:cxn>
              <a:cxn ang="0">
                <a:pos x="5" y="260"/>
              </a:cxn>
              <a:cxn ang="0">
                <a:pos x="5" y="278"/>
              </a:cxn>
              <a:cxn ang="0">
                <a:pos x="46" y="318"/>
              </a:cxn>
              <a:cxn ang="0">
                <a:pos x="65" y="318"/>
              </a:cxn>
              <a:cxn ang="0">
                <a:pos x="69" y="309"/>
              </a:cxn>
              <a:cxn ang="0">
                <a:pos x="65" y="300"/>
              </a:cxn>
              <a:cxn ang="0">
                <a:pos x="47" y="282"/>
              </a:cxn>
              <a:cxn ang="0">
                <a:pos x="102" y="282"/>
              </a:cxn>
              <a:cxn ang="0">
                <a:pos x="102" y="445"/>
              </a:cxn>
              <a:cxn ang="0">
                <a:pos x="115" y="459"/>
              </a:cxn>
              <a:cxn ang="0">
                <a:pos x="392" y="459"/>
              </a:cxn>
              <a:cxn ang="0">
                <a:pos x="405" y="445"/>
              </a:cxn>
              <a:cxn ang="0">
                <a:pos x="405" y="13"/>
              </a:cxn>
              <a:cxn ang="0">
                <a:pos x="392" y="0"/>
              </a:cxn>
            </a:cxnLst>
            <a:rect l="0" t="0" r="r" b="b"/>
            <a:pathLst>
              <a:path w="405" h="459">
                <a:moveTo>
                  <a:pt x="392" y="0"/>
                </a:moveTo>
                <a:cubicBezTo>
                  <a:pt x="115" y="0"/>
                  <a:pt x="115" y="0"/>
                  <a:pt x="115" y="0"/>
                </a:cubicBezTo>
                <a:cubicBezTo>
                  <a:pt x="108" y="0"/>
                  <a:pt x="102" y="6"/>
                  <a:pt x="102" y="13"/>
                </a:cubicBezTo>
                <a:cubicBezTo>
                  <a:pt x="102" y="188"/>
                  <a:pt x="102" y="188"/>
                  <a:pt x="102" y="188"/>
                </a:cubicBezTo>
                <a:cubicBezTo>
                  <a:pt x="102" y="196"/>
                  <a:pt x="108" y="201"/>
                  <a:pt x="115" y="201"/>
                </a:cubicBezTo>
                <a:cubicBezTo>
                  <a:pt x="183" y="201"/>
                  <a:pt x="183" y="201"/>
                  <a:pt x="183" y="201"/>
                </a:cubicBezTo>
                <a:cubicBezTo>
                  <a:pt x="173" y="212"/>
                  <a:pt x="164" y="222"/>
                  <a:pt x="164" y="222"/>
                </a:cubicBezTo>
                <a:cubicBezTo>
                  <a:pt x="161" y="224"/>
                  <a:pt x="160" y="228"/>
                  <a:pt x="160" y="231"/>
                </a:cubicBezTo>
                <a:cubicBezTo>
                  <a:pt x="160" y="234"/>
                  <a:pt x="161" y="238"/>
                  <a:pt x="164" y="241"/>
                </a:cubicBezTo>
                <a:cubicBezTo>
                  <a:pt x="170" y="246"/>
                  <a:pt x="178" y="245"/>
                  <a:pt x="183" y="240"/>
                </a:cubicBezTo>
                <a:cubicBezTo>
                  <a:pt x="224" y="197"/>
                  <a:pt x="224" y="197"/>
                  <a:pt x="224" y="197"/>
                </a:cubicBezTo>
                <a:cubicBezTo>
                  <a:pt x="229" y="192"/>
                  <a:pt x="228" y="184"/>
                  <a:pt x="223" y="179"/>
                </a:cubicBezTo>
                <a:cubicBezTo>
                  <a:pt x="183" y="139"/>
                  <a:pt x="183" y="139"/>
                  <a:pt x="183" y="139"/>
                </a:cubicBezTo>
                <a:cubicBezTo>
                  <a:pt x="178" y="133"/>
                  <a:pt x="169" y="134"/>
                  <a:pt x="164" y="139"/>
                </a:cubicBezTo>
                <a:cubicBezTo>
                  <a:pt x="161" y="141"/>
                  <a:pt x="160" y="145"/>
                  <a:pt x="160" y="148"/>
                </a:cubicBezTo>
                <a:cubicBezTo>
                  <a:pt x="160" y="152"/>
                  <a:pt x="161" y="155"/>
                  <a:pt x="164" y="158"/>
                </a:cubicBezTo>
                <a:cubicBezTo>
                  <a:pt x="164" y="158"/>
                  <a:pt x="172" y="166"/>
                  <a:pt x="181" y="175"/>
                </a:cubicBezTo>
                <a:cubicBezTo>
                  <a:pt x="129" y="175"/>
                  <a:pt x="129" y="175"/>
                  <a:pt x="129" y="175"/>
                </a:cubicBezTo>
                <a:cubicBezTo>
                  <a:pt x="129" y="27"/>
                  <a:pt x="129" y="27"/>
                  <a:pt x="129" y="27"/>
                </a:cubicBezTo>
                <a:cubicBezTo>
                  <a:pt x="379" y="27"/>
                  <a:pt x="379" y="27"/>
                  <a:pt x="379" y="27"/>
                </a:cubicBezTo>
                <a:cubicBezTo>
                  <a:pt x="379" y="432"/>
                  <a:pt x="379" y="432"/>
                  <a:pt x="379" y="432"/>
                </a:cubicBezTo>
                <a:cubicBezTo>
                  <a:pt x="129" y="432"/>
                  <a:pt x="129" y="432"/>
                  <a:pt x="129" y="432"/>
                </a:cubicBezTo>
                <a:cubicBezTo>
                  <a:pt x="129" y="409"/>
                  <a:pt x="129" y="269"/>
                  <a:pt x="129" y="269"/>
                </a:cubicBezTo>
                <a:cubicBezTo>
                  <a:pt x="129" y="262"/>
                  <a:pt x="123" y="256"/>
                  <a:pt x="115" y="256"/>
                </a:cubicBezTo>
                <a:cubicBezTo>
                  <a:pt x="46" y="256"/>
                  <a:pt x="46" y="256"/>
                  <a:pt x="46" y="256"/>
                </a:cubicBezTo>
                <a:cubicBezTo>
                  <a:pt x="55" y="245"/>
                  <a:pt x="65" y="235"/>
                  <a:pt x="65" y="235"/>
                </a:cubicBezTo>
                <a:cubicBezTo>
                  <a:pt x="67" y="233"/>
                  <a:pt x="69" y="230"/>
                  <a:pt x="69" y="226"/>
                </a:cubicBezTo>
                <a:cubicBezTo>
                  <a:pt x="69" y="223"/>
                  <a:pt x="67" y="219"/>
                  <a:pt x="64" y="217"/>
                </a:cubicBezTo>
                <a:cubicBezTo>
                  <a:pt x="59" y="211"/>
                  <a:pt x="51" y="212"/>
                  <a:pt x="46" y="217"/>
                </a:cubicBezTo>
                <a:cubicBezTo>
                  <a:pt x="5" y="260"/>
                  <a:pt x="5" y="260"/>
                  <a:pt x="5" y="260"/>
                </a:cubicBezTo>
                <a:cubicBezTo>
                  <a:pt x="0" y="265"/>
                  <a:pt x="0" y="273"/>
                  <a:pt x="5" y="278"/>
                </a:cubicBezTo>
                <a:cubicBezTo>
                  <a:pt x="46" y="318"/>
                  <a:pt x="46" y="318"/>
                  <a:pt x="46" y="318"/>
                </a:cubicBezTo>
                <a:cubicBezTo>
                  <a:pt x="51" y="324"/>
                  <a:pt x="60" y="324"/>
                  <a:pt x="65" y="318"/>
                </a:cubicBezTo>
                <a:cubicBezTo>
                  <a:pt x="67" y="316"/>
                  <a:pt x="69" y="312"/>
                  <a:pt x="69" y="309"/>
                </a:cubicBezTo>
                <a:cubicBezTo>
                  <a:pt x="69" y="306"/>
                  <a:pt x="67" y="302"/>
                  <a:pt x="65" y="300"/>
                </a:cubicBezTo>
                <a:cubicBezTo>
                  <a:pt x="65" y="300"/>
                  <a:pt x="56" y="291"/>
                  <a:pt x="47" y="282"/>
                </a:cubicBezTo>
                <a:cubicBezTo>
                  <a:pt x="102" y="282"/>
                  <a:pt x="102" y="282"/>
                  <a:pt x="102" y="282"/>
                </a:cubicBezTo>
                <a:cubicBezTo>
                  <a:pt x="102" y="305"/>
                  <a:pt x="102" y="445"/>
                  <a:pt x="102" y="445"/>
                </a:cubicBezTo>
                <a:cubicBezTo>
                  <a:pt x="102" y="453"/>
                  <a:pt x="108" y="459"/>
                  <a:pt x="115" y="459"/>
                </a:cubicBezTo>
                <a:cubicBezTo>
                  <a:pt x="392" y="459"/>
                  <a:pt x="392" y="459"/>
                  <a:pt x="392" y="459"/>
                </a:cubicBezTo>
                <a:cubicBezTo>
                  <a:pt x="399" y="459"/>
                  <a:pt x="405" y="453"/>
                  <a:pt x="405" y="445"/>
                </a:cubicBezTo>
                <a:cubicBezTo>
                  <a:pt x="405" y="13"/>
                  <a:pt x="405" y="13"/>
                  <a:pt x="405" y="13"/>
                </a:cubicBezTo>
                <a:cubicBezTo>
                  <a:pt x="405" y="6"/>
                  <a:pt x="399" y="0"/>
                  <a:pt x="392" y="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1" name="Freeform 329"/>
          <p:cNvSpPr>
            <a:spLocks/>
          </p:cNvSpPr>
          <p:nvPr userDrawn="1"/>
        </p:nvSpPr>
        <p:spPr bwMode="auto">
          <a:xfrm>
            <a:off x="2831778" y="1824796"/>
            <a:ext cx="384672" cy="313135"/>
          </a:xfrm>
          <a:custGeom>
            <a:avLst/>
            <a:gdLst/>
            <a:ahLst/>
            <a:cxnLst>
              <a:cxn ang="0">
                <a:pos x="441" y="141"/>
              </a:cxn>
              <a:cxn ang="0">
                <a:pos x="395" y="146"/>
              </a:cxn>
              <a:cxn ang="0">
                <a:pos x="369" y="163"/>
              </a:cxn>
              <a:cxn ang="0">
                <a:pos x="365" y="130"/>
              </a:cxn>
              <a:cxn ang="0">
                <a:pos x="346" y="126"/>
              </a:cxn>
              <a:cxn ang="0">
                <a:pos x="268" y="0"/>
              </a:cxn>
              <a:cxn ang="0">
                <a:pos x="190" y="126"/>
              </a:cxn>
              <a:cxn ang="0">
                <a:pos x="175" y="87"/>
              </a:cxn>
              <a:cxn ang="0">
                <a:pos x="0" y="87"/>
              </a:cxn>
              <a:cxn ang="0">
                <a:pos x="5" y="116"/>
              </a:cxn>
              <a:cxn ang="0">
                <a:pos x="28" y="150"/>
              </a:cxn>
              <a:cxn ang="0">
                <a:pos x="47" y="148"/>
              </a:cxn>
              <a:cxn ang="0">
                <a:pos x="41" y="126"/>
              </a:cxn>
              <a:cxn ang="0">
                <a:pos x="45" y="44"/>
              </a:cxn>
              <a:cxn ang="0">
                <a:pos x="130" y="44"/>
              </a:cxn>
              <a:cxn ang="0">
                <a:pos x="130" y="130"/>
              </a:cxn>
              <a:cxn ang="0">
                <a:pos x="127" y="140"/>
              </a:cxn>
              <a:cxn ang="0">
                <a:pos x="217" y="153"/>
              </a:cxn>
              <a:cxn ang="0">
                <a:pos x="222" y="127"/>
              </a:cxn>
              <a:cxn ang="0">
                <a:pos x="225" y="44"/>
              </a:cxn>
              <a:cxn ang="0">
                <a:pos x="310" y="44"/>
              </a:cxn>
              <a:cxn ang="0">
                <a:pos x="313" y="127"/>
              </a:cxn>
              <a:cxn ang="0">
                <a:pos x="318" y="153"/>
              </a:cxn>
              <a:cxn ang="0">
                <a:pos x="343" y="176"/>
              </a:cxn>
              <a:cxn ang="0">
                <a:pos x="356" y="189"/>
              </a:cxn>
              <a:cxn ang="0">
                <a:pos x="399" y="184"/>
              </a:cxn>
              <a:cxn ang="0">
                <a:pos x="428" y="167"/>
              </a:cxn>
              <a:cxn ang="0">
                <a:pos x="412" y="326"/>
              </a:cxn>
              <a:cxn ang="0">
                <a:pos x="391" y="308"/>
              </a:cxn>
              <a:cxn ang="0">
                <a:pos x="349" y="312"/>
              </a:cxn>
              <a:cxn ang="0">
                <a:pos x="345" y="344"/>
              </a:cxn>
              <a:cxn ang="0">
                <a:pos x="27" y="190"/>
              </a:cxn>
              <a:cxn ang="0">
                <a:pos x="0" y="190"/>
              </a:cxn>
              <a:cxn ang="0">
                <a:pos x="4" y="367"/>
              </a:cxn>
              <a:cxn ang="0">
                <a:pos x="358" y="371"/>
              </a:cxn>
              <a:cxn ang="0">
                <a:pos x="371" y="358"/>
              </a:cxn>
              <a:cxn ang="0">
                <a:pos x="385" y="335"/>
              </a:cxn>
              <a:cxn ang="0">
                <a:pos x="406" y="353"/>
              </a:cxn>
              <a:cxn ang="0">
                <a:pos x="451" y="349"/>
              </a:cxn>
              <a:cxn ang="0">
                <a:pos x="454" y="154"/>
              </a:cxn>
            </a:cxnLst>
            <a:rect l="0" t="0" r="r" b="b"/>
            <a:pathLst>
              <a:path w="454" h="371">
                <a:moveTo>
                  <a:pt x="451" y="145"/>
                </a:moveTo>
                <a:cubicBezTo>
                  <a:pt x="448" y="142"/>
                  <a:pt x="445" y="141"/>
                  <a:pt x="441" y="141"/>
                </a:cubicBezTo>
                <a:cubicBezTo>
                  <a:pt x="406" y="141"/>
                  <a:pt x="406" y="141"/>
                  <a:pt x="406" y="141"/>
                </a:cubicBezTo>
                <a:cubicBezTo>
                  <a:pt x="402" y="141"/>
                  <a:pt x="398" y="143"/>
                  <a:pt x="395" y="146"/>
                </a:cubicBezTo>
                <a:cubicBezTo>
                  <a:pt x="382" y="163"/>
                  <a:pt x="382" y="163"/>
                  <a:pt x="382" y="163"/>
                </a:cubicBezTo>
                <a:cubicBezTo>
                  <a:pt x="369" y="163"/>
                  <a:pt x="369" y="163"/>
                  <a:pt x="369" y="163"/>
                </a:cubicBezTo>
                <a:cubicBezTo>
                  <a:pt x="369" y="140"/>
                  <a:pt x="369" y="140"/>
                  <a:pt x="369" y="140"/>
                </a:cubicBezTo>
                <a:cubicBezTo>
                  <a:pt x="369" y="136"/>
                  <a:pt x="368" y="133"/>
                  <a:pt x="365" y="130"/>
                </a:cubicBezTo>
                <a:cubicBezTo>
                  <a:pt x="363" y="128"/>
                  <a:pt x="359" y="126"/>
                  <a:pt x="356" y="126"/>
                </a:cubicBezTo>
                <a:cubicBezTo>
                  <a:pt x="346" y="126"/>
                  <a:pt x="346" y="126"/>
                  <a:pt x="346" y="126"/>
                </a:cubicBezTo>
                <a:cubicBezTo>
                  <a:pt x="352" y="115"/>
                  <a:pt x="355" y="101"/>
                  <a:pt x="355" y="87"/>
                </a:cubicBezTo>
                <a:cubicBezTo>
                  <a:pt x="355" y="39"/>
                  <a:pt x="316" y="0"/>
                  <a:pt x="268" y="0"/>
                </a:cubicBezTo>
                <a:cubicBezTo>
                  <a:pt x="219" y="0"/>
                  <a:pt x="180" y="39"/>
                  <a:pt x="180" y="87"/>
                </a:cubicBezTo>
                <a:cubicBezTo>
                  <a:pt x="180" y="101"/>
                  <a:pt x="184" y="115"/>
                  <a:pt x="190" y="126"/>
                </a:cubicBezTo>
                <a:cubicBezTo>
                  <a:pt x="166" y="126"/>
                  <a:pt x="166" y="126"/>
                  <a:pt x="166" y="126"/>
                </a:cubicBezTo>
                <a:cubicBezTo>
                  <a:pt x="171" y="115"/>
                  <a:pt x="175" y="101"/>
                  <a:pt x="175" y="87"/>
                </a:cubicBezTo>
                <a:cubicBezTo>
                  <a:pt x="175" y="39"/>
                  <a:pt x="136" y="0"/>
                  <a:pt x="88" y="0"/>
                </a:cubicBezTo>
                <a:cubicBezTo>
                  <a:pt x="39" y="0"/>
                  <a:pt x="0" y="39"/>
                  <a:pt x="0" y="87"/>
                </a:cubicBezTo>
                <a:cubicBezTo>
                  <a:pt x="0" y="96"/>
                  <a:pt x="2" y="105"/>
                  <a:pt x="4" y="114"/>
                </a:cubicBezTo>
                <a:cubicBezTo>
                  <a:pt x="4" y="114"/>
                  <a:pt x="5" y="115"/>
                  <a:pt x="5" y="116"/>
                </a:cubicBezTo>
                <a:cubicBezTo>
                  <a:pt x="5" y="117"/>
                  <a:pt x="7" y="122"/>
                  <a:pt x="11" y="129"/>
                </a:cubicBezTo>
                <a:cubicBezTo>
                  <a:pt x="14" y="135"/>
                  <a:pt x="20" y="144"/>
                  <a:pt x="28" y="150"/>
                </a:cubicBezTo>
                <a:cubicBezTo>
                  <a:pt x="30" y="152"/>
                  <a:pt x="33" y="153"/>
                  <a:pt x="36" y="153"/>
                </a:cubicBezTo>
                <a:cubicBezTo>
                  <a:pt x="40" y="153"/>
                  <a:pt x="44" y="151"/>
                  <a:pt x="47" y="148"/>
                </a:cubicBezTo>
                <a:cubicBezTo>
                  <a:pt x="51" y="142"/>
                  <a:pt x="50" y="134"/>
                  <a:pt x="44" y="129"/>
                </a:cubicBezTo>
                <a:cubicBezTo>
                  <a:pt x="43" y="128"/>
                  <a:pt x="42" y="127"/>
                  <a:pt x="41" y="126"/>
                </a:cubicBezTo>
                <a:cubicBezTo>
                  <a:pt x="32" y="115"/>
                  <a:pt x="27" y="102"/>
                  <a:pt x="27" y="87"/>
                </a:cubicBezTo>
                <a:cubicBezTo>
                  <a:pt x="27" y="70"/>
                  <a:pt x="34" y="55"/>
                  <a:pt x="45" y="44"/>
                </a:cubicBezTo>
                <a:cubicBezTo>
                  <a:pt x="56" y="33"/>
                  <a:pt x="71" y="26"/>
                  <a:pt x="88" y="26"/>
                </a:cubicBezTo>
                <a:cubicBezTo>
                  <a:pt x="104" y="26"/>
                  <a:pt x="119" y="33"/>
                  <a:pt x="130" y="44"/>
                </a:cubicBezTo>
                <a:cubicBezTo>
                  <a:pt x="141" y="55"/>
                  <a:pt x="148" y="70"/>
                  <a:pt x="148" y="87"/>
                </a:cubicBezTo>
                <a:cubicBezTo>
                  <a:pt x="148" y="104"/>
                  <a:pt x="141" y="119"/>
                  <a:pt x="130" y="130"/>
                </a:cubicBezTo>
                <a:cubicBezTo>
                  <a:pt x="131" y="130"/>
                  <a:pt x="131" y="130"/>
                  <a:pt x="131" y="130"/>
                </a:cubicBezTo>
                <a:cubicBezTo>
                  <a:pt x="128" y="133"/>
                  <a:pt x="127" y="136"/>
                  <a:pt x="127" y="140"/>
                </a:cubicBezTo>
                <a:cubicBezTo>
                  <a:pt x="127" y="147"/>
                  <a:pt x="133" y="153"/>
                  <a:pt x="140" y="153"/>
                </a:cubicBezTo>
                <a:cubicBezTo>
                  <a:pt x="217" y="153"/>
                  <a:pt x="217" y="153"/>
                  <a:pt x="217" y="153"/>
                </a:cubicBezTo>
                <a:cubicBezTo>
                  <a:pt x="225" y="153"/>
                  <a:pt x="231" y="147"/>
                  <a:pt x="231" y="140"/>
                </a:cubicBezTo>
                <a:cubicBezTo>
                  <a:pt x="231" y="134"/>
                  <a:pt x="227" y="129"/>
                  <a:pt x="222" y="127"/>
                </a:cubicBezTo>
                <a:cubicBezTo>
                  <a:pt x="213" y="117"/>
                  <a:pt x="207" y="103"/>
                  <a:pt x="207" y="87"/>
                </a:cubicBezTo>
                <a:cubicBezTo>
                  <a:pt x="207" y="70"/>
                  <a:pt x="214" y="55"/>
                  <a:pt x="225" y="44"/>
                </a:cubicBezTo>
                <a:cubicBezTo>
                  <a:pt x="236" y="33"/>
                  <a:pt x="251" y="26"/>
                  <a:pt x="268" y="26"/>
                </a:cubicBezTo>
                <a:cubicBezTo>
                  <a:pt x="284" y="26"/>
                  <a:pt x="299" y="33"/>
                  <a:pt x="310" y="44"/>
                </a:cubicBezTo>
                <a:cubicBezTo>
                  <a:pt x="321" y="55"/>
                  <a:pt x="328" y="70"/>
                  <a:pt x="328" y="87"/>
                </a:cubicBezTo>
                <a:cubicBezTo>
                  <a:pt x="328" y="102"/>
                  <a:pt x="322" y="116"/>
                  <a:pt x="313" y="127"/>
                </a:cubicBezTo>
                <a:cubicBezTo>
                  <a:pt x="308" y="129"/>
                  <a:pt x="304" y="134"/>
                  <a:pt x="304" y="140"/>
                </a:cubicBezTo>
                <a:cubicBezTo>
                  <a:pt x="304" y="147"/>
                  <a:pt x="310" y="153"/>
                  <a:pt x="318" y="153"/>
                </a:cubicBezTo>
                <a:cubicBezTo>
                  <a:pt x="343" y="153"/>
                  <a:pt x="343" y="153"/>
                  <a:pt x="343" y="153"/>
                </a:cubicBezTo>
                <a:cubicBezTo>
                  <a:pt x="343" y="176"/>
                  <a:pt x="343" y="176"/>
                  <a:pt x="343" y="176"/>
                </a:cubicBezTo>
                <a:cubicBezTo>
                  <a:pt x="343" y="180"/>
                  <a:pt x="344" y="183"/>
                  <a:pt x="346" y="185"/>
                </a:cubicBezTo>
                <a:cubicBezTo>
                  <a:pt x="349" y="188"/>
                  <a:pt x="352" y="189"/>
                  <a:pt x="356" y="189"/>
                </a:cubicBezTo>
                <a:cubicBezTo>
                  <a:pt x="388" y="189"/>
                  <a:pt x="388" y="189"/>
                  <a:pt x="388" y="189"/>
                </a:cubicBezTo>
                <a:cubicBezTo>
                  <a:pt x="392" y="189"/>
                  <a:pt x="396" y="188"/>
                  <a:pt x="399" y="184"/>
                </a:cubicBezTo>
                <a:cubicBezTo>
                  <a:pt x="412" y="167"/>
                  <a:pt x="412" y="167"/>
                  <a:pt x="412" y="167"/>
                </a:cubicBezTo>
                <a:cubicBezTo>
                  <a:pt x="428" y="167"/>
                  <a:pt x="428" y="167"/>
                  <a:pt x="428" y="167"/>
                </a:cubicBezTo>
                <a:cubicBezTo>
                  <a:pt x="428" y="326"/>
                  <a:pt x="428" y="326"/>
                  <a:pt x="428" y="326"/>
                </a:cubicBezTo>
                <a:cubicBezTo>
                  <a:pt x="412" y="326"/>
                  <a:pt x="412" y="326"/>
                  <a:pt x="412" y="326"/>
                </a:cubicBezTo>
                <a:cubicBezTo>
                  <a:pt x="402" y="313"/>
                  <a:pt x="402" y="313"/>
                  <a:pt x="402" y="313"/>
                </a:cubicBezTo>
                <a:cubicBezTo>
                  <a:pt x="399" y="310"/>
                  <a:pt x="395" y="308"/>
                  <a:pt x="391" y="308"/>
                </a:cubicBezTo>
                <a:cubicBezTo>
                  <a:pt x="358" y="308"/>
                  <a:pt x="358" y="308"/>
                  <a:pt x="358" y="308"/>
                </a:cubicBezTo>
                <a:cubicBezTo>
                  <a:pt x="354" y="308"/>
                  <a:pt x="351" y="310"/>
                  <a:pt x="349" y="312"/>
                </a:cubicBezTo>
                <a:cubicBezTo>
                  <a:pt x="346" y="315"/>
                  <a:pt x="345" y="318"/>
                  <a:pt x="345" y="322"/>
                </a:cubicBezTo>
                <a:cubicBezTo>
                  <a:pt x="345" y="344"/>
                  <a:pt x="345" y="344"/>
                  <a:pt x="345" y="344"/>
                </a:cubicBezTo>
                <a:cubicBezTo>
                  <a:pt x="27" y="344"/>
                  <a:pt x="27" y="344"/>
                  <a:pt x="27" y="344"/>
                </a:cubicBezTo>
                <a:cubicBezTo>
                  <a:pt x="27" y="190"/>
                  <a:pt x="27" y="190"/>
                  <a:pt x="27" y="190"/>
                </a:cubicBezTo>
                <a:cubicBezTo>
                  <a:pt x="27" y="182"/>
                  <a:pt x="21" y="177"/>
                  <a:pt x="14" y="177"/>
                </a:cubicBezTo>
                <a:cubicBezTo>
                  <a:pt x="6" y="177"/>
                  <a:pt x="0" y="182"/>
                  <a:pt x="0" y="190"/>
                </a:cubicBezTo>
                <a:cubicBezTo>
                  <a:pt x="0" y="358"/>
                  <a:pt x="0" y="358"/>
                  <a:pt x="0" y="358"/>
                </a:cubicBezTo>
                <a:cubicBezTo>
                  <a:pt x="0" y="361"/>
                  <a:pt x="2" y="365"/>
                  <a:pt x="4" y="367"/>
                </a:cubicBezTo>
                <a:cubicBezTo>
                  <a:pt x="7" y="370"/>
                  <a:pt x="10" y="371"/>
                  <a:pt x="14" y="371"/>
                </a:cubicBezTo>
                <a:cubicBezTo>
                  <a:pt x="358" y="371"/>
                  <a:pt x="358" y="371"/>
                  <a:pt x="358" y="371"/>
                </a:cubicBezTo>
                <a:cubicBezTo>
                  <a:pt x="361" y="371"/>
                  <a:pt x="365" y="370"/>
                  <a:pt x="367" y="367"/>
                </a:cubicBezTo>
                <a:cubicBezTo>
                  <a:pt x="370" y="365"/>
                  <a:pt x="371" y="361"/>
                  <a:pt x="371" y="358"/>
                </a:cubicBezTo>
                <a:cubicBezTo>
                  <a:pt x="371" y="335"/>
                  <a:pt x="371" y="335"/>
                  <a:pt x="371" y="335"/>
                </a:cubicBezTo>
                <a:cubicBezTo>
                  <a:pt x="385" y="335"/>
                  <a:pt x="385" y="335"/>
                  <a:pt x="385" y="335"/>
                </a:cubicBezTo>
                <a:cubicBezTo>
                  <a:pt x="395" y="348"/>
                  <a:pt x="395" y="348"/>
                  <a:pt x="395" y="348"/>
                </a:cubicBezTo>
                <a:cubicBezTo>
                  <a:pt x="398" y="351"/>
                  <a:pt x="402" y="353"/>
                  <a:pt x="406" y="353"/>
                </a:cubicBezTo>
                <a:cubicBezTo>
                  <a:pt x="441" y="353"/>
                  <a:pt x="441" y="353"/>
                  <a:pt x="441" y="353"/>
                </a:cubicBezTo>
                <a:cubicBezTo>
                  <a:pt x="445" y="353"/>
                  <a:pt x="448" y="351"/>
                  <a:pt x="451" y="349"/>
                </a:cubicBezTo>
                <a:cubicBezTo>
                  <a:pt x="453" y="346"/>
                  <a:pt x="454" y="343"/>
                  <a:pt x="454" y="339"/>
                </a:cubicBezTo>
                <a:cubicBezTo>
                  <a:pt x="454" y="154"/>
                  <a:pt x="454" y="154"/>
                  <a:pt x="454" y="154"/>
                </a:cubicBezTo>
                <a:cubicBezTo>
                  <a:pt x="454" y="151"/>
                  <a:pt x="453" y="147"/>
                  <a:pt x="451" y="14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2" name="Freeform 381"/>
          <p:cNvSpPr>
            <a:spLocks/>
          </p:cNvSpPr>
          <p:nvPr userDrawn="1"/>
        </p:nvSpPr>
        <p:spPr bwMode="auto">
          <a:xfrm>
            <a:off x="2846665" y="2758424"/>
            <a:ext cx="354899" cy="388144"/>
          </a:xfrm>
          <a:custGeom>
            <a:avLst/>
            <a:gdLst/>
            <a:ahLst/>
            <a:cxnLst>
              <a:cxn ang="0">
                <a:pos x="86" y="76"/>
              </a:cxn>
              <a:cxn ang="0">
                <a:pos x="30" y="95"/>
              </a:cxn>
              <a:cxn ang="0">
                <a:pos x="0" y="162"/>
              </a:cxn>
              <a:cxn ang="0">
                <a:pos x="25" y="223"/>
              </a:cxn>
              <a:cxn ang="0">
                <a:pos x="86" y="249"/>
              </a:cxn>
              <a:cxn ang="0">
                <a:pos x="126" y="249"/>
              </a:cxn>
              <a:cxn ang="0">
                <a:pos x="139" y="235"/>
              </a:cxn>
              <a:cxn ang="0">
                <a:pos x="126" y="222"/>
              </a:cxn>
              <a:cxn ang="0">
                <a:pos x="86" y="222"/>
              </a:cxn>
              <a:cxn ang="0">
                <a:pos x="44" y="204"/>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1"/>
              </a:cxn>
              <a:cxn ang="0">
                <a:pos x="344" y="118"/>
              </a:cxn>
              <a:cxn ang="0">
                <a:pos x="378" y="134"/>
              </a:cxn>
              <a:cxn ang="0">
                <a:pos x="392" y="171"/>
              </a:cxn>
              <a:cxn ang="0">
                <a:pos x="342" y="221"/>
              </a:cxn>
              <a:cxn ang="0">
                <a:pos x="196" y="221"/>
              </a:cxn>
              <a:cxn ang="0">
                <a:pos x="185" y="227"/>
              </a:cxn>
              <a:cxn ang="0">
                <a:pos x="184" y="240"/>
              </a:cxn>
              <a:cxn ang="0">
                <a:pos x="236" y="371"/>
              </a:cxn>
              <a:cxn ang="0">
                <a:pos x="246" y="379"/>
              </a:cxn>
              <a:cxn ang="0">
                <a:pos x="259" y="375"/>
              </a:cxn>
              <a:cxn ang="0">
                <a:pos x="292" y="337"/>
              </a:cxn>
              <a:cxn ang="0">
                <a:pos x="339" y="450"/>
              </a:cxn>
              <a:cxn ang="0">
                <a:pos x="356" y="458"/>
              </a:cxn>
              <a:cxn ang="0">
                <a:pos x="364" y="440"/>
              </a:cxn>
              <a:cxn ang="0">
                <a:pos x="309" y="307"/>
              </a:cxn>
              <a:cxn ang="0">
                <a:pos x="299" y="299"/>
              </a:cxn>
              <a:cxn ang="0">
                <a:pos x="287" y="303"/>
              </a:cxn>
              <a:cxn ang="0">
                <a:pos x="253" y="341"/>
              </a:cxn>
              <a:cxn ang="0">
                <a:pos x="216" y="248"/>
              </a:cxn>
              <a:cxn ang="0">
                <a:pos x="342" y="247"/>
              </a:cxn>
              <a:cxn ang="0">
                <a:pos x="419" y="171"/>
              </a:cxn>
              <a:cxn ang="0">
                <a:pos x="344" y="92"/>
              </a:cxn>
              <a:cxn ang="0">
                <a:pos x="324" y="94"/>
              </a:cxn>
              <a:cxn ang="0">
                <a:pos x="286" y="32"/>
              </a:cxn>
              <a:cxn ang="0">
                <a:pos x="201" y="0"/>
              </a:cxn>
              <a:cxn ang="0">
                <a:pos x="86" y="76"/>
              </a:cxn>
            </a:cxnLst>
            <a:rect l="0" t="0" r="r" b="b"/>
            <a:pathLst>
              <a:path w="419" h="460">
                <a:moveTo>
                  <a:pt x="86" y="76"/>
                </a:moveTo>
                <a:cubicBezTo>
                  <a:pt x="66" y="74"/>
                  <a:pt x="46" y="80"/>
                  <a:pt x="30" y="95"/>
                </a:cubicBezTo>
                <a:cubicBezTo>
                  <a:pt x="11" y="111"/>
                  <a:pt x="0" y="137"/>
                  <a:pt x="0" y="162"/>
                </a:cubicBezTo>
                <a:cubicBezTo>
                  <a:pt x="0" y="185"/>
                  <a:pt x="9" y="207"/>
                  <a:pt x="25" y="223"/>
                </a:cubicBezTo>
                <a:cubicBezTo>
                  <a:pt x="41" y="240"/>
                  <a:pt x="63" y="249"/>
                  <a:pt x="86" y="249"/>
                </a:cubicBezTo>
                <a:cubicBezTo>
                  <a:pt x="126" y="249"/>
                  <a:pt x="126" y="249"/>
                  <a:pt x="126" y="249"/>
                </a:cubicBezTo>
                <a:cubicBezTo>
                  <a:pt x="133" y="249"/>
                  <a:pt x="139" y="243"/>
                  <a:pt x="139" y="235"/>
                </a:cubicBezTo>
                <a:cubicBezTo>
                  <a:pt x="139" y="228"/>
                  <a:pt x="133" y="222"/>
                  <a:pt x="126" y="222"/>
                </a:cubicBezTo>
                <a:cubicBezTo>
                  <a:pt x="86" y="222"/>
                  <a:pt x="86" y="222"/>
                  <a:pt x="86" y="222"/>
                </a:cubicBezTo>
                <a:cubicBezTo>
                  <a:pt x="70" y="222"/>
                  <a:pt x="55" y="216"/>
                  <a:pt x="44" y="204"/>
                </a:cubicBezTo>
                <a:cubicBezTo>
                  <a:pt x="32" y="193"/>
                  <a:pt x="26" y="178"/>
                  <a:pt x="26" y="162"/>
                </a:cubicBezTo>
                <a:cubicBezTo>
                  <a:pt x="26" y="144"/>
                  <a:pt x="34" y="126"/>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1"/>
                  <a:pt x="306" y="124"/>
                </a:cubicBezTo>
                <a:cubicBezTo>
                  <a:pt x="310" y="126"/>
                  <a:pt x="314" y="126"/>
                  <a:pt x="318" y="125"/>
                </a:cubicBezTo>
                <a:cubicBezTo>
                  <a:pt x="318" y="125"/>
                  <a:pt x="327" y="122"/>
                  <a:pt x="327" y="121"/>
                </a:cubicBezTo>
                <a:cubicBezTo>
                  <a:pt x="332" y="119"/>
                  <a:pt x="338" y="118"/>
                  <a:pt x="344" y="118"/>
                </a:cubicBezTo>
                <a:cubicBezTo>
                  <a:pt x="357" y="118"/>
                  <a:pt x="369" y="124"/>
                  <a:pt x="378" y="134"/>
                </a:cubicBezTo>
                <a:cubicBezTo>
                  <a:pt x="387" y="144"/>
                  <a:pt x="392" y="157"/>
                  <a:pt x="392" y="171"/>
                </a:cubicBezTo>
                <a:cubicBezTo>
                  <a:pt x="392" y="198"/>
                  <a:pt x="370" y="221"/>
                  <a:pt x="342" y="221"/>
                </a:cubicBezTo>
                <a:cubicBezTo>
                  <a:pt x="196" y="221"/>
                  <a:pt x="196" y="221"/>
                  <a:pt x="196" y="221"/>
                </a:cubicBezTo>
                <a:cubicBezTo>
                  <a:pt x="192" y="221"/>
                  <a:pt x="188" y="224"/>
                  <a:pt x="185" y="227"/>
                </a:cubicBezTo>
                <a:cubicBezTo>
                  <a:pt x="183" y="231"/>
                  <a:pt x="182" y="236"/>
                  <a:pt x="184" y="240"/>
                </a:cubicBezTo>
                <a:cubicBezTo>
                  <a:pt x="236" y="371"/>
                  <a:pt x="236" y="371"/>
                  <a:pt x="236" y="371"/>
                </a:cubicBezTo>
                <a:cubicBezTo>
                  <a:pt x="238" y="375"/>
                  <a:pt x="242" y="378"/>
                  <a:pt x="246" y="379"/>
                </a:cubicBezTo>
                <a:cubicBezTo>
                  <a:pt x="251" y="380"/>
                  <a:pt x="256" y="378"/>
                  <a:pt x="259" y="375"/>
                </a:cubicBezTo>
                <a:cubicBezTo>
                  <a:pt x="259" y="375"/>
                  <a:pt x="278" y="353"/>
                  <a:pt x="292" y="337"/>
                </a:cubicBezTo>
                <a:cubicBezTo>
                  <a:pt x="304" y="366"/>
                  <a:pt x="339" y="450"/>
                  <a:pt x="339" y="450"/>
                </a:cubicBezTo>
                <a:cubicBezTo>
                  <a:pt x="342" y="457"/>
                  <a:pt x="349" y="460"/>
                  <a:pt x="356" y="458"/>
                </a:cubicBezTo>
                <a:cubicBezTo>
                  <a:pt x="363" y="455"/>
                  <a:pt x="366" y="447"/>
                  <a:pt x="364" y="440"/>
                </a:cubicBezTo>
                <a:cubicBezTo>
                  <a:pt x="309" y="307"/>
                  <a:pt x="309" y="307"/>
                  <a:pt x="309" y="307"/>
                </a:cubicBezTo>
                <a:cubicBezTo>
                  <a:pt x="307" y="303"/>
                  <a:pt x="303" y="300"/>
                  <a:pt x="299" y="299"/>
                </a:cubicBezTo>
                <a:cubicBezTo>
                  <a:pt x="294" y="298"/>
                  <a:pt x="290" y="300"/>
                  <a:pt x="287" y="303"/>
                </a:cubicBezTo>
                <a:cubicBezTo>
                  <a:pt x="287" y="303"/>
                  <a:pt x="267" y="325"/>
                  <a:pt x="253" y="341"/>
                </a:cubicBezTo>
                <a:cubicBezTo>
                  <a:pt x="243" y="317"/>
                  <a:pt x="225" y="270"/>
                  <a:pt x="216" y="248"/>
                </a:cubicBezTo>
                <a:cubicBezTo>
                  <a:pt x="245" y="248"/>
                  <a:pt x="342" y="247"/>
                  <a:pt x="342" y="247"/>
                </a:cubicBezTo>
                <a:cubicBezTo>
                  <a:pt x="385" y="247"/>
                  <a:pt x="419" y="213"/>
                  <a:pt x="419" y="171"/>
                </a:cubicBezTo>
                <a:cubicBezTo>
                  <a:pt x="419" y="127"/>
                  <a:pt x="385" y="92"/>
                  <a:pt x="344" y="92"/>
                </a:cubicBezTo>
                <a:cubicBezTo>
                  <a:pt x="337" y="92"/>
                  <a:pt x="330" y="93"/>
                  <a:pt x="324" y="94"/>
                </a:cubicBezTo>
                <a:cubicBezTo>
                  <a:pt x="318" y="70"/>
                  <a:pt x="305" y="48"/>
                  <a:pt x="286" y="32"/>
                </a:cubicBezTo>
                <a:cubicBezTo>
                  <a:pt x="262" y="11"/>
                  <a:pt x="232" y="0"/>
                  <a:pt x="201" y="0"/>
                </a:cubicBezTo>
                <a:cubicBezTo>
                  <a:pt x="150" y="0"/>
                  <a:pt x="105" y="30"/>
                  <a:pt x="86" y="7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3" name="Freeform 410"/>
          <p:cNvSpPr>
            <a:spLocks noEditPoints="1"/>
          </p:cNvSpPr>
          <p:nvPr userDrawn="1"/>
        </p:nvSpPr>
        <p:spPr bwMode="auto">
          <a:xfrm>
            <a:off x="2855000" y="3823845"/>
            <a:ext cx="338226" cy="336947"/>
          </a:xfrm>
          <a:custGeom>
            <a:avLst/>
            <a:gdLst/>
            <a:ahLst/>
            <a:cxnLst>
              <a:cxn ang="0">
                <a:pos x="0" y="200"/>
              </a:cxn>
              <a:cxn ang="0">
                <a:pos x="238" y="4"/>
              </a:cxn>
              <a:cxn ang="0">
                <a:pos x="352" y="109"/>
              </a:cxn>
              <a:cxn ang="0">
                <a:pos x="78" y="73"/>
              </a:cxn>
              <a:cxn ang="0">
                <a:pos x="201" y="376"/>
              </a:cxn>
              <a:cxn ang="0">
                <a:pos x="376" y="199"/>
              </a:cxn>
              <a:cxn ang="0">
                <a:pos x="357" y="184"/>
              </a:cxn>
              <a:cxn ang="0">
                <a:pos x="336" y="176"/>
              </a:cxn>
              <a:cxn ang="0">
                <a:pos x="290" y="205"/>
              </a:cxn>
              <a:cxn ang="0">
                <a:pos x="317" y="222"/>
              </a:cxn>
              <a:cxn ang="0">
                <a:pos x="305" y="250"/>
              </a:cxn>
              <a:cxn ang="0">
                <a:pos x="289" y="290"/>
              </a:cxn>
              <a:cxn ang="0">
                <a:pos x="237" y="358"/>
              </a:cxn>
              <a:cxn ang="0">
                <a:pos x="190" y="347"/>
              </a:cxn>
              <a:cxn ang="0">
                <a:pos x="164" y="257"/>
              </a:cxn>
              <a:cxn ang="0">
                <a:pos x="118" y="249"/>
              </a:cxn>
              <a:cxn ang="0">
                <a:pos x="93" y="207"/>
              </a:cxn>
              <a:cxn ang="0">
                <a:pos x="137" y="140"/>
              </a:cxn>
              <a:cxn ang="0">
                <a:pos x="117" y="97"/>
              </a:cxn>
              <a:cxn ang="0">
                <a:pos x="144" y="80"/>
              </a:cxn>
              <a:cxn ang="0">
                <a:pos x="148" y="55"/>
              </a:cxn>
              <a:cxn ang="0">
                <a:pos x="181" y="36"/>
              </a:cxn>
              <a:cxn ang="0">
                <a:pos x="228" y="46"/>
              </a:cxn>
              <a:cxn ang="0">
                <a:pos x="248" y="39"/>
              </a:cxn>
              <a:cxn ang="0">
                <a:pos x="249" y="59"/>
              </a:cxn>
              <a:cxn ang="0">
                <a:pos x="215" y="67"/>
              </a:cxn>
              <a:cxn ang="0">
                <a:pos x="180" y="60"/>
              </a:cxn>
              <a:cxn ang="0">
                <a:pos x="168" y="74"/>
              </a:cxn>
              <a:cxn ang="0">
                <a:pos x="169" y="82"/>
              </a:cxn>
              <a:cxn ang="0">
                <a:pos x="152" y="103"/>
              </a:cxn>
              <a:cxn ang="0">
                <a:pos x="147" y="119"/>
              </a:cxn>
              <a:cxn ang="0">
                <a:pos x="164" y="109"/>
              </a:cxn>
              <a:cxn ang="0">
                <a:pos x="188" y="99"/>
              </a:cxn>
              <a:cxn ang="0">
                <a:pos x="229" y="113"/>
              </a:cxn>
              <a:cxn ang="0">
                <a:pos x="255" y="152"/>
              </a:cxn>
              <a:cxn ang="0">
                <a:pos x="237" y="172"/>
              </a:cxn>
              <a:cxn ang="0">
                <a:pos x="197" y="171"/>
              </a:cxn>
              <a:cxn ang="0">
                <a:pos x="152" y="165"/>
              </a:cxn>
              <a:cxn ang="0">
                <a:pos x="117" y="211"/>
              </a:cxn>
              <a:cxn ang="0">
                <a:pos x="132" y="228"/>
              </a:cxn>
              <a:cxn ang="0">
                <a:pos x="185" y="246"/>
              </a:cxn>
              <a:cxn ang="0">
                <a:pos x="210" y="335"/>
              </a:cxn>
              <a:cxn ang="0">
                <a:pos x="226" y="337"/>
              </a:cxn>
              <a:cxn ang="0">
                <a:pos x="265" y="290"/>
              </a:cxn>
              <a:cxn ang="0">
                <a:pos x="266" y="273"/>
              </a:cxn>
              <a:cxn ang="0">
                <a:pos x="281" y="243"/>
              </a:cxn>
              <a:cxn ang="0">
                <a:pos x="275" y="227"/>
              </a:cxn>
              <a:cxn ang="0">
                <a:pos x="268" y="170"/>
              </a:cxn>
              <a:cxn ang="0">
                <a:pos x="337" y="150"/>
              </a:cxn>
              <a:cxn ang="0">
                <a:pos x="357" y="160"/>
              </a:cxn>
              <a:cxn ang="0">
                <a:pos x="365" y="135"/>
              </a:cxn>
              <a:cxn ang="0">
                <a:pos x="388" y="131"/>
              </a:cxn>
              <a:cxn ang="0">
                <a:pos x="277" y="384"/>
              </a:cxn>
              <a:cxn ang="0">
                <a:pos x="225" y="143"/>
              </a:cxn>
              <a:cxn ang="0">
                <a:pos x="188" y="122"/>
              </a:cxn>
              <a:cxn ang="0">
                <a:pos x="180" y="125"/>
              </a:cxn>
              <a:cxn ang="0">
                <a:pos x="155" y="141"/>
              </a:cxn>
              <a:cxn ang="0">
                <a:pos x="206" y="150"/>
              </a:cxn>
              <a:cxn ang="0">
                <a:pos x="216" y="151"/>
              </a:cxn>
            </a:cxnLst>
            <a:rect l="0" t="0" r="r" b="b"/>
            <a:pathLst>
              <a:path w="400" h="399">
                <a:moveTo>
                  <a:pt x="201" y="399"/>
                </a:moveTo>
                <a:cubicBezTo>
                  <a:pt x="131" y="399"/>
                  <a:pt x="70" y="363"/>
                  <a:pt x="35" y="312"/>
                </a:cubicBezTo>
                <a:cubicBezTo>
                  <a:pt x="13" y="280"/>
                  <a:pt x="0" y="241"/>
                  <a:pt x="0" y="200"/>
                </a:cubicBezTo>
                <a:cubicBezTo>
                  <a:pt x="0" y="151"/>
                  <a:pt x="19" y="99"/>
                  <a:pt x="62" y="56"/>
                </a:cubicBezTo>
                <a:cubicBezTo>
                  <a:pt x="96" y="22"/>
                  <a:pt x="145" y="0"/>
                  <a:pt x="199" y="0"/>
                </a:cubicBezTo>
                <a:cubicBezTo>
                  <a:pt x="212" y="0"/>
                  <a:pt x="225" y="1"/>
                  <a:pt x="238" y="4"/>
                </a:cubicBezTo>
                <a:cubicBezTo>
                  <a:pt x="297" y="15"/>
                  <a:pt x="343" y="50"/>
                  <a:pt x="372" y="96"/>
                </a:cubicBezTo>
                <a:cubicBezTo>
                  <a:pt x="376" y="102"/>
                  <a:pt x="374" y="109"/>
                  <a:pt x="368" y="113"/>
                </a:cubicBezTo>
                <a:cubicBezTo>
                  <a:pt x="363" y="116"/>
                  <a:pt x="356" y="114"/>
                  <a:pt x="352" y="109"/>
                </a:cubicBezTo>
                <a:cubicBezTo>
                  <a:pt x="326" y="67"/>
                  <a:pt x="286" y="37"/>
                  <a:pt x="234" y="27"/>
                </a:cubicBezTo>
                <a:cubicBezTo>
                  <a:pt x="222" y="25"/>
                  <a:pt x="210" y="24"/>
                  <a:pt x="199" y="24"/>
                </a:cubicBezTo>
                <a:cubicBezTo>
                  <a:pt x="151" y="24"/>
                  <a:pt x="108" y="43"/>
                  <a:pt x="78" y="73"/>
                </a:cubicBezTo>
                <a:cubicBezTo>
                  <a:pt x="39" y="112"/>
                  <a:pt x="24" y="157"/>
                  <a:pt x="24" y="200"/>
                </a:cubicBezTo>
                <a:cubicBezTo>
                  <a:pt x="24" y="236"/>
                  <a:pt x="35" y="270"/>
                  <a:pt x="54" y="298"/>
                </a:cubicBezTo>
                <a:cubicBezTo>
                  <a:pt x="85" y="343"/>
                  <a:pt x="140" y="376"/>
                  <a:pt x="201" y="376"/>
                </a:cubicBezTo>
                <a:cubicBezTo>
                  <a:pt x="223" y="376"/>
                  <a:pt x="245" y="372"/>
                  <a:pt x="268" y="362"/>
                </a:cubicBezTo>
                <a:cubicBezTo>
                  <a:pt x="302" y="349"/>
                  <a:pt x="329" y="326"/>
                  <a:pt x="347" y="297"/>
                </a:cubicBezTo>
                <a:cubicBezTo>
                  <a:pt x="366" y="268"/>
                  <a:pt x="376" y="234"/>
                  <a:pt x="376" y="199"/>
                </a:cubicBezTo>
                <a:cubicBezTo>
                  <a:pt x="376" y="191"/>
                  <a:pt x="376" y="184"/>
                  <a:pt x="375" y="176"/>
                </a:cubicBezTo>
                <a:cubicBezTo>
                  <a:pt x="373" y="178"/>
                  <a:pt x="371" y="179"/>
                  <a:pt x="369" y="181"/>
                </a:cubicBezTo>
                <a:cubicBezTo>
                  <a:pt x="366" y="183"/>
                  <a:pt x="362" y="184"/>
                  <a:pt x="357" y="184"/>
                </a:cubicBezTo>
                <a:cubicBezTo>
                  <a:pt x="353" y="184"/>
                  <a:pt x="349" y="183"/>
                  <a:pt x="345" y="181"/>
                </a:cubicBezTo>
                <a:cubicBezTo>
                  <a:pt x="344" y="181"/>
                  <a:pt x="344" y="181"/>
                  <a:pt x="344" y="181"/>
                </a:cubicBezTo>
                <a:cubicBezTo>
                  <a:pt x="336" y="176"/>
                  <a:pt x="336" y="176"/>
                  <a:pt x="336" y="176"/>
                </a:cubicBezTo>
                <a:cubicBezTo>
                  <a:pt x="319" y="206"/>
                  <a:pt x="319" y="206"/>
                  <a:pt x="319" y="206"/>
                </a:cubicBezTo>
                <a:cubicBezTo>
                  <a:pt x="316" y="211"/>
                  <a:pt x="310" y="213"/>
                  <a:pt x="304" y="211"/>
                </a:cubicBezTo>
                <a:cubicBezTo>
                  <a:pt x="290" y="205"/>
                  <a:pt x="290" y="205"/>
                  <a:pt x="290" y="205"/>
                </a:cubicBezTo>
                <a:cubicBezTo>
                  <a:pt x="294" y="211"/>
                  <a:pt x="294" y="211"/>
                  <a:pt x="294" y="211"/>
                </a:cubicBezTo>
                <a:cubicBezTo>
                  <a:pt x="309" y="215"/>
                  <a:pt x="309" y="215"/>
                  <a:pt x="309" y="215"/>
                </a:cubicBezTo>
                <a:cubicBezTo>
                  <a:pt x="313" y="216"/>
                  <a:pt x="316" y="218"/>
                  <a:pt x="317" y="222"/>
                </a:cubicBezTo>
                <a:cubicBezTo>
                  <a:pt x="318" y="225"/>
                  <a:pt x="318" y="230"/>
                  <a:pt x="316" y="233"/>
                </a:cubicBezTo>
                <a:cubicBezTo>
                  <a:pt x="316" y="233"/>
                  <a:pt x="315" y="235"/>
                  <a:pt x="313" y="238"/>
                </a:cubicBezTo>
                <a:cubicBezTo>
                  <a:pt x="311" y="241"/>
                  <a:pt x="308" y="245"/>
                  <a:pt x="305" y="250"/>
                </a:cubicBezTo>
                <a:cubicBezTo>
                  <a:pt x="299" y="259"/>
                  <a:pt x="292" y="271"/>
                  <a:pt x="289" y="277"/>
                </a:cubicBezTo>
                <a:cubicBezTo>
                  <a:pt x="289" y="278"/>
                  <a:pt x="288" y="279"/>
                  <a:pt x="288" y="280"/>
                </a:cubicBezTo>
                <a:cubicBezTo>
                  <a:pt x="288" y="281"/>
                  <a:pt x="289" y="285"/>
                  <a:pt x="289" y="290"/>
                </a:cubicBezTo>
                <a:cubicBezTo>
                  <a:pt x="289" y="298"/>
                  <a:pt x="287" y="310"/>
                  <a:pt x="277" y="321"/>
                </a:cubicBezTo>
                <a:cubicBezTo>
                  <a:pt x="274" y="325"/>
                  <a:pt x="268" y="332"/>
                  <a:pt x="261" y="339"/>
                </a:cubicBezTo>
                <a:cubicBezTo>
                  <a:pt x="254" y="346"/>
                  <a:pt x="246" y="353"/>
                  <a:pt x="237" y="358"/>
                </a:cubicBezTo>
                <a:cubicBezTo>
                  <a:pt x="231" y="361"/>
                  <a:pt x="225" y="364"/>
                  <a:pt x="217" y="364"/>
                </a:cubicBezTo>
                <a:cubicBezTo>
                  <a:pt x="212" y="364"/>
                  <a:pt x="206" y="363"/>
                  <a:pt x="201" y="360"/>
                </a:cubicBezTo>
                <a:cubicBezTo>
                  <a:pt x="197" y="356"/>
                  <a:pt x="193" y="352"/>
                  <a:pt x="190" y="347"/>
                </a:cubicBezTo>
                <a:cubicBezTo>
                  <a:pt x="182" y="334"/>
                  <a:pt x="179" y="319"/>
                  <a:pt x="176" y="305"/>
                </a:cubicBezTo>
                <a:cubicBezTo>
                  <a:pt x="174" y="291"/>
                  <a:pt x="172" y="278"/>
                  <a:pt x="170" y="269"/>
                </a:cubicBezTo>
                <a:cubicBezTo>
                  <a:pt x="168" y="262"/>
                  <a:pt x="166" y="258"/>
                  <a:pt x="164" y="257"/>
                </a:cubicBezTo>
                <a:cubicBezTo>
                  <a:pt x="163" y="256"/>
                  <a:pt x="162" y="255"/>
                  <a:pt x="161" y="255"/>
                </a:cubicBezTo>
                <a:cubicBezTo>
                  <a:pt x="155" y="254"/>
                  <a:pt x="148" y="253"/>
                  <a:pt x="141" y="253"/>
                </a:cubicBezTo>
                <a:cubicBezTo>
                  <a:pt x="133" y="252"/>
                  <a:pt x="125" y="252"/>
                  <a:pt x="118" y="249"/>
                </a:cubicBezTo>
                <a:cubicBezTo>
                  <a:pt x="112" y="247"/>
                  <a:pt x="107" y="244"/>
                  <a:pt x="103" y="239"/>
                </a:cubicBezTo>
                <a:cubicBezTo>
                  <a:pt x="97" y="233"/>
                  <a:pt x="94" y="224"/>
                  <a:pt x="93" y="214"/>
                </a:cubicBezTo>
                <a:cubicBezTo>
                  <a:pt x="93" y="211"/>
                  <a:pt x="93" y="209"/>
                  <a:pt x="93" y="207"/>
                </a:cubicBezTo>
                <a:cubicBezTo>
                  <a:pt x="93" y="188"/>
                  <a:pt x="100" y="171"/>
                  <a:pt x="111" y="160"/>
                </a:cubicBezTo>
                <a:cubicBezTo>
                  <a:pt x="120" y="150"/>
                  <a:pt x="132" y="144"/>
                  <a:pt x="144" y="142"/>
                </a:cubicBezTo>
                <a:cubicBezTo>
                  <a:pt x="141" y="142"/>
                  <a:pt x="139" y="141"/>
                  <a:pt x="137" y="140"/>
                </a:cubicBezTo>
                <a:cubicBezTo>
                  <a:pt x="130" y="136"/>
                  <a:pt x="125" y="131"/>
                  <a:pt x="121" y="126"/>
                </a:cubicBezTo>
                <a:cubicBezTo>
                  <a:pt x="117" y="120"/>
                  <a:pt x="115" y="114"/>
                  <a:pt x="115" y="107"/>
                </a:cubicBezTo>
                <a:cubicBezTo>
                  <a:pt x="115" y="104"/>
                  <a:pt x="115" y="101"/>
                  <a:pt x="117" y="97"/>
                </a:cubicBezTo>
                <a:cubicBezTo>
                  <a:pt x="119" y="94"/>
                  <a:pt x="122" y="91"/>
                  <a:pt x="125" y="89"/>
                </a:cubicBezTo>
                <a:cubicBezTo>
                  <a:pt x="128" y="88"/>
                  <a:pt x="131" y="87"/>
                  <a:pt x="135" y="85"/>
                </a:cubicBezTo>
                <a:cubicBezTo>
                  <a:pt x="138" y="84"/>
                  <a:pt x="141" y="82"/>
                  <a:pt x="144" y="80"/>
                </a:cubicBezTo>
                <a:cubicBezTo>
                  <a:pt x="144" y="80"/>
                  <a:pt x="144" y="80"/>
                  <a:pt x="145" y="79"/>
                </a:cubicBezTo>
                <a:cubicBezTo>
                  <a:pt x="145" y="78"/>
                  <a:pt x="145" y="76"/>
                  <a:pt x="145" y="74"/>
                </a:cubicBezTo>
                <a:cubicBezTo>
                  <a:pt x="145" y="68"/>
                  <a:pt x="145" y="61"/>
                  <a:pt x="148" y="55"/>
                </a:cubicBezTo>
                <a:cubicBezTo>
                  <a:pt x="151" y="49"/>
                  <a:pt x="156" y="43"/>
                  <a:pt x="164" y="39"/>
                </a:cubicBezTo>
                <a:cubicBezTo>
                  <a:pt x="168" y="37"/>
                  <a:pt x="174" y="36"/>
                  <a:pt x="180" y="36"/>
                </a:cubicBezTo>
                <a:cubicBezTo>
                  <a:pt x="180" y="36"/>
                  <a:pt x="180" y="36"/>
                  <a:pt x="181" y="36"/>
                </a:cubicBezTo>
                <a:cubicBezTo>
                  <a:pt x="189" y="36"/>
                  <a:pt x="196" y="38"/>
                  <a:pt x="203" y="40"/>
                </a:cubicBezTo>
                <a:cubicBezTo>
                  <a:pt x="210" y="41"/>
                  <a:pt x="216" y="43"/>
                  <a:pt x="221" y="44"/>
                </a:cubicBezTo>
                <a:cubicBezTo>
                  <a:pt x="224" y="45"/>
                  <a:pt x="227" y="46"/>
                  <a:pt x="228" y="46"/>
                </a:cubicBezTo>
                <a:cubicBezTo>
                  <a:pt x="229" y="46"/>
                  <a:pt x="229" y="46"/>
                  <a:pt x="230" y="46"/>
                </a:cubicBezTo>
                <a:cubicBezTo>
                  <a:pt x="232" y="42"/>
                  <a:pt x="232" y="42"/>
                  <a:pt x="232" y="42"/>
                </a:cubicBezTo>
                <a:cubicBezTo>
                  <a:pt x="235" y="37"/>
                  <a:pt x="243" y="35"/>
                  <a:pt x="248" y="39"/>
                </a:cubicBezTo>
                <a:cubicBezTo>
                  <a:pt x="253" y="42"/>
                  <a:pt x="255" y="50"/>
                  <a:pt x="251" y="55"/>
                </a:cubicBezTo>
                <a:cubicBezTo>
                  <a:pt x="249" y="59"/>
                  <a:pt x="249" y="59"/>
                  <a:pt x="249" y="59"/>
                </a:cubicBezTo>
                <a:cubicBezTo>
                  <a:pt x="249" y="59"/>
                  <a:pt x="249" y="59"/>
                  <a:pt x="249" y="59"/>
                </a:cubicBezTo>
                <a:cubicBezTo>
                  <a:pt x="246" y="63"/>
                  <a:pt x="243" y="66"/>
                  <a:pt x="239" y="67"/>
                </a:cubicBezTo>
                <a:cubicBezTo>
                  <a:pt x="235" y="69"/>
                  <a:pt x="232" y="69"/>
                  <a:pt x="228" y="69"/>
                </a:cubicBezTo>
                <a:cubicBezTo>
                  <a:pt x="224" y="69"/>
                  <a:pt x="219" y="68"/>
                  <a:pt x="215" y="67"/>
                </a:cubicBezTo>
                <a:cubicBezTo>
                  <a:pt x="211" y="66"/>
                  <a:pt x="207" y="65"/>
                  <a:pt x="203" y="64"/>
                </a:cubicBezTo>
                <a:cubicBezTo>
                  <a:pt x="195" y="62"/>
                  <a:pt x="187" y="60"/>
                  <a:pt x="181" y="60"/>
                </a:cubicBezTo>
                <a:cubicBezTo>
                  <a:pt x="181" y="60"/>
                  <a:pt x="181" y="60"/>
                  <a:pt x="180" y="60"/>
                </a:cubicBezTo>
                <a:cubicBezTo>
                  <a:pt x="175" y="60"/>
                  <a:pt x="172" y="61"/>
                  <a:pt x="171" y="62"/>
                </a:cubicBezTo>
                <a:cubicBezTo>
                  <a:pt x="170" y="63"/>
                  <a:pt x="170" y="64"/>
                  <a:pt x="169" y="67"/>
                </a:cubicBezTo>
                <a:cubicBezTo>
                  <a:pt x="168" y="69"/>
                  <a:pt x="168" y="71"/>
                  <a:pt x="168" y="74"/>
                </a:cubicBezTo>
                <a:cubicBezTo>
                  <a:pt x="168" y="76"/>
                  <a:pt x="168" y="78"/>
                  <a:pt x="169" y="81"/>
                </a:cubicBezTo>
                <a:cubicBezTo>
                  <a:pt x="169" y="81"/>
                  <a:pt x="169" y="81"/>
                  <a:pt x="169" y="81"/>
                </a:cubicBezTo>
                <a:cubicBezTo>
                  <a:pt x="169" y="81"/>
                  <a:pt x="169" y="82"/>
                  <a:pt x="169" y="82"/>
                </a:cubicBezTo>
                <a:cubicBezTo>
                  <a:pt x="169" y="86"/>
                  <a:pt x="167" y="89"/>
                  <a:pt x="166" y="91"/>
                </a:cubicBezTo>
                <a:cubicBezTo>
                  <a:pt x="165" y="93"/>
                  <a:pt x="163" y="94"/>
                  <a:pt x="162" y="96"/>
                </a:cubicBezTo>
                <a:cubicBezTo>
                  <a:pt x="159" y="99"/>
                  <a:pt x="156" y="101"/>
                  <a:pt x="152" y="103"/>
                </a:cubicBezTo>
                <a:cubicBezTo>
                  <a:pt x="148" y="105"/>
                  <a:pt x="143" y="107"/>
                  <a:pt x="139" y="109"/>
                </a:cubicBezTo>
                <a:cubicBezTo>
                  <a:pt x="139" y="110"/>
                  <a:pt x="140" y="112"/>
                  <a:pt x="141" y="113"/>
                </a:cubicBezTo>
                <a:cubicBezTo>
                  <a:pt x="142" y="115"/>
                  <a:pt x="145" y="118"/>
                  <a:pt x="147" y="119"/>
                </a:cubicBezTo>
                <a:cubicBezTo>
                  <a:pt x="147" y="119"/>
                  <a:pt x="147" y="119"/>
                  <a:pt x="148" y="119"/>
                </a:cubicBezTo>
                <a:cubicBezTo>
                  <a:pt x="148" y="119"/>
                  <a:pt x="151" y="118"/>
                  <a:pt x="154" y="116"/>
                </a:cubicBezTo>
                <a:cubicBezTo>
                  <a:pt x="157" y="114"/>
                  <a:pt x="161" y="111"/>
                  <a:pt x="164" y="109"/>
                </a:cubicBezTo>
                <a:cubicBezTo>
                  <a:pt x="166" y="107"/>
                  <a:pt x="167" y="105"/>
                  <a:pt x="170" y="104"/>
                </a:cubicBezTo>
                <a:cubicBezTo>
                  <a:pt x="173" y="101"/>
                  <a:pt x="176" y="100"/>
                  <a:pt x="179" y="100"/>
                </a:cubicBezTo>
                <a:cubicBezTo>
                  <a:pt x="182" y="99"/>
                  <a:pt x="185" y="99"/>
                  <a:pt x="188" y="99"/>
                </a:cubicBezTo>
                <a:cubicBezTo>
                  <a:pt x="196" y="99"/>
                  <a:pt x="204" y="100"/>
                  <a:pt x="211" y="102"/>
                </a:cubicBezTo>
                <a:cubicBezTo>
                  <a:pt x="215" y="103"/>
                  <a:pt x="218" y="105"/>
                  <a:pt x="220" y="107"/>
                </a:cubicBezTo>
                <a:cubicBezTo>
                  <a:pt x="223" y="109"/>
                  <a:pt x="226" y="111"/>
                  <a:pt x="229" y="113"/>
                </a:cubicBezTo>
                <a:cubicBezTo>
                  <a:pt x="235" y="118"/>
                  <a:pt x="241" y="124"/>
                  <a:pt x="245" y="130"/>
                </a:cubicBezTo>
                <a:cubicBezTo>
                  <a:pt x="248" y="134"/>
                  <a:pt x="251" y="138"/>
                  <a:pt x="253" y="143"/>
                </a:cubicBezTo>
                <a:cubicBezTo>
                  <a:pt x="254" y="146"/>
                  <a:pt x="255" y="148"/>
                  <a:pt x="255" y="152"/>
                </a:cubicBezTo>
                <a:cubicBezTo>
                  <a:pt x="255" y="153"/>
                  <a:pt x="255" y="154"/>
                  <a:pt x="254" y="156"/>
                </a:cubicBezTo>
                <a:cubicBezTo>
                  <a:pt x="253" y="161"/>
                  <a:pt x="250" y="165"/>
                  <a:pt x="247" y="167"/>
                </a:cubicBezTo>
                <a:cubicBezTo>
                  <a:pt x="243" y="169"/>
                  <a:pt x="240" y="171"/>
                  <a:pt x="237" y="172"/>
                </a:cubicBezTo>
                <a:cubicBezTo>
                  <a:pt x="230" y="174"/>
                  <a:pt x="223" y="174"/>
                  <a:pt x="216" y="174"/>
                </a:cubicBezTo>
                <a:cubicBezTo>
                  <a:pt x="213" y="174"/>
                  <a:pt x="209" y="174"/>
                  <a:pt x="206" y="174"/>
                </a:cubicBezTo>
                <a:cubicBezTo>
                  <a:pt x="203" y="173"/>
                  <a:pt x="200" y="173"/>
                  <a:pt x="197" y="171"/>
                </a:cubicBezTo>
                <a:cubicBezTo>
                  <a:pt x="194" y="170"/>
                  <a:pt x="188" y="168"/>
                  <a:pt x="181" y="167"/>
                </a:cubicBezTo>
                <a:cubicBezTo>
                  <a:pt x="174" y="166"/>
                  <a:pt x="165" y="165"/>
                  <a:pt x="154" y="165"/>
                </a:cubicBezTo>
                <a:cubicBezTo>
                  <a:pt x="154" y="165"/>
                  <a:pt x="153" y="165"/>
                  <a:pt x="152" y="165"/>
                </a:cubicBezTo>
                <a:cubicBezTo>
                  <a:pt x="144" y="165"/>
                  <a:pt x="135" y="169"/>
                  <a:pt x="128" y="176"/>
                </a:cubicBezTo>
                <a:cubicBezTo>
                  <a:pt x="121" y="184"/>
                  <a:pt x="116" y="194"/>
                  <a:pt x="116" y="207"/>
                </a:cubicBezTo>
                <a:cubicBezTo>
                  <a:pt x="116" y="208"/>
                  <a:pt x="116" y="210"/>
                  <a:pt x="117" y="211"/>
                </a:cubicBezTo>
                <a:cubicBezTo>
                  <a:pt x="117" y="215"/>
                  <a:pt x="118" y="218"/>
                  <a:pt x="119" y="220"/>
                </a:cubicBezTo>
                <a:cubicBezTo>
                  <a:pt x="119" y="222"/>
                  <a:pt x="120" y="223"/>
                  <a:pt x="121" y="224"/>
                </a:cubicBezTo>
                <a:cubicBezTo>
                  <a:pt x="123" y="226"/>
                  <a:pt x="126" y="227"/>
                  <a:pt x="132" y="228"/>
                </a:cubicBezTo>
                <a:cubicBezTo>
                  <a:pt x="135" y="229"/>
                  <a:pt x="140" y="229"/>
                  <a:pt x="145" y="229"/>
                </a:cubicBezTo>
                <a:cubicBezTo>
                  <a:pt x="151" y="230"/>
                  <a:pt x="159" y="230"/>
                  <a:pt x="166" y="232"/>
                </a:cubicBezTo>
                <a:cubicBezTo>
                  <a:pt x="175" y="234"/>
                  <a:pt x="181" y="239"/>
                  <a:pt x="185" y="246"/>
                </a:cubicBezTo>
                <a:cubicBezTo>
                  <a:pt x="189" y="252"/>
                  <a:pt x="192" y="259"/>
                  <a:pt x="193" y="266"/>
                </a:cubicBezTo>
                <a:cubicBezTo>
                  <a:pt x="197" y="280"/>
                  <a:pt x="198" y="296"/>
                  <a:pt x="201" y="310"/>
                </a:cubicBezTo>
                <a:cubicBezTo>
                  <a:pt x="203" y="320"/>
                  <a:pt x="206" y="329"/>
                  <a:pt x="210" y="335"/>
                </a:cubicBezTo>
                <a:cubicBezTo>
                  <a:pt x="212" y="338"/>
                  <a:pt x="213" y="339"/>
                  <a:pt x="214" y="340"/>
                </a:cubicBezTo>
                <a:cubicBezTo>
                  <a:pt x="215" y="340"/>
                  <a:pt x="216" y="340"/>
                  <a:pt x="217" y="340"/>
                </a:cubicBezTo>
                <a:cubicBezTo>
                  <a:pt x="219" y="340"/>
                  <a:pt x="222" y="340"/>
                  <a:pt x="226" y="337"/>
                </a:cubicBezTo>
                <a:cubicBezTo>
                  <a:pt x="230" y="335"/>
                  <a:pt x="234" y="332"/>
                  <a:pt x="238" y="328"/>
                </a:cubicBezTo>
                <a:cubicBezTo>
                  <a:pt x="247" y="321"/>
                  <a:pt x="255" y="311"/>
                  <a:pt x="259" y="306"/>
                </a:cubicBezTo>
                <a:cubicBezTo>
                  <a:pt x="265" y="299"/>
                  <a:pt x="265" y="295"/>
                  <a:pt x="265" y="290"/>
                </a:cubicBezTo>
                <a:cubicBezTo>
                  <a:pt x="265" y="287"/>
                  <a:pt x="265" y="283"/>
                  <a:pt x="265" y="279"/>
                </a:cubicBezTo>
                <a:cubicBezTo>
                  <a:pt x="265" y="278"/>
                  <a:pt x="265" y="278"/>
                  <a:pt x="265" y="278"/>
                </a:cubicBezTo>
                <a:cubicBezTo>
                  <a:pt x="265" y="275"/>
                  <a:pt x="265" y="274"/>
                  <a:pt x="266" y="273"/>
                </a:cubicBezTo>
                <a:cubicBezTo>
                  <a:pt x="266" y="272"/>
                  <a:pt x="267" y="270"/>
                  <a:pt x="267" y="269"/>
                </a:cubicBezTo>
                <a:cubicBezTo>
                  <a:pt x="268" y="267"/>
                  <a:pt x="269" y="264"/>
                  <a:pt x="271" y="262"/>
                </a:cubicBezTo>
                <a:cubicBezTo>
                  <a:pt x="274" y="256"/>
                  <a:pt x="278" y="250"/>
                  <a:pt x="281" y="243"/>
                </a:cubicBezTo>
                <a:cubicBezTo>
                  <a:pt x="283" y="240"/>
                  <a:pt x="285" y="237"/>
                  <a:pt x="287" y="234"/>
                </a:cubicBezTo>
                <a:cubicBezTo>
                  <a:pt x="283" y="233"/>
                  <a:pt x="283" y="233"/>
                  <a:pt x="283" y="233"/>
                </a:cubicBezTo>
                <a:cubicBezTo>
                  <a:pt x="280" y="232"/>
                  <a:pt x="277" y="230"/>
                  <a:pt x="275" y="227"/>
                </a:cubicBezTo>
                <a:cubicBezTo>
                  <a:pt x="253" y="186"/>
                  <a:pt x="253" y="186"/>
                  <a:pt x="253" y="186"/>
                </a:cubicBezTo>
                <a:cubicBezTo>
                  <a:pt x="250" y="182"/>
                  <a:pt x="251" y="176"/>
                  <a:pt x="254" y="172"/>
                </a:cubicBezTo>
                <a:cubicBezTo>
                  <a:pt x="258" y="169"/>
                  <a:pt x="263" y="168"/>
                  <a:pt x="268" y="170"/>
                </a:cubicBezTo>
                <a:cubicBezTo>
                  <a:pt x="304" y="185"/>
                  <a:pt x="304" y="185"/>
                  <a:pt x="304" y="185"/>
                </a:cubicBezTo>
                <a:cubicBezTo>
                  <a:pt x="321" y="154"/>
                  <a:pt x="321" y="154"/>
                  <a:pt x="321" y="154"/>
                </a:cubicBezTo>
                <a:cubicBezTo>
                  <a:pt x="325" y="148"/>
                  <a:pt x="332" y="147"/>
                  <a:pt x="337" y="150"/>
                </a:cubicBezTo>
                <a:cubicBezTo>
                  <a:pt x="356" y="160"/>
                  <a:pt x="356" y="160"/>
                  <a:pt x="356" y="160"/>
                </a:cubicBezTo>
                <a:cubicBezTo>
                  <a:pt x="356" y="160"/>
                  <a:pt x="357" y="160"/>
                  <a:pt x="357" y="160"/>
                </a:cubicBezTo>
                <a:cubicBezTo>
                  <a:pt x="357" y="160"/>
                  <a:pt x="357" y="160"/>
                  <a:pt x="357" y="160"/>
                </a:cubicBezTo>
                <a:cubicBezTo>
                  <a:pt x="357" y="160"/>
                  <a:pt x="358" y="160"/>
                  <a:pt x="358" y="160"/>
                </a:cubicBezTo>
                <a:cubicBezTo>
                  <a:pt x="359" y="158"/>
                  <a:pt x="360" y="155"/>
                  <a:pt x="362" y="152"/>
                </a:cubicBezTo>
                <a:cubicBezTo>
                  <a:pt x="364" y="145"/>
                  <a:pt x="365" y="136"/>
                  <a:pt x="365" y="135"/>
                </a:cubicBezTo>
                <a:cubicBezTo>
                  <a:pt x="365" y="135"/>
                  <a:pt x="365" y="135"/>
                  <a:pt x="365" y="135"/>
                </a:cubicBezTo>
                <a:cubicBezTo>
                  <a:pt x="365" y="129"/>
                  <a:pt x="369" y="125"/>
                  <a:pt x="375" y="124"/>
                </a:cubicBezTo>
                <a:cubicBezTo>
                  <a:pt x="380" y="123"/>
                  <a:pt x="386" y="126"/>
                  <a:pt x="388" y="131"/>
                </a:cubicBezTo>
                <a:cubicBezTo>
                  <a:pt x="396" y="153"/>
                  <a:pt x="400" y="176"/>
                  <a:pt x="400" y="199"/>
                </a:cubicBezTo>
                <a:cubicBezTo>
                  <a:pt x="400" y="238"/>
                  <a:pt x="388" y="277"/>
                  <a:pt x="367" y="309"/>
                </a:cubicBezTo>
                <a:cubicBezTo>
                  <a:pt x="346" y="342"/>
                  <a:pt x="316" y="369"/>
                  <a:pt x="277" y="384"/>
                </a:cubicBezTo>
                <a:cubicBezTo>
                  <a:pt x="251" y="395"/>
                  <a:pt x="226" y="399"/>
                  <a:pt x="201" y="399"/>
                </a:cubicBezTo>
                <a:close/>
                <a:moveTo>
                  <a:pt x="230" y="149"/>
                </a:moveTo>
                <a:cubicBezTo>
                  <a:pt x="229" y="148"/>
                  <a:pt x="227" y="145"/>
                  <a:pt x="225" y="143"/>
                </a:cubicBezTo>
                <a:cubicBezTo>
                  <a:pt x="221" y="138"/>
                  <a:pt x="216" y="132"/>
                  <a:pt x="211" y="129"/>
                </a:cubicBezTo>
                <a:cubicBezTo>
                  <a:pt x="208" y="126"/>
                  <a:pt x="205" y="125"/>
                  <a:pt x="205" y="125"/>
                </a:cubicBezTo>
                <a:cubicBezTo>
                  <a:pt x="199" y="123"/>
                  <a:pt x="193" y="122"/>
                  <a:pt x="188" y="122"/>
                </a:cubicBezTo>
                <a:cubicBezTo>
                  <a:pt x="187" y="122"/>
                  <a:pt x="185" y="122"/>
                  <a:pt x="185" y="123"/>
                </a:cubicBezTo>
                <a:cubicBezTo>
                  <a:pt x="184" y="123"/>
                  <a:pt x="183" y="123"/>
                  <a:pt x="183" y="123"/>
                </a:cubicBezTo>
                <a:cubicBezTo>
                  <a:pt x="183" y="123"/>
                  <a:pt x="182" y="124"/>
                  <a:pt x="180" y="125"/>
                </a:cubicBezTo>
                <a:cubicBezTo>
                  <a:pt x="179" y="126"/>
                  <a:pt x="177" y="128"/>
                  <a:pt x="175" y="129"/>
                </a:cubicBezTo>
                <a:cubicBezTo>
                  <a:pt x="171" y="133"/>
                  <a:pt x="167" y="136"/>
                  <a:pt x="161" y="139"/>
                </a:cubicBezTo>
                <a:cubicBezTo>
                  <a:pt x="159" y="140"/>
                  <a:pt x="157" y="141"/>
                  <a:pt x="155" y="141"/>
                </a:cubicBezTo>
                <a:cubicBezTo>
                  <a:pt x="167" y="141"/>
                  <a:pt x="177" y="142"/>
                  <a:pt x="185" y="144"/>
                </a:cubicBezTo>
                <a:cubicBezTo>
                  <a:pt x="194" y="146"/>
                  <a:pt x="201" y="148"/>
                  <a:pt x="206" y="150"/>
                </a:cubicBezTo>
                <a:cubicBezTo>
                  <a:pt x="206" y="150"/>
                  <a:pt x="206" y="150"/>
                  <a:pt x="206" y="150"/>
                </a:cubicBezTo>
                <a:cubicBezTo>
                  <a:pt x="207" y="150"/>
                  <a:pt x="207" y="150"/>
                  <a:pt x="207" y="150"/>
                </a:cubicBezTo>
                <a:cubicBezTo>
                  <a:pt x="208" y="150"/>
                  <a:pt x="208" y="150"/>
                  <a:pt x="209" y="151"/>
                </a:cubicBezTo>
                <a:cubicBezTo>
                  <a:pt x="211" y="151"/>
                  <a:pt x="214" y="151"/>
                  <a:pt x="216" y="151"/>
                </a:cubicBezTo>
                <a:cubicBezTo>
                  <a:pt x="221" y="151"/>
                  <a:pt x="226" y="150"/>
                  <a:pt x="230" y="149"/>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4" name="Freeform 255"/>
          <p:cNvSpPr>
            <a:spLocks/>
          </p:cNvSpPr>
          <p:nvPr userDrawn="1"/>
        </p:nvSpPr>
        <p:spPr bwMode="auto">
          <a:xfrm>
            <a:off x="3286086" y="828975"/>
            <a:ext cx="452555" cy="475060"/>
          </a:xfrm>
          <a:custGeom>
            <a:avLst/>
            <a:gdLst/>
            <a:ahLst/>
            <a:cxnLst>
              <a:cxn ang="0">
                <a:pos x="509" y="500"/>
              </a:cxn>
              <a:cxn ang="0">
                <a:pos x="495" y="96"/>
              </a:cxn>
              <a:cxn ang="0">
                <a:pos x="511" y="74"/>
              </a:cxn>
              <a:cxn ang="0">
                <a:pos x="511" y="29"/>
              </a:cxn>
              <a:cxn ang="0">
                <a:pos x="488" y="2"/>
              </a:cxn>
              <a:cxn ang="0">
                <a:pos x="17" y="0"/>
              </a:cxn>
              <a:cxn ang="0">
                <a:pos x="7" y="25"/>
              </a:cxn>
              <a:cxn ang="0">
                <a:pos x="7" y="25"/>
              </a:cxn>
              <a:cxn ang="0">
                <a:pos x="16" y="50"/>
              </a:cxn>
              <a:cxn ang="0">
                <a:pos x="8" y="75"/>
              </a:cxn>
              <a:cxn ang="0">
                <a:pos x="7" y="75"/>
              </a:cxn>
              <a:cxn ang="0">
                <a:pos x="15" y="102"/>
              </a:cxn>
              <a:cxn ang="0">
                <a:pos x="44" y="288"/>
              </a:cxn>
              <a:cxn ang="0">
                <a:pos x="48" y="453"/>
              </a:cxn>
              <a:cxn ang="0">
                <a:pos x="419" y="458"/>
              </a:cxn>
              <a:cxn ang="0">
                <a:pos x="433" y="439"/>
              </a:cxn>
              <a:cxn ang="0">
                <a:pos x="400" y="367"/>
              </a:cxn>
              <a:cxn ang="0">
                <a:pos x="125" y="335"/>
              </a:cxn>
              <a:cxn ang="0">
                <a:pos x="431" y="329"/>
              </a:cxn>
              <a:cxn ang="0">
                <a:pos x="413" y="257"/>
              </a:cxn>
              <a:cxn ang="0">
                <a:pos x="134" y="247"/>
              </a:cxn>
              <a:cxn ang="0">
                <a:pos x="419" y="218"/>
              </a:cxn>
              <a:cxn ang="0">
                <a:pos x="433" y="200"/>
              </a:cxn>
              <a:cxn ang="0">
                <a:pos x="403" y="131"/>
              </a:cxn>
              <a:cxn ang="0">
                <a:pos x="124" y="102"/>
              </a:cxn>
              <a:cxn ang="0">
                <a:pos x="443" y="88"/>
              </a:cxn>
              <a:cxn ang="0">
                <a:pos x="105" y="73"/>
              </a:cxn>
              <a:cxn ang="0">
                <a:pos x="91" y="91"/>
              </a:cxn>
              <a:cxn ang="0">
                <a:pos x="121" y="160"/>
              </a:cxn>
              <a:cxn ang="0">
                <a:pos x="400" y="189"/>
              </a:cxn>
              <a:cxn ang="0">
                <a:pos x="95" y="195"/>
              </a:cxn>
              <a:cxn ang="0">
                <a:pos x="109" y="266"/>
              </a:cxn>
              <a:cxn ang="0">
                <a:pos x="389" y="276"/>
              </a:cxn>
              <a:cxn ang="0">
                <a:pos x="106" y="306"/>
              </a:cxn>
              <a:cxn ang="0">
                <a:pos x="92" y="325"/>
              </a:cxn>
              <a:cxn ang="0">
                <a:pos x="123" y="396"/>
              </a:cxn>
              <a:cxn ang="0">
                <a:pos x="400" y="428"/>
              </a:cxn>
              <a:cxn ang="0">
                <a:pos x="73" y="288"/>
              </a:cxn>
              <a:cxn ang="0">
                <a:pos x="69" y="77"/>
              </a:cxn>
              <a:cxn ang="0">
                <a:pos x="42" y="73"/>
              </a:cxn>
              <a:cxn ang="0">
                <a:pos x="42" y="29"/>
              </a:cxn>
              <a:cxn ang="0">
                <a:pos x="480" y="34"/>
              </a:cxn>
              <a:cxn ang="0">
                <a:pos x="486" y="51"/>
              </a:cxn>
              <a:cxn ang="0">
                <a:pos x="478" y="72"/>
              </a:cxn>
              <a:cxn ang="0">
                <a:pos x="476" y="74"/>
              </a:cxn>
              <a:cxn ang="0">
                <a:pos x="466" y="495"/>
              </a:cxn>
              <a:cxn ang="0">
                <a:pos x="466" y="513"/>
              </a:cxn>
              <a:cxn ang="0">
                <a:pos x="434" y="500"/>
              </a:cxn>
              <a:cxn ang="0">
                <a:pos x="469" y="555"/>
              </a:cxn>
              <a:cxn ang="0">
                <a:pos x="471" y="557"/>
              </a:cxn>
              <a:cxn ang="0">
                <a:pos x="491" y="557"/>
              </a:cxn>
              <a:cxn ang="0">
                <a:pos x="493" y="555"/>
              </a:cxn>
              <a:cxn ang="0">
                <a:pos x="529" y="500"/>
              </a:cxn>
            </a:cxnLst>
            <a:rect l="0" t="0" r="r" b="b"/>
            <a:pathLst>
              <a:path w="534" h="561">
                <a:moveTo>
                  <a:pt x="529" y="500"/>
                </a:moveTo>
                <a:cubicBezTo>
                  <a:pt x="523" y="494"/>
                  <a:pt x="514" y="494"/>
                  <a:pt x="509" y="500"/>
                </a:cubicBezTo>
                <a:cubicBezTo>
                  <a:pt x="495" y="514"/>
                  <a:pt x="495" y="514"/>
                  <a:pt x="495" y="514"/>
                </a:cubicBezTo>
                <a:cubicBezTo>
                  <a:pt x="495" y="96"/>
                  <a:pt x="495" y="96"/>
                  <a:pt x="495" y="96"/>
                </a:cubicBezTo>
                <a:cubicBezTo>
                  <a:pt x="497" y="94"/>
                  <a:pt x="499" y="92"/>
                  <a:pt x="502" y="90"/>
                </a:cubicBezTo>
                <a:cubicBezTo>
                  <a:pt x="505" y="86"/>
                  <a:pt x="509" y="81"/>
                  <a:pt x="511" y="74"/>
                </a:cubicBezTo>
                <a:cubicBezTo>
                  <a:pt x="514" y="68"/>
                  <a:pt x="515" y="60"/>
                  <a:pt x="515" y="51"/>
                </a:cubicBezTo>
                <a:cubicBezTo>
                  <a:pt x="515" y="42"/>
                  <a:pt x="514" y="35"/>
                  <a:pt x="511" y="29"/>
                </a:cubicBezTo>
                <a:cubicBezTo>
                  <a:pt x="507" y="20"/>
                  <a:pt x="501" y="13"/>
                  <a:pt x="497" y="9"/>
                </a:cubicBezTo>
                <a:cubicBezTo>
                  <a:pt x="492" y="4"/>
                  <a:pt x="489" y="2"/>
                  <a:pt x="488" y="2"/>
                </a:cubicBezTo>
                <a:cubicBezTo>
                  <a:pt x="486" y="0"/>
                  <a:pt x="483" y="0"/>
                  <a:pt x="480" y="0"/>
                </a:cubicBezTo>
                <a:cubicBezTo>
                  <a:pt x="17" y="0"/>
                  <a:pt x="17" y="0"/>
                  <a:pt x="17" y="0"/>
                </a:cubicBezTo>
                <a:cubicBezTo>
                  <a:pt x="11" y="0"/>
                  <a:pt x="5" y="3"/>
                  <a:pt x="3" y="9"/>
                </a:cubicBezTo>
                <a:cubicBezTo>
                  <a:pt x="1" y="15"/>
                  <a:pt x="3" y="21"/>
                  <a:pt x="7" y="25"/>
                </a:cubicBezTo>
                <a:cubicBezTo>
                  <a:pt x="7" y="25"/>
                  <a:pt x="7" y="25"/>
                  <a:pt x="7" y="25"/>
                </a:cubicBezTo>
                <a:cubicBezTo>
                  <a:pt x="7" y="25"/>
                  <a:pt x="7" y="25"/>
                  <a:pt x="7" y="25"/>
                </a:cubicBezTo>
                <a:cubicBezTo>
                  <a:pt x="8" y="26"/>
                  <a:pt x="11" y="29"/>
                  <a:pt x="13" y="33"/>
                </a:cubicBezTo>
                <a:cubicBezTo>
                  <a:pt x="15" y="37"/>
                  <a:pt x="16" y="43"/>
                  <a:pt x="16" y="50"/>
                </a:cubicBezTo>
                <a:cubicBezTo>
                  <a:pt x="16" y="61"/>
                  <a:pt x="13" y="67"/>
                  <a:pt x="11" y="71"/>
                </a:cubicBezTo>
                <a:cubicBezTo>
                  <a:pt x="10" y="73"/>
                  <a:pt x="8" y="74"/>
                  <a:pt x="8" y="75"/>
                </a:cubicBezTo>
                <a:cubicBezTo>
                  <a:pt x="7" y="75"/>
                  <a:pt x="7" y="75"/>
                  <a:pt x="7" y="75"/>
                </a:cubicBezTo>
                <a:cubicBezTo>
                  <a:pt x="7" y="75"/>
                  <a:pt x="7" y="75"/>
                  <a:pt x="7" y="75"/>
                </a:cubicBezTo>
                <a:cubicBezTo>
                  <a:pt x="2" y="79"/>
                  <a:pt x="0" y="86"/>
                  <a:pt x="1" y="92"/>
                </a:cubicBezTo>
                <a:cubicBezTo>
                  <a:pt x="3" y="98"/>
                  <a:pt x="9" y="102"/>
                  <a:pt x="15" y="102"/>
                </a:cubicBezTo>
                <a:cubicBezTo>
                  <a:pt x="44" y="102"/>
                  <a:pt x="44" y="102"/>
                  <a:pt x="44" y="102"/>
                </a:cubicBezTo>
                <a:cubicBezTo>
                  <a:pt x="44" y="288"/>
                  <a:pt x="44" y="288"/>
                  <a:pt x="44" y="288"/>
                </a:cubicBezTo>
                <a:cubicBezTo>
                  <a:pt x="44" y="443"/>
                  <a:pt x="44" y="443"/>
                  <a:pt x="44" y="443"/>
                </a:cubicBezTo>
                <a:cubicBezTo>
                  <a:pt x="44" y="447"/>
                  <a:pt x="45" y="451"/>
                  <a:pt x="48" y="453"/>
                </a:cubicBezTo>
                <a:cubicBezTo>
                  <a:pt x="51" y="456"/>
                  <a:pt x="55" y="458"/>
                  <a:pt x="58" y="458"/>
                </a:cubicBezTo>
                <a:cubicBezTo>
                  <a:pt x="419" y="458"/>
                  <a:pt x="419" y="458"/>
                  <a:pt x="419" y="458"/>
                </a:cubicBezTo>
                <a:cubicBezTo>
                  <a:pt x="424" y="458"/>
                  <a:pt x="428" y="455"/>
                  <a:pt x="431" y="452"/>
                </a:cubicBezTo>
                <a:cubicBezTo>
                  <a:pt x="434" y="448"/>
                  <a:pt x="435" y="443"/>
                  <a:pt x="433" y="439"/>
                </a:cubicBezTo>
                <a:cubicBezTo>
                  <a:pt x="414" y="377"/>
                  <a:pt x="414" y="377"/>
                  <a:pt x="414" y="377"/>
                </a:cubicBezTo>
                <a:cubicBezTo>
                  <a:pt x="412" y="371"/>
                  <a:pt x="407" y="367"/>
                  <a:pt x="400" y="367"/>
                </a:cubicBezTo>
                <a:cubicBezTo>
                  <a:pt x="134" y="367"/>
                  <a:pt x="134" y="367"/>
                  <a:pt x="134" y="367"/>
                </a:cubicBezTo>
                <a:cubicBezTo>
                  <a:pt x="125" y="335"/>
                  <a:pt x="125" y="335"/>
                  <a:pt x="125" y="335"/>
                </a:cubicBezTo>
                <a:cubicBezTo>
                  <a:pt x="419" y="335"/>
                  <a:pt x="419" y="335"/>
                  <a:pt x="419" y="335"/>
                </a:cubicBezTo>
                <a:cubicBezTo>
                  <a:pt x="424" y="335"/>
                  <a:pt x="428" y="333"/>
                  <a:pt x="431" y="329"/>
                </a:cubicBezTo>
                <a:cubicBezTo>
                  <a:pt x="434" y="325"/>
                  <a:pt x="434" y="321"/>
                  <a:pt x="433" y="316"/>
                </a:cubicBezTo>
                <a:cubicBezTo>
                  <a:pt x="413" y="257"/>
                  <a:pt x="413" y="257"/>
                  <a:pt x="413" y="257"/>
                </a:cubicBezTo>
                <a:cubicBezTo>
                  <a:pt x="411" y="251"/>
                  <a:pt x="406" y="247"/>
                  <a:pt x="399" y="247"/>
                </a:cubicBezTo>
                <a:cubicBezTo>
                  <a:pt x="134" y="247"/>
                  <a:pt x="134" y="247"/>
                  <a:pt x="134" y="247"/>
                </a:cubicBezTo>
                <a:cubicBezTo>
                  <a:pt x="126" y="218"/>
                  <a:pt x="126" y="218"/>
                  <a:pt x="126" y="218"/>
                </a:cubicBezTo>
                <a:cubicBezTo>
                  <a:pt x="419" y="218"/>
                  <a:pt x="419" y="218"/>
                  <a:pt x="419" y="218"/>
                </a:cubicBezTo>
                <a:cubicBezTo>
                  <a:pt x="424" y="218"/>
                  <a:pt x="428" y="216"/>
                  <a:pt x="431" y="213"/>
                </a:cubicBezTo>
                <a:cubicBezTo>
                  <a:pt x="434" y="209"/>
                  <a:pt x="435" y="204"/>
                  <a:pt x="433" y="200"/>
                </a:cubicBezTo>
                <a:cubicBezTo>
                  <a:pt x="417" y="142"/>
                  <a:pt x="417" y="142"/>
                  <a:pt x="417" y="142"/>
                </a:cubicBezTo>
                <a:cubicBezTo>
                  <a:pt x="415" y="136"/>
                  <a:pt x="409" y="131"/>
                  <a:pt x="403" y="131"/>
                </a:cubicBezTo>
                <a:cubicBezTo>
                  <a:pt x="132" y="131"/>
                  <a:pt x="132" y="131"/>
                  <a:pt x="132" y="131"/>
                </a:cubicBezTo>
                <a:cubicBezTo>
                  <a:pt x="124" y="102"/>
                  <a:pt x="124" y="102"/>
                  <a:pt x="124" y="102"/>
                </a:cubicBezTo>
                <a:cubicBezTo>
                  <a:pt x="429" y="102"/>
                  <a:pt x="429" y="102"/>
                  <a:pt x="429" y="102"/>
                </a:cubicBezTo>
                <a:cubicBezTo>
                  <a:pt x="437" y="102"/>
                  <a:pt x="443" y="96"/>
                  <a:pt x="443" y="88"/>
                </a:cubicBezTo>
                <a:cubicBezTo>
                  <a:pt x="443" y="80"/>
                  <a:pt x="437" y="73"/>
                  <a:pt x="429" y="73"/>
                </a:cubicBezTo>
                <a:cubicBezTo>
                  <a:pt x="105" y="73"/>
                  <a:pt x="105" y="73"/>
                  <a:pt x="105" y="73"/>
                </a:cubicBezTo>
                <a:cubicBezTo>
                  <a:pt x="100" y="73"/>
                  <a:pt x="96" y="75"/>
                  <a:pt x="93" y="79"/>
                </a:cubicBezTo>
                <a:cubicBezTo>
                  <a:pt x="91" y="82"/>
                  <a:pt x="90" y="87"/>
                  <a:pt x="91" y="91"/>
                </a:cubicBezTo>
                <a:cubicBezTo>
                  <a:pt x="107" y="150"/>
                  <a:pt x="107" y="150"/>
                  <a:pt x="107" y="150"/>
                </a:cubicBezTo>
                <a:cubicBezTo>
                  <a:pt x="108" y="156"/>
                  <a:pt x="114" y="160"/>
                  <a:pt x="121" y="160"/>
                </a:cubicBezTo>
                <a:cubicBezTo>
                  <a:pt x="392" y="160"/>
                  <a:pt x="392" y="160"/>
                  <a:pt x="392" y="160"/>
                </a:cubicBezTo>
                <a:cubicBezTo>
                  <a:pt x="400" y="189"/>
                  <a:pt x="400" y="189"/>
                  <a:pt x="400" y="189"/>
                </a:cubicBezTo>
                <a:cubicBezTo>
                  <a:pt x="107" y="189"/>
                  <a:pt x="107" y="189"/>
                  <a:pt x="107" y="189"/>
                </a:cubicBezTo>
                <a:cubicBezTo>
                  <a:pt x="103" y="189"/>
                  <a:pt x="98" y="191"/>
                  <a:pt x="95" y="195"/>
                </a:cubicBezTo>
                <a:cubicBezTo>
                  <a:pt x="93" y="199"/>
                  <a:pt x="92" y="203"/>
                  <a:pt x="93" y="208"/>
                </a:cubicBezTo>
                <a:cubicBezTo>
                  <a:pt x="109" y="266"/>
                  <a:pt x="109" y="266"/>
                  <a:pt x="109" y="266"/>
                </a:cubicBezTo>
                <a:cubicBezTo>
                  <a:pt x="111" y="272"/>
                  <a:pt x="116" y="276"/>
                  <a:pt x="123" y="276"/>
                </a:cubicBezTo>
                <a:cubicBezTo>
                  <a:pt x="389" y="276"/>
                  <a:pt x="389" y="276"/>
                  <a:pt x="389" y="276"/>
                </a:cubicBezTo>
                <a:cubicBezTo>
                  <a:pt x="399" y="306"/>
                  <a:pt x="399" y="306"/>
                  <a:pt x="399" y="306"/>
                </a:cubicBezTo>
                <a:cubicBezTo>
                  <a:pt x="106" y="306"/>
                  <a:pt x="106" y="306"/>
                  <a:pt x="106" y="306"/>
                </a:cubicBezTo>
                <a:cubicBezTo>
                  <a:pt x="102" y="306"/>
                  <a:pt x="97" y="308"/>
                  <a:pt x="95" y="312"/>
                </a:cubicBezTo>
                <a:cubicBezTo>
                  <a:pt x="92" y="316"/>
                  <a:pt x="91" y="320"/>
                  <a:pt x="92" y="325"/>
                </a:cubicBezTo>
                <a:cubicBezTo>
                  <a:pt x="109" y="385"/>
                  <a:pt x="109" y="385"/>
                  <a:pt x="109" y="385"/>
                </a:cubicBezTo>
                <a:cubicBezTo>
                  <a:pt x="111" y="392"/>
                  <a:pt x="116" y="396"/>
                  <a:pt x="123" y="396"/>
                </a:cubicBezTo>
                <a:cubicBezTo>
                  <a:pt x="389" y="396"/>
                  <a:pt x="389" y="396"/>
                  <a:pt x="389" y="396"/>
                </a:cubicBezTo>
                <a:cubicBezTo>
                  <a:pt x="400" y="428"/>
                  <a:pt x="400" y="428"/>
                  <a:pt x="400" y="428"/>
                </a:cubicBezTo>
                <a:cubicBezTo>
                  <a:pt x="73" y="428"/>
                  <a:pt x="73" y="428"/>
                  <a:pt x="73" y="428"/>
                </a:cubicBezTo>
                <a:cubicBezTo>
                  <a:pt x="73" y="288"/>
                  <a:pt x="73" y="288"/>
                  <a:pt x="73" y="288"/>
                </a:cubicBezTo>
                <a:cubicBezTo>
                  <a:pt x="73" y="87"/>
                  <a:pt x="73" y="87"/>
                  <a:pt x="73" y="87"/>
                </a:cubicBezTo>
                <a:cubicBezTo>
                  <a:pt x="73" y="84"/>
                  <a:pt x="71" y="80"/>
                  <a:pt x="69" y="77"/>
                </a:cubicBezTo>
                <a:cubicBezTo>
                  <a:pt x="66" y="74"/>
                  <a:pt x="62" y="73"/>
                  <a:pt x="58" y="73"/>
                </a:cubicBezTo>
                <a:cubicBezTo>
                  <a:pt x="42" y="73"/>
                  <a:pt x="42" y="73"/>
                  <a:pt x="42" y="73"/>
                </a:cubicBezTo>
                <a:cubicBezTo>
                  <a:pt x="44" y="66"/>
                  <a:pt x="46" y="59"/>
                  <a:pt x="46" y="50"/>
                </a:cubicBezTo>
                <a:cubicBezTo>
                  <a:pt x="46" y="42"/>
                  <a:pt x="44" y="35"/>
                  <a:pt x="42" y="29"/>
                </a:cubicBezTo>
                <a:cubicBezTo>
                  <a:pt x="475" y="29"/>
                  <a:pt x="475" y="29"/>
                  <a:pt x="475" y="29"/>
                </a:cubicBezTo>
                <a:cubicBezTo>
                  <a:pt x="477" y="30"/>
                  <a:pt x="478" y="31"/>
                  <a:pt x="480" y="34"/>
                </a:cubicBezTo>
                <a:cubicBezTo>
                  <a:pt x="482" y="36"/>
                  <a:pt x="483" y="38"/>
                  <a:pt x="484" y="41"/>
                </a:cubicBezTo>
                <a:cubicBezTo>
                  <a:pt x="486" y="44"/>
                  <a:pt x="486" y="47"/>
                  <a:pt x="486" y="51"/>
                </a:cubicBezTo>
                <a:cubicBezTo>
                  <a:pt x="486" y="56"/>
                  <a:pt x="485" y="61"/>
                  <a:pt x="484" y="64"/>
                </a:cubicBezTo>
                <a:cubicBezTo>
                  <a:pt x="482" y="68"/>
                  <a:pt x="480" y="71"/>
                  <a:pt x="478" y="72"/>
                </a:cubicBezTo>
                <a:cubicBezTo>
                  <a:pt x="477" y="73"/>
                  <a:pt x="476" y="74"/>
                  <a:pt x="476" y="74"/>
                </a:cubicBezTo>
                <a:cubicBezTo>
                  <a:pt x="476" y="74"/>
                  <a:pt x="476" y="74"/>
                  <a:pt x="476" y="74"/>
                </a:cubicBezTo>
                <a:cubicBezTo>
                  <a:pt x="470" y="76"/>
                  <a:pt x="466" y="82"/>
                  <a:pt x="466" y="88"/>
                </a:cubicBezTo>
                <a:cubicBezTo>
                  <a:pt x="466" y="495"/>
                  <a:pt x="466" y="495"/>
                  <a:pt x="466" y="495"/>
                </a:cubicBezTo>
                <a:cubicBezTo>
                  <a:pt x="466" y="495"/>
                  <a:pt x="466" y="495"/>
                  <a:pt x="466" y="495"/>
                </a:cubicBezTo>
                <a:cubicBezTo>
                  <a:pt x="466" y="513"/>
                  <a:pt x="466" y="513"/>
                  <a:pt x="466" y="513"/>
                </a:cubicBezTo>
                <a:cubicBezTo>
                  <a:pt x="453" y="500"/>
                  <a:pt x="453" y="500"/>
                  <a:pt x="453" y="500"/>
                </a:cubicBezTo>
                <a:cubicBezTo>
                  <a:pt x="448" y="494"/>
                  <a:pt x="439" y="494"/>
                  <a:pt x="434" y="500"/>
                </a:cubicBezTo>
                <a:cubicBezTo>
                  <a:pt x="428" y="505"/>
                  <a:pt x="428" y="514"/>
                  <a:pt x="434" y="519"/>
                </a:cubicBezTo>
                <a:cubicBezTo>
                  <a:pt x="469" y="555"/>
                  <a:pt x="469" y="555"/>
                  <a:pt x="469" y="555"/>
                </a:cubicBezTo>
                <a:cubicBezTo>
                  <a:pt x="469" y="555"/>
                  <a:pt x="469" y="555"/>
                  <a:pt x="469" y="555"/>
                </a:cubicBezTo>
                <a:cubicBezTo>
                  <a:pt x="471" y="557"/>
                  <a:pt x="471" y="557"/>
                  <a:pt x="471" y="557"/>
                </a:cubicBezTo>
                <a:cubicBezTo>
                  <a:pt x="474" y="560"/>
                  <a:pt x="478" y="561"/>
                  <a:pt x="481" y="561"/>
                </a:cubicBezTo>
                <a:cubicBezTo>
                  <a:pt x="485" y="561"/>
                  <a:pt x="488" y="560"/>
                  <a:pt x="491" y="557"/>
                </a:cubicBezTo>
                <a:cubicBezTo>
                  <a:pt x="493" y="555"/>
                  <a:pt x="493" y="555"/>
                  <a:pt x="493" y="555"/>
                </a:cubicBezTo>
                <a:cubicBezTo>
                  <a:pt x="493" y="555"/>
                  <a:pt x="493" y="555"/>
                  <a:pt x="493" y="555"/>
                </a:cubicBezTo>
                <a:cubicBezTo>
                  <a:pt x="529" y="519"/>
                  <a:pt x="529" y="519"/>
                  <a:pt x="529" y="519"/>
                </a:cubicBezTo>
                <a:cubicBezTo>
                  <a:pt x="534" y="514"/>
                  <a:pt x="534" y="505"/>
                  <a:pt x="529" y="50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5" name="Freeform 312"/>
          <p:cNvSpPr>
            <a:spLocks/>
          </p:cNvSpPr>
          <p:nvPr userDrawn="1"/>
        </p:nvSpPr>
        <p:spPr bwMode="auto">
          <a:xfrm>
            <a:off x="3341465" y="3325631"/>
            <a:ext cx="341799" cy="340519"/>
          </a:xfrm>
          <a:custGeom>
            <a:avLst/>
            <a:gdLst/>
            <a:ahLst/>
            <a:cxnLst>
              <a:cxn ang="0">
                <a:pos x="398" y="125"/>
              </a:cxn>
              <a:cxn ang="0">
                <a:pos x="277" y="4"/>
              </a:cxn>
              <a:cxn ang="0">
                <a:pos x="268" y="0"/>
              </a:cxn>
              <a:cxn ang="0">
                <a:pos x="259" y="4"/>
              </a:cxn>
              <a:cxn ang="0">
                <a:pos x="171" y="92"/>
              </a:cxn>
              <a:cxn ang="0">
                <a:pos x="171" y="111"/>
              </a:cxn>
              <a:cxn ang="0">
                <a:pos x="189" y="111"/>
              </a:cxn>
              <a:cxn ang="0">
                <a:pos x="268" y="32"/>
              </a:cxn>
              <a:cxn ang="0">
                <a:pos x="370" y="134"/>
              </a:cxn>
              <a:cxn ang="0">
                <a:pos x="293" y="212"/>
              </a:cxn>
              <a:cxn ang="0">
                <a:pos x="271" y="202"/>
              </a:cxn>
              <a:cxn ang="0">
                <a:pos x="254" y="205"/>
              </a:cxn>
              <a:cxn ang="0">
                <a:pos x="253" y="207"/>
              </a:cxn>
              <a:cxn ang="0">
                <a:pos x="153" y="326"/>
              </a:cxn>
              <a:cxn ang="0">
                <a:pos x="122" y="333"/>
              </a:cxn>
              <a:cxn ang="0">
                <a:pos x="97" y="337"/>
              </a:cxn>
              <a:cxn ang="0">
                <a:pos x="82" y="341"/>
              </a:cxn>
              <a:cxn ang="0">
                <a:pos x="152" y="270"/>
              </a:cxn>
              <a:cxn ang="0">
                <a:pos x="152" y="251"/>
              </a:cxn>
              <a:cxn ang="0">
                <a:pos x="133" y="251"/>
              </a:cxn>
              <a:cxn ang="0">
                <a:pos x="62" y="323"/>
              </a:cxn>
              <a:cxn ang="0">
                <a:pos x="66" y="306"/>
              </a:cxn>
              <a:cxn ang="0">
                <a:pos x="70" y="281"/>
              </a:cxn>
              <a:cxn ang="0">
                <a:pos x="77" y="250"/>
              </a:cxn>
              <a:cxn ang="0">
                <a:pos x="197" y="151"/>
              </a:cxn>
              <a:cxn ang="0">
                <a:pos x="201" y="140"/>
              </a:cxn>
              <a:cxn ang="0">
                <a:pos x="198" y="132"/>
              </a:cxn>
              <a:cxn ang="0">
                <a:pos x="180" y="130"/>
              </a:cxn>
              <a:cxn ang="0">
                <a:pos x="59" y="230"/>
              </a:cxn>
              <a:cxn ang="0">
                <a:pos x="44" y="277"/>
              </a:cxn>
              <a:cxn ang="0">
                <a:pos x="40" y="301"/>
              </a:cxn>
              <a:cxn ang="0">
                <a:pos x="7" y="371"/>
              </a:cxn>
              <a:cxn ang="0">
                <a:pos x="6" y="372"/>
              </a:cxn>
              <a:cxn ang="0">
                <a:pos x="8" y="395"/>
              </a:cxn>
              <a:cxn ang="0">
                <a:pos x="31" y="397"/>
              </a:cxn>
              <a:cxn ang="0">
                <a:pos x="32" y="396"/>
              </a:cxn>
              <a:cxn ang="0">
                <a:pos x="102" y="363"/>
              </a:cxn>
              <a:cxn ang="0">
                <a:pos x="126" y="359"/>
              </a:cxn>
              <a:cxn ang="0">
                <a:pos x="173" y="344"/>
              </a:cxn>
              <a:cxn ang="0">
                <a:pos x="267" y="231"/>
              </a:cxn>
              <a:cxn ang="0">
                <a:pos x="310" y="232"/>
              </a:cxn>
              <a:cxn ang="0">
                <a:pos x="398" y="144"/>
              </a:cxn>
              <a:cxn ang="0">
                <a:pos x="398" y="125"/>
              </a:cxn>
            </a:cxnLst>
            <a:rect l="0" t="0" r="r" b="b"/>
            <a:pathLst>
              <a:path w="404" h="403">
                <a:moveTo>
                  <a:pt x="398" y="125"/>
                </a:moveTo>
                <a:cubicBezTo>
                  <a:pt x="277" y="4"/>
                  <a:pt x="277" y="4"/>
                  <a:pt x="277" y="4"/>
                </a:cubicBezTo>
                <a:cubicBezTo>
                  <a:pt x="275" y="1"/>
                  <a:pt x="272" y="0"/>
                  <a:pt x="268" y="0"/>
                </a:cubicBezTo>
                <a:cubicBezTo>
                  <a:pt x="264" y="0"/>
                  <a:pt x="261" y="1"/>
                  <a:pt x="259" y="4"/>
                </a:cubicBezTo>
                <a:cubicBezTo>
                  <a:pt x="171" y="92"/>
                  <a:pt x="171" y="92"/>
                  <a:pt x="171" y="92"/>
                </a:cubicBezTo>
                <a:cubicBezTo>
                  <a:pt x="165" y="97"/>
                  <a:pt x="165" y="105"/>
                  <a:pt x="171" y="111"/>
                </a:cubicBezTo>
                <a:cubicBezTo>
                  <a:pt x="176" y="116"/>
                  <a:pt x="184" y="116"/>
                  <a:pt x="189" y="111"/>
                </a:cubicBezTo>
                <a:cubicBezTo>
                  <a:pt x="189" y="111"/>
                  <a:pt x="253" y="47"/>
                  <a:pt x="268" y="32"/>
                </a:cubicBezTo>
                <a:cubicBezTo>
                  <a:pt x="283" y="47"/>
                  <a:pt x="355" y="120"/>
                  <a:pt x="370" y="134"/>
                </a:cubicBezTo>
                <a:cubicBezTo>
                  <a:pt x="355" y="149"/>
                  <a:pt x="295" y="209"/>
                  <a:pt x="293" y="212"/>
                </a:cubicBezTo>
                <a:cubicBezTo>
                  <a:pt x="290" y="211"/>
                  <a:pt x="283" y="210"/>
                  <a:pt x="271" y="202"/>
                </a:cubicBezTo>
                <a:cubicBezTo>
                  <a:pt x="265" y="199"/>
                  <a:pt x="258" y="200"/>
                  <a:pt x="254" y="205"/>
                </a:cubicBezTo>
                <a:cubicBezTo>
                  <a:pt x="253" y="207"/>
                  <a:pt x="253" y="207"/>
                  <a:pt x="253" y="207"/>
                </a:cubicBezTo>
                <a:cubicBezTo>
                  <a:pt x="220" y="246"/>
                  <a:pt x="159" y="320"/>
                  <a:pt x="153" y="326"/>
                </a:cubicBezTo>
                <a:cubicBezTo>
                  <a:pt x="151" y="328"/>
                  <a:pt x="137" y="330"/>
                  <a:pt x="122" y="333"/>
                </a:cubicBezTo>
                <a:cubicBezTo>
                  <a:pt x="97" y="337"/>
                  <a:pt x="97" y="337"/>
                  <a:pt x="97" y="337"/>
                </a:cubicBezTo>
                <a:cubicBezTo>
                  <a:pt x="92" y="338"/>
                  <a:pt x="87" y="339"/>
                  <a:pt x="82" y="341"/>
                </a:cubicBezTo>
                <a:cubicBezTo>
                  <a:pt x="152" y="270"/>
                  <a:pt x="152" y="270"/>
                  <a:pt x="152" y="270"/>
                </a:cubicBezTo>
                <a:cubicBezTo>
                  <a:pt x="157" y="265"/>
                  <a:pt x="157" y="257"/>
                  <a:pt x="152" y="251"/>
                </a:cubicBezTo>
                <a:cubicBezTo>
                  <a:pt x="147" y="246"/>
                  <a:pt x="139" y="246"/>
                  <a:pt x="133" y="251"/>
                </a:cubicBezTo>
                <a:cubicBezTo>
                  <a:pt x="62" y="323"/>
                  <a:pt x="62" y="323"/>
                  <a:pt x="62" y="323"/>
                </a:cubicBezTo>
                <a:cubicBezTo>
                  <a:pt x="64" y="317"/>
                  <a:pt x="65" y="312"/>
                  <a:pt x="66" y="306"/>
                </a:cubicBezTo>
                <a:cubicBezTo>
                  <a:pt x="70" y="281"/>
                  <a:pt x="70" y="281"/>
                  <a:pt x="70" y="281"/>
                </a:cubicBezTo>
                <a:cubicBezTo>
                  <a:pt x="73" y="266"/>
                  <a:pt x="75" y="253"/>
                  <a:pt x="77" y="250"/>
                </a:cubicBezTo>
                <a:cubicBezTo>
                  <a:pt x="83" y="245"/>
                  <a:pt x="158" y="183"/>
                  <a:pt x="197" y="151"/>
                </a:cubicBezTo>
                <a:cubicBezTo>
                  <a:pt x="200" y="148"/>
                  <a:pt x="201" y="144"/>
                  <a:pt x="201" y="140"/>
                </a:cubicBezTo>
                <a:cubicBezTo>
                  <a:pt x="201" y="137"/>
                  <a:pt x="200" y="134"/>
                  <a:pt x="198" y="132"/>
                </a:cubicBezTo>
                <a:cubicBezTo>
                  <a:pt x="194" y="126"/>
                  <a:pt x="185" y="125"/>
                  <a:pt x="180" y="130"/>
                </a:cubicBezTo>
                <a:cubicBezTo>
                  <a:pt x="175" y="134"/>
                  <a:pt x="66" y="224"/>
                  <a:pt x="59" y="230"/>
                </a:cubicBezTo>
                <a:cubicBezTo>
                  <a:pt x="50" y="238"/>
                  <a:pt x="49" y="248"/>
                  <a:pt x="44" y="277"/>
                </a:cubicBezTo>
                <a:cubicBezTo>
                  <a:pt x="40" y="301"/>
                  <a:pt x="40" y="301"/>
                  <a:pt x="40" y="301"/>
                </a:cubicBezTo>
                <a:cubicBezTo>
                  <a:pt x="33" y="341"/>
                  <a:pt x="7" y="371"/>
                  <a:pt x="7" y="371"/>
                </a:cubicBezTo>
                <a:cubicBezTo>
                  <a:pt x="6" y="371"/>
                  <a:pt x="6" y="372"/>
                  <a:pt x="6" y="372"/>
                </a:cubicBezTo>
                <a:cubicBezTo>
                  <a:pt x="2" y="378"/>
                  <a:pt x="0" y="388"/>
                  <a:pt x="8" y="395"/>
                </a:cubicBezTo>
                <a:cubicBezTo>
                  <a:pt x="15" y="403"/>
                  <a:pt x="25" y="402"/>
                  <a:pt x="31" y="397"/>
                </a:cubicBezTo>
                <a:cubicBezTo>
                  <a:pt x="31" y="397"/>
                  <a:pt x="32" y="397"/>
                  <a:pt x="32" y="396"/>
                </a:cubicBezTo>
                <a:cubicBezTo>
                  <a:pt x="33" y="396"/>
                  <a:pt x="63" y="370"/>
                  <a:pt x="102" y="363"/>
                </a:cubicBezTo>
                <a:cubicBezTo>
                  <a:pt x="102" y="363"/>
                  <a:pt x="126" y="359"/>
                  <a:pt x="126" y="359"/>
                </a:cubicBezTo>
                <a:cubicBezTo>
                  <a:pt x="155" y="354"/>
                  <a:pt x="166" y="353"/>
                  <a:pt x="173" y="344"/>
                </a:cubicBezTo>
                <a:cubicBezTo>
                  <a:pt x="178" y="338"/>
                  <a:pt x="246" y="256"/>
                  <a:pt x="267" y="231"/>
                </a:cubicBezTo>
                <a:cubicBezTo>
                  <a:pt x="287" y="240"/>
                  <a:pt x="301" y="241"/>
                  <a:pt x="310" y="232"/>
                </a:cubicBezTo>
                <a:cubicBezTo>
                  <a:pt x="398" y="144"/>
                  <a:pt x="398" y="144"/>
                  <a:pt x="398" y="144"/>
                </a:cubicBezTo>
                <a:cubicBezTo>
                  <a:pt x="404" y="138"/>
                  <a:pt x="404" y="130"/>
                  <a:pt x="398" y="12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6" name="Freeform 333"/>
          <p:cNvSpPr>
            <a:spLocks/>
          </p:cNvSpPr>
          <p:nvPr userDrawn="1"/>
        </p:nvSpPr>
        <p:spPr bwMode="auto">
          <a:xfrm>
            <a:off x="3336701" y="2259887"/>
            <a:ext cx="351326" cy="352425"/>
          </a:xfrm>
          <a:custGeom>
            <a:avLst/>
            <a:gdLst/>
            <a:ahLst/>
            <a:cxnLst>
              <a:cxn ang="0">
                <a:pos x="264" y="362"/>
              </a:cxn>
              <a:cxn ang="0">
                <a:pos x="166" y="362"/>
              </a:cxn>
              <a:cxn ang="0">
                <a:pos x="166" y="416"/>
              </a:cxn>
              <a:cxn ang="0">
                <a:pos x="415" y="416"/>
              </a:cxn>
              <a:cxn ang="0">
                <a:pos x="414" y="362"/>
              </a:cxn>
              <a:cxn ang="0">
                <a:pos x="318" y="362"/>
              </a:cxn>
              <a:cxn ang="0">
                <a:pos x="393" y="228"/>
              </a:cxn>
              <a:cxn ang="0">
                <a:pos x="282" y="66"/>
              </a:cxn>
              <a:cxn ang="0">
                <a:pos x="204" y="95"/>
              </a:cxn>
              <a:cxn ang="0">
                <a:pos x="184" y="67"/>
              </a:cxn>
              <a:cxn ang="0">
                <a:pos x="203" y="27"/>
              </a:cxn>
              <a:cxn ang="0">
                <a:pos x="149" y="0"/>
              </a:cxn>
              <a:cxn ang="0">
                <a:pos x="124" y="44"/>
              </a:cxn>
              <a:cxn ang="0">
                <a:pos x="1" y="123"/>
              </a:cxn>
              <a:cxn ang="0">
                <a:pos x="0" y="157"/>
              </a:cxn>
              <a:cxn ang="0">
                <a:pos x="199" y="228"/>
              </a:cxn>
              <a:cxn ang="0">
                <a:pos x="217" y="198"/>
              </a:cxn>
              <a:cxn ang="0">
                <a:pos x="215" y="135"/>
              </a:cxn>
            </a:cxnLst>
            <a:rect l="0" t="0" r="r" b="b"/>
            <a:pathLst>
              <a:path w="415" h="416">
                <a:moveTo>
                  <a:pt x="264" y="362"/>
                </a:moveTo>
                <a:cubicBezTo>
                  <a:pt x="166" y="362"/>
                  <a:pt x="166" y="362"/>
                  <a:pt x="166" y="362"/>
                </a:cubicBezTo>
                <a:cubicBezTo>
                  <a:pt x="166" y="416"/>
                  <a:pt x="166" y="416"/>
                  <a:pt x="166" y="416"/>
                </a:cubicBezTo>
                <a:cubicBezTo>
                  <a:pt x="415" y="416"/>
                  <a:pt x="415" y="416"/>
                  <a:pt x="415" y="416"/>
                </a:cubicBezTo>
                <a:cubicBezTo>
                  <a:pt x="414" y="362"/>
                  <a:pt x="414" y="362"/>
                  <a:pt x="414" y="362"/>
                </a:cubicBezTo>
                <a:cubicBezTo>
                  <a:pt x="318" y="362"/>
                  <a:pt x="318" y="362"/>
                  <a:pt x="318" y="362"/>
                </a:cubicBezTo>
                <a:cubicBezTo>
                  <a:pt x="393" y="228"/>
                  <a:pt x="393" y="228"/>
                  <a:pt x="393" y="228"/>
                </a:cubicBezTo>
                <a:cubicBezTo>
                  <a:pt x="282" y="66"/>
                  <a:pt x="282" y="66"/>
                  <a:pt x="282" y="66"/>
                </a:cubicBezTo>
                <a:cubicBezTo>
                  <a:pt x="204" y="95"/>
                  <a:pt x="204" y="95"/>
                  <a:pt x="204" y="95"/>
                </a:cubicBezTo>
                <a:cubicBezTo>
                  <a:pt x="204" y="95"/>
                  <a:pt x="196" y="81"/>
                  <a:pt x="184" y="67"/>
                </a:cubicBezTo>
                <a:cubicBezTo>
                  <a:pt x="183" y="67"/>
                  <a:pt x="203" y="27"/>
                  <a:pt x="203" y="27"/>
                </a:cubicBezTo>
                <a:cubicBezTo>
                  <a:pt x="149" y="0"/>
                  <a:pt x="149" y="0"/>
                  <a:pt x="149" y="0"/>
                </a:cubicBezTo>
                <a:cubicBezTo>
                  <a:pt x="137" y="18"/>
                  <a:pt x="142" y="15"/>
                  <a:pt x="124" y="44"/>
                </a:cubicBezTo>
                <a:cubicBezTo>
                  <a:pt x="19" y="46"/>
                  <a:pt x="1" y="123"/>
                  <a:pt x="1" y="123"/>
                </a:cubicBezTo>
                <a:cubicBezTo>
                  <a:pt x="0" y="157"/>
                  <a:pt x="0" y="157"/>
                  <a:pt x="0" y="157"/>
                </a:cubicBezTo>
                <a:cubicBezTo>
                  <a:pt x="199" y="228"/>
                  <a:pt x="199" y="228"/>
                  <a:pt x="199" y="228"/>
                </a:cubicBezTo>
                <a:cubicBezTo>
                  <a:pt x="217" y="198"/>
                  <a:pt x="217" y="198"/>
                  <a:pt x="217" y="198"/>
                </a:cubicBezTo>
                <a:cubicBezTo>
                  <a:pt x="217" y="198"/>
                  <a:pt x="229" y="162"/>
                  <a:pt x="215" y="135"/>
                </a:cubicBezTo>
              </a:path>
            </a:pathLst>
          </a:custGeom>
          <a:noFill/>
          <a:ln w="28575"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7" name="Freeform 361"/>
          <p:cNvSpPr>
            <a:spLocks noEditPoints="1"/>
          </p:cNvSpPr>
          <p:nvPr userDrawn="1"/>
        </p:nvSpPr>
        <p:spPr bwMode="auto">
          <a:xfrm>
            <a:off x="3436740" y="1309617"/>
            <a:ext cx="151249" cy="386953"/>
          </a:xfrm>
          <a:custGeom>
            <a:avLst/>
            <a:gdLst/>
            <a:ahLst/>
            <a:cxnLst>
              <a:cxn ang="0">
                <a:pos x="67" y="6"/>
              </a:cxn>
              <a:cxn ang="0">
                <a:pos x="54" y="26"/>
              </a:cxn>
              <a:cxn ang="0">
                <a:pos x="67" y="40"/>
              </a:cxn>
              <a:cxn ang="0">
                <a:pos x="80" y="29"/>
              </a:cxn>
              <a:cxn ang="0">
                <a:pos x="90" y="27"/>
              </a:cxn>
              <a:cxn ang="0">
                <a:pos x="99" y="29"/>
              </a:cxn>
              <a:cxn ang="0">
                <a:pos x="99" y="71"/>
              </a:cxn>
              <a:cxn ang="0">
                <a:pos x="109" y="84"/>
              </a:cxn>
              <a:cxn ang="0">
                <a:pos x="152" y="127"/>
              </a:cxn>
              <a:cxn ang="0">
                <a:pos x="152" y="407"/>
              </a:cxn>
              <a:cxn ang="0">
                <a:pos x="136" y="424"/>
              </a:cxn>
              <a:cxn ang="0">
                <a:pos x="90" y="432"/>
              </a:cxn>
              <a:cxn ang="0">
                <a:pos x="43" y="424"/>
              </a:cxn>
              <a:cxn ang="0">
                <a:pos x="28" y="407"/>
              </a:cxn>
              <a:cxn ang="0">
                <a:pos x="27" y="127"/>
              </a:cxn>
              <a:cxn ang="0">
                <a:pos x="70" y="85"/>
              </a:cxn>
              <a:cxn ang="0">
                <a:pos x="80" y="69"/>
              </a:cxn>
              <a:cxn ang="0">
                <a:pos x="64" y="59"/>
              </a:cxn>
              <a:cxn ang="0">
                <a:pos x="0" y="127"/>
              </a:cxn>
              <a:cxn ang="0">
                <a:pos x="1" y="407"/>
              </a:cxn>
              <a:cxn ang="0">
                <a:pos x="90" y="459"/>
              </a:cxn>
              <a:cxn ang="0">
                <a:pos x="147" y="448"/>
              </a:cxn>
              <a:cxn ang="0">
                <a:pos x="178" y="407"/>
              </a:cxn>
              <a:cxn ang="0">
                <a:pos x="178" y="127"/>
              </a:cxn>
              <a:cxn ang="0">
                <a:pos x="126" y="61"/>
              </a:cxn>
              <a:cxn ang="0">
                <a:pos x="126" y="26"/>
              </a:cxn>
              <a:cxn ang="0">
                <a:pos x="90" y="0"/>
              </a:cxn>
              <a:cxn ang="0">
                <a:pos x="67" y="6"/>
              </a:cxn>
              <a:cxn ang="0">
                <a:pos x="80" y="26"/>
              </a:cxn>
              <a:cxn ang="0">
                <a:pos x="80" y="28"/>
              </a:cxn>
              <a:cxn ang="0">
                <a:pos x="80" y="26"/>
              </a:cxn>
            </a:cxnLst>
            <a:rect l="0" t="0" r="r" b="b"/>
            <a:pathLst>
              <a:path w="178" h="459">
                <a:moveTo>
                  <a:pt x="67" y="6"/>
                </a:moveTo>
                <a:cubicBezTo>
                  <a:pt x="59" y="11"/>
                  <a:pt x="54" y="18"/>
                  <a:pt x="54" y="26"/>
                </a:cubicBezTo>
                <a:cubicBezTo>
                  <a:pt x="54" y="34"/>
                  <a:pt x="60" y="40"/>
                  <a:pt x="67" y="40"/>
                </a:cubicBezTo>
                <a:cubicBezTo>
                  <a:pt x="74" y="40"/>
                  <a:pt x="79" y="35"/>
                  <a:pt x="80" y="29"/>
                </a:cubicBezTo>
                <a:cubicBezTo>
                  <a:pt x="81" y="28"/>
                  <a:pt x="85" y="27"/>
                  <a:pt x="90" y="27"/>
                </a:cubicBezTo>
                <a:cubicBezTo>
                  <a:pt x="94" y="27"/>
                  <a:pt x="98" y="28"/>
                  <a:pt x="99" y="29"/>
                </a:cubicBezTo>
                <a:cubicBezTo>
                  <a:pt x="99" y="33"/>
                  <a:pt x="99" y="71"/>
                  <a:pt x="99" y="71"/>
                </a:cubicBezTo>
                <a:cubicBezTo>
                  <a:pt x="99" y="77"/>
                  <a:pt x="103" y="82"/>
                  <a:pt x="109" y="84"/>
                </a:cubicBezTo>
                <a:cubicBezTo>
                  <a:pt x="111" y="84"/>
                  <a:pt x="152" y="95"/>
                  <a:pt x="152" y="127"/>
                </a:cubicBezTo>
                <a:cubicBezTo>
                  <a:pt x="152" y="407"/>
                  <a:pt x="152" y="407"/>
                  <a:pt x="152" y="407"/>
                </a:cubicBezTo>
                <a:cubicBezTo>
                  <a:pt x="152" y="409"/>
                  <a:pt x="152" y="417"/>
                  <a:pt x="136" y="424"/>
                </a:cubicBezTo>
                <a:cubicBezTo>
                  <a:pt x="125" y="429"/>
                  <a:pt x="108" y="432"/>
                  <a:pt x="90" y="432"/>
                </a:cubicBezTo>
                <a:cubicBezTo>
                  <a:pt x="71" y="432"/>
                  <a:pt x="55" y="429"/>
                  <a:pt x="43" y="424"/>
                </a:cubicBezTo>
                <a:cubicBezTo>
                  <a:pt x="28" y="417"/>
                  <a:pt x="28" y="409"/>
                  <a:pt x="28" y="407"/>
                </a:cubicBezTo>
                <a:cubicBezTo>
                  <a:pt x="27" y="127"/>
                  <a:pt x="27" y="127"/>
                  <a:pt x="27" y="127"/>
                </a:cubicBezTo>
                <a:cubicBezTo>
                  <a:pt x="27" y="95"/>
                  <a:pt x="68" y="85"/>
                  <a:pt x="70" y="85"/>
                </a:cubicBezTo>
                <a:cubicBezTo>
                  <a:pt x="77" y="83"/>
                  <a:pt x="82" y="76"/>
                  <a:pt x="80" y="69"/>
                </a:cubicBezTo>
                <a:cubicBezTo>
                  <a:pt x="79" y="62"/>
                  <a:pt x="72" y="57"/>
                  <a:pt x="64" y="59"/>
                </a:cubicBezTo>
                <a:cubicBezTo>
                  <a:pt x="62" y="59"/>
                  <a:pt x="0" y="73"/>
                  <a:pt x="0" y="127"/>
                </a:cubicBezTo>
                <a:cubicBezTo>
                  <a:pt x="1" y="407"/>
                  <a:pt x="1" y="407"/>
                  <a:pt x="1" y="407"/>
                </a:cubicBezTo>
                <a:cubicBezTo>
                  <a:pt x="1" y="439"/>
                  <a:pt x="35" y="459"/>
                  <a:pt x="90" y="459"/>
                </a:cubicBezTo>
                <a:cubicBezTo>
                  <a:pt x="106" y="459"/>
                  <a:pt x="128" y="457"/>
                  <a:pt x="147" y="448"/>
                </a:cubicBezTo>
                <a:cubicBezTo>
                  <a:pt x="167" y="439"/>
                  <a:pt x="178" y="424"/>
                  <a:pt x="178" y="407"/>
                </a:cubicBezTo>
                <a:cubicBezTo>
                  <a:pt x="178" y="127"/>
                  <a:pt x="178" y="127"/>
                  <a:pt x="178" y="127"/>
                </a:cubicBezTo>
                <a:cubicBezTo>
                  <a:pt x="178" y="86"/>
                  <a:pt x="143" y="68"/>
                  <a:pt x="126" y="61"/>
                </a:cubicBezTo>
                <a:cubicBezTo>
                  <a:pt x="126" y="49"/>
                  <a:pt x="126" y="26"/>
                  <a:pt x="126" y="26"/>
                </a:cubicBezTo>
                <a:cubicBezTo>
                  <a:pt x="126" y="11"/>
                  <a:pt x="110" y="0"/>
                  <a:pt x="90" y="0"/>
                </a:cubicBezTo>
                <a:cubicBezTo>
                  <a:pt x="81" y="0"/>
                  <a:pt x="73" y="2"/>
                  <a:pt x="67" y="6"/>
                </a:cubicBezTo>
                <a:close/>
                <a:moveTo>
                  <a:pt x="80" y="26"/>
                </a:moveTo>
                <a:cubicBezTo>
                  <a:pt x="80" y="27"/>
                  <a:pt x="80" y="27"/>
                  <a:pt x="80" y="28"/>
                </a:cubicBezTo>
                <a:cubicBezTo>
                  <a:pt x="80" y="27"/>
                  <a:pt x="80" y="27"/>
                  <a:pt x="80" y="2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8" name="Freeform 377"/>
          <p:cNvSpPr>
            <a:spLocks/>
          </p:cNvSpPr>
          <p:nvPr userDrawn="1"/>
        </p:nvSpPr>
        <p:spPr bwMode="auto">
          <a:xfrm>
            <a:off x="3357542" y="1786696"/>
            <a:ext cx="309643" cy="389335"/>
          </a:xfrm>
          <a:custGeom>
            <a:avLst/>
            <a:gdLst/>
            <a:ahLst/>
            <a:cxnLst>
              <a:cxn ang="0">
                <a:pos x="130" y="44"/>
              </a:cxn>
              <a:cxn ang="0">
                <a:pos x="121" y="98"/>
              </a:cxn>
              <a:cxn ang="0">
                <a:pos x="5" y="103"/>
              </a:cxn>
              <a:cxn ang="0">
                <a:pos x="0" y="124"/>
              </a:cxn>
              <a:cxn ang="0">
                <a:pos x="67" y="204"/>
              </a:cxn>
              <a:cxn ang="0">
                <a:pos x="21" y="282"/>
              </a:cxn>
              <a:cxn ang="0">
                <a:pos x="38" y="323"/>
              </a:cxn>
              <a:cxn ang="0">
                <a:pos x="181" y="242"/>
              </a:cxn>
              <a:cxn ang="0">
                <a:pos x="172" y="225"/>
              </a:cxn>
              <a:cxn ang="0">
                <a:pos x="179" y="178"/>
              </a:cxn>
              <a:cxn ang="0">
                <a:pos x="203" y="202"/>
              </a:cxn>
              <a:cxn ang="0">
                <a:pos x="186" y="241"/>
              </a:cxn>
              <a:cxn ang="0">
                <a:pos x="230" y="202"/>
              </a:cxn>
              <a:cxn ang="0">
                <a:pos x="144" y="166"/>
              </a:cxn>
              <a:cxn ang="0">
                <a:pos x="151" y="244"/>
              </a:cxn>
              <a:cxn ang="0">
                <a:pos x="47" y="282"/>
              </a:cxn>
              <a:cxn ang="0">
                <a:pos x="108" y="215"/>
              </a:cxn>
              <a:cxn ang="0">
                <a:pos x="119" y="201"/>
              </a:cxn>
              <a:cxn ang="0">
                <a:pos x="34" y="145"/>
              </a:cxn>
              <a:cxn ang="0">
                <a:pos x="28" y="118"/>
              </a:cxn>
              <a:cxn ang="0">
                <a:pos x="131" y="140"/>
              </a:cxn>
              <a:cxn ang="0">
                <a:pos x="156" y="133"/>
              </a:cxn>
              <a:cxn ang="0">
                <a:pos x="147" y="92"/>
              </a:cxn>
              <a:cxn ang="0">
                <a:pos x="184" y="28"/>
              </a:cxn>
              <a:cxn ang="0">
                <a:pos x="217" y="88"/>
              </a:cxn>
              <a:cxn ang="0">
                <a:pos x="208" y="138"/>
              </a:cxn>
              <a:cxn ang="0">
                <a:pos x="229" y="149"/>
              </a:cxn>
              <a:cxn ang="0">
                <a:pos x="255" y="203"/>
              </a:cxn>
              <a:cxn ang="0">
                <a:pos x="243" y="217"/>
              </a:cxn>
              <a:cxn ang="0">
                <a:pos x="305" y="302"/>
              </a:cxn>
              <a:cxn ang="0">
                <a:pos x="205" y="264"/>
              </a:cxn>
              <a:cxn ang="0">
                <a:pos x="184" y="261"/>
              </a:cxn>
              <a:cxn ang="0">
                <a:pos x="164" y="340"/>
              </a:cxn>
              <a:cxn ang="0">
                <a:pos x="81" y="368"/>
              </a:cxn>
              <a:cxn ang="0">
                <a:pos x="200" y="414"/>
              </a:cxn>
              <a:cxn ang="0">
                <a:pos x="227" y="460"/>
              </a:cxn>
              <a:cxn ang="0">
                <a:pos x="217" y="391"/>
              </a:cxn>
              <a:cxn ang="0">
                <a:pos x="116" y="370"/>
              </a:cxn>
              <a:cxn ang="0">
                <a:pos x="197" y="368"/>
              </a:cxn>
              <a:cxn ang="0">
                <a:pos x="198" y="352"/>
              </a:cxn>
              <a:cxn ang="0">
                <a:pos x="193" y="295"/>
              </a:cxn>
              <a:cxn ang="0">
                <a:pos x="330" y="326"/>
              </a:cxn>
              <a:cxn ang="0">
                <a:pos x="319" y="250"/>
              </a:cxn>
              <a:cxn ang="0">
                <a:pos x="331" y="202"/>
              </a:cxn>
              <a:cxn ang="0">
                <a:pos x="361" y="121"/>
              </a:cxn>
              <a:cxn ang="0">
                <a:pos x="244" y="88"/>
              </a:cxn>
              <a:cxn ang="0">
                <a:pos x="187" y="1"/>
              </a:cxn>
            </a:cxnLst>
            <a:rect l="0" t="0" r="r" b="b"/>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9" name="Freeform 393"/>
          <p:cNvSpPr>
            <a:spLocks/>
          </p:cNvSpPr>
          <p:nvPr userDrawn="1"/>
        </p:nvSpPr>
        <p:spPr bwMode="auto">
          <a:xfrm>
            <a:off x="3319432" y="3885757"/>
            <a:ext cx="385863" cy="213122"/>
          </a:xfrm>
          <a:custGeom>
            <a:avLst/>
            <a:gdLst/>
            <a:ahLst/>
            <a:cxnLst>
              <a:cxn ang="0">
                <a:pos x="8" y="95"/>
              </a:cxn>
              <a:cxn ang="0">
                <a:pos x="0" y="107"/>
              </a:cxn>
              <a:cxn ang="0">
                <a:pos x="36" y="134"/>
              </a:cxn>
              <a:cxn ang="0">
                <a:pos x="61" y="146"/>
              </a:cxn>
              <a:cxn ang="0">
                <a:pos x="65" y="193"/>
              </a:cxn>
              <a:cxn ang="0">
                <a:pos x="65" y="193"/>
              </a:cxn>
              <a:cxn ang="0">
                <a:pos x="62" y="209"/>
              </a:cxn>
              <a:cxn ang="0">
                <a:pos x="51" y="220"/>
              </a:cxn>
              <a:cxn ang="0">
                <a:pos x="45" y="238"/>
              </a:cxn>
              <a:cxn ang="0">
                <a:pos x="59" y="251"/>
              </a:cxn>
              <a:cxn ang="0">
                <a:pos x="107" y="246"/>
              </a:cxn>
              <a:cxn ang="0">
                <a:pos x="110" y="236"/>
              </a:cxn>
              <a:cxn ang="0">
                <a:pos x="104" y="218"/>
              </a:cxn>
              <a:cxn ang="0">
                <a:pos x="92" y="206"/>
              </a:cxn>
              <a:cxn ang="0">
                <a:pos x="93" y="200"/>
              </a:cxn>
              <a:cxn ang="0">
                <a:pos x="92" y="184"/>
              </a:cxn>
              <a:cxn ang="0">
                <a:pos x="122" y="134"/>
              </a:cxn>
              <a:cxn ang="0">
                <a:pos x="265" y="109"/>
              </a:cxn>
              <a:cxn ang="0">
                <a:pos x="338" y="130"/>
              </a:cxn>
              <a:cxn ang="0">
                <a:pos x="350" y="106"/>
              </a:cxn>
              <a:cxn ang="0">
                <a:pos x="340" y="101"/>
              </a:cxn>
              <a:cxn ang="0">
                <a:pos x="110" y="110"/>
              </a:cxn>
              <a:cxn ang="0">
                <a:pos x="76" y="123"/>
              </a:cxn>
              <a:cxn ang="0">
                <a:pos x="45" y="108"/>
              </a:cxn>
              <a:cxn ang="0">
                <a:pos x="413" y="107"/>
              </a:cxn>
              <a:cxn ang="0">
                <a:pos x="329" y="160"/>
              </a:cxn>
              <a:cxn ang="0">
                <a:pos x="149" y="207"/>
              </a:cxn>
              <a:cxn ang="0">
                <a:pos x="134" y="141"/>
              </a:cxn>
              <a:cxn ang="0">
                <a:pos x="123" y="221"/>
              </a:cxn>
              <a:cxn ang="0">
                <a:pos x="343" y="234"/>
              </a:cxn>
              <a:cxn ang="0">
                <a:pos x="356" y="168"/>
              </a:cxn>
              <a:cxn ang="0">
                <a:pos x="457" y="106"/>
              </a:cxn>
              <a:cxn ang="0">
                <a:pos x="449" y="94"/>
              </a:cxn>
              <a:cxn ang="0">
                <a:pos x="235" y="1"/>
              </a:cxn>
            </a:cxnLst>
            <a:rect l="0" t="0" r="r" b="b"/>
            <a:pathLst>
              <a:path w="457" h="251">
                <a:moveTo>
                  <a:pt x="235" y="1"/>
                </a:moveTo>
                <a:cubicBezTo>
                  <a:pt x="8" y="95"/>
                  <a:pt x="8" y="95"/>
                  <a:pt x="8" y="95"/>
                </a:cubicBezTo>
                <a:cubicBezTo>
                  <a:pt x="3" y="97"/>
                  <a:pt x="0" y="101"/>
                  <a:pt x="0" y="106"/>
                </a:cubicBezTo>
                <a:cubicBezTo>
                  <a:pt x="0" y="107"/>
                  <a:pt x="0" y="107"/>
                  <a:pt x="0" y="107"/>
                </a:cubicBezTo>
                <a:cubicBezTo>
                  <a:pt x="0" y="112"/>
                  <a:pt x="3" y="116"/>
                  <a:pt x="7" y="119"/>
                </a:cubicBezTo>
                <a:cubicBezTo>
                  <a:pt x="36" y="134"/>
                  <a:pt x="36" y="134"/>
                  <a:pt x="36" y="134"/>
                </a:cubicBezTo>
                <a:cubicBezTo>
                  <a:pt x="57" y="144"/>
                  <a:pt x="57" y="144"/>
                  <a:pt x="57" y="144"/>
                </a:cubicBezTo>
                <a:cubicBezTo>
                  <a:pt x="58" y="145"/>
                  <a:pt x="60" y="146"/>
                  <a:pt x="61" y="146"/>
                </a:cubicBezTo>
                <a:cubicBezTo>
                  <a:pt x="61" y="155"/>
                  <a:pt x="62" y="171"/>
                  <a:pt x="62" y="185"/>
                </a:cubicBezTo>
                <a:cubicBezTo>
                  <a:pt x="63" y="188"/>
                  <a:pt x="63" y="191"/>
                  <a:pt x="65" y="193"/>
                </a:cubicBezTo>
                <a:cubicBezTo>
                  <a:pt x="65" y="193"/>
                  <a:pt x="65" y="193"/>
                  <a:pt x="65" y="193"/>
                </a:cubicBezTo>
                <a:cubicBezTo>
                  <a:pt x="65" y="193"/>
                  <a:pt x="65" y="193"/>
                  <a:pt x="65" y="193"/>
                </a:cubicBezTo>
                <a:cubicBezTo>
                  <a:pt x="63" y="195"/>
                  <a:pt x="62" y="198"/>
                  <a:pt x="62" y="201"/>
                </a:cubicBezTo>
                <a:cubicBezTo>
                  <a:pt x="62" y="201"/>
                  <a:pt x="62" y="205"/>
                  <a:pt x="62" y="209"/>
                </a:cubicBezTo>
                <a:cubicBezTo>
                  <a:pt x="59" y="212"/>
                  <a:pt x="55" y="215"/>
                  <a:pt x="55" y="215"/>
                </a:cubicBezTo>
                <a:cubicBezTo>
                  <a:pt x="53" y="217"/>
                  <a:pt x="52" y="218"/>
                  <a:pt x="51" y="220"/>
                </a:cubicBezTo>
                <a:cubicBezTo>
                  <a:pt x="46" y="233"/>
                  <a:pt x="46" y="233"/>
                  <a:pt x="46" y="233"/>
                </a:cubicBezTo>
                <a:cubicBezTo>
                  <a:pt x="46" y="234"/>
                  <a:pt x="45" y="236"/>
                  <a:pt x="45" y="238"/>
                </a:cubicBezTo>
                <a:cubicBezTo>
                  <a:pt x="45" y="240"/>
                  <a:pt x="46" y="243"/>
                  <a:pt x="48" y="245"/>
                </a:cubicBezTo>
                <a:cubicBezTo>
                  <a:pt x="50" y="249"/>
                  <a:pt x="54" y="251"/>
                  <a:pt x="59" y="251"/>
                </a:cubicBezTo>
                <a:cubicBezTo>
                  <a:pt x="96" y="251"/>
                  <a:pt x="96" y="251"/>
                  <a:pt x="96" y="251"/>
                </a:cubicBezTo>
                <a:cubicBezTo>
                  <a:pt x="100" y="251"/>
                  <a:pt x="104" y="249"/>
                  <a:pt x="107" y="246"/>
                </a:cubicBezTo>
                <a:cubicBezTo>
                  <a:pt x="109" y="244"/>
                  <a:pt x="110" y="241"/>
                  <a:pt x="110" y="238"/>
                </a:cubicBezTo>
                <a:cubicBezTo>
                  <a:pt x="110" y="237"/>
                  <a:pt x="110" y="236"/>
                  <a:pt x="110" y="236"/>
                </a:cubicBezTo>
                <a:cubicBezTo>
                  <a:pt x="108" y="226"/>
                  <a:pt x="108" y="226"/>
                  <a:pt x="108" y="226"/>
                </a:cubicBezTo>
                <a:cubicBezTo>
                  <a:pt x="107" y="223"/>
                  <a:pt x="106" y="220"/>
                  <a:pt x="104" y="218"/>
                </a:cubicBezTo>
                <a:cubicBezTo>
                  <a:pt x="104" y="218"/>
                  <a:pt x="97" y="212"/>
                  <a:pt x="93" y="208"/>
                </a:cubicBezTo>
                <a:cubicBezTo>
                  <a:pt x="93" y="207"/>
                  <a:pt x="93" y="207"/>
                  <a:pt x="92" y="206"/>
                </a:cubicBezTo>
                <a:cubicBezTo>
                  <a:pt x="93" y="205"/>
                  <a:pt x="93" y="203"/>
                  <a:pt x="93" y="202"/>
                </a:cubicBezTo>
                <a:cubicBezTo>
                  <a:pt x="93" y="201"/>
                  <a:pt x="93" y="200"/>
                  <a:pt x="93" y="200"/>
                </a:cubicBezTo>
                <a:cubicBezTo>
                  <a:pt x="93" y="200"/>
                  <a:pt x="92" y="191"/>
                  <a:pt x="92" y="189"/>
                </a:cubicBezTo>
                <a:cubicBezTo>
                  <a:pt x="92" y="187"/>
                  <a:pt x="92" y="186"/>
                  <a:pt x="92" y="184"/>
                </a:cubicBezTo>
                <a:cubicBezTo>
                  <a:pt x="92" y="184"/>
                  <a:pt x="93" y="157"/>
                  <a:pt x="93" y="145"/>
                </a:cubicBezTo>
                <a:cubicBezTo>
                  <a:pt x="101" y="142"/>
                  <a:pt x="113" y="138"/>
                  <a:pt x="122" y="134"/>
                </a:cubicBezTo>
                <a:cubicBezTo>
                  <a:pt x="122" y="134"/>
                  <a:pt x="122" y="134"/>
                  <a:pt x="122" y="134"/>
                </a:cubicBezTo>
                <a:cubicBezTo>
                  <a:pt x="166" y="111"/>
                  <a:pt x="214" y="103"/>
                  <a:pt x="265" y="109"/>
                </a:cubicBezTo>
                <a:cubicBezTo>
                  <a:pt x="302" y="113"/>
                  <a:pt x="327" y="124"/>
                  <a:pt x="328" y="125"/>
                </a:cubicBezTo>
                <a:cubicBezTo>
                  <a:pt x="329" y="125"/>
                  <a:pt x="338" y="130"/>
                  <a:pt x="338" y="130"/>
                </a:cubicBezTo>
                <a:cubicBezTo>
                  <a:pt x="344" y="133"/>
                  <a:pt x="352" y="130"/>
                  <a:pt x="356" y="124"/>
                </a:cubicBezTo>
                <a:cubicBezTo>
                  <a:pt x="359" y="117"/>
                  <a:pt x="356" y="109"/>
                  <a:pt x="350" y="106"/>
                </a:cubicBezTo>
                <a:cubicBezTo>
                  <a:pt x="340" y="101"/>
                  <a:pt x="340" y="101"/>
                  <a:pt x="340" y="101"/>
                </a:cubicBezTo>
                <a:cubicBezTo>
                  <a:pt x="340" y="101"/>
                  <a:pt x="340" y="101"/>
                  <a:pt x="340" y="101"/>
                </a:cubicBezTo>
                <a:cubicBezTo>
                  <a:pt x="338" y="100"/>
                  <a:pt x="311" y="88"/>
                  <a:pt x="269" y="82"/>
                </a:cubicBezTo>
                <a:cubicBezTo>
                  <a:pt x="230" y="78"/>
                  <a:pt x="171" y="79"/>
                  <a:pt x="110" y="110"/>
                </a:cubicBezTo>
                <a:cubicBezTo>
                  <a:pt x="110" y="110"/>
                  <a:pt x="110" y="110"/>
                  <a:pt x="110" y="110"/>
                </a:cubicBezTo>
                <a:cubicBezTo>
                  <a:pt x="98" y="116"/>
                  <a:pt x="76" y="123"/>
                  <a:pt x="76" y="123"/>
                </a:cubicBezTo>
                <a:cubicBezTo>
                  <a:pt x="76" y="123"/>
                  <a:pt x="75" y="123"/>
                  <a:pt x="75" y="123"/>
                </a:cubicBezTo>
                <a:cubicBezTo>
                  <a:pt x="71" y="122"/>
                  <a:pt x="59" y="116"/>
                  <a:pt x="45" y="108"/>
                </a:cubicBezTo>
                <a:cubicBezTo>
                  <a:pt x="85" y="92"/>
                  <a:pt x="231" y="32"/>
                  <a:pt x="240" y="28"/>
                </a:cubicBezTo>
                <a:cubicBezTo>
                  <a:pt x="249" y="32"/>
                  <a:pt x="376" y="90"/>
                  <a:pt x="413" y="107"/>
                </a:cubicBezTo>
                <a:cubicBezTo>
                  <a:pt x="385" y="122"/>
                  <a:pt x="336" y="148"/>
                  <a:pt x="336" y="148"/>
                </a:cubicBezTo>
                <a:cubicBezTo>
                  <a:pt x="332" y="150"/>
                  <a:pt x="329" y="155"/>
                  <a:pt x="329" y="160"/>
                </a:cubicBezTo>
                <a:cubicBezTo>
                  <a:pt x="329" y="160"/>
                  <a:pt x="329" y="191"/>
                  <a:pt x="329" y="207"/>
                </a:cubicBezTo>
                <a:cubicBezTo>
                  <a:pt x="308" y="207"/>
                  <a:pt x="170" y="207"/>
                  <a:pt x="149" y="207"/>
                </a:cubicBezTo>
                <a:cubicBezTo>
                  <a:pt x="148" y="190"/>
                  <a:pt x="148" y="154"/>
                  <a:pt x="148" y="154"/>
                </a:cubicBezTo>
                <a:cubicBezTo>
                  <a:pt x="147" y="146"/>
                  <a:pt x="141" y="140"/>
                  <a:pt x="134" y="141"/>
                </a:cubicBezTo>
                <a:cubicBezTo>
                  <a:pt x="127" y="141"/>
                  <a:pt x="121" y="147"/>
                  <a:pt x="121" y="154"/>
                </a:cubicBezTo>
                <a:cubicBezTo>
                  <a:pt x="123" y="221"/>
                  <a:pt x="123" y="221"/>
                  <a:pt x="123" y="221"/>
                </a:cubicBezTo>
                <a:cubicBezTo>
                  <a:pt x="123" y="228"/>
                  <a:pt x="129" y="234"/>
                  <a:pt x="136" y="234"/>
                </a:cubicBezTo>
                <a:cubicBezTo>
                  <a:pt x="343" y="234"/>
                  <a:pt x="343" y="234"/>
                  <a:pt x="343" y="234"/>
                </a:cubicBezTo>
                <a:cubicBezTo>
                  <a:pt x="350" y="234"/>
                  <a:pt x="356" y="228"/>
                  <a:pt x="356" y="220"/>
                </a:cubicBezTo>
                <a:cubicBezTo>
                  <a:pt x="356" y="220"/>
                  <a:pt x="356" y="180"/>
                  <a:pt x="356" y="168"/>
                </a:cubicBezTo>
                <a:cubicBezTo>
                  <a:pt x="368" y="161"/>
                  <a:pt x="450" y="118"/>
                  <a:pt x="450" y="118"/>
                </a:cubicBezTo>
                <a:cubicBezTo>
                  <a:pt x="454" y="116"/>
                  <a:pt x="457" y="111"/>
                  <a:pt x="457" y="106"/>
                </a:cubicBezTo>
                <a:cubicBezTo>
                  <a:pt x="457" y="106"/>
                  <a:pt x="457" y="106"/>
                  <a:pt x="457" y="106"/>
                </a:cubicBezTo>
                <a:cubicBezTo>
                  <a:pt x="457" y="101"/>
                  <a:pt x="453" y="96"/>
                  <a:pt x="449" y="94"/>
                </a:cubicBezTo>
                <a:cubicBezTo>
                  <a:pt x="246" y="1"/>
                  <a:pt x="246" y="1"/>
                  <a:pt x="246" y="1"/>
                </a:cubicBezTo>
                <a:cubicBezTo>
                  <a:pt x="242" y="0"/>
                  <a:pt x="239" y="0"/>
                  <a:pt x="235" y="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50" name="Freeform 433"/>
          <p:cNvSpPr>
            <a:spLocks/>
          </p:cNvSpPr>
          <p:nvPr userDrawn="1"/>
        </p:nvSpPr>
        <p:spPr bwMode="auto">
          <a:xfrm>
            <a:off x="3400416" y="2757232"/>
            <a:ext cx="223896" cy="390525"/>
          </a:xfrm>
          <a:custGeom>
            <a:avLst/>
            <a:gdLst/>
            <a:ahLst/>
            <a:cxnLst>
              <a:cxn ang="0">
                <a:pos x="251" y="293"/>
              </a:cxn>
              <a:cxn ang="0">
                <a:pos x="233" y="293"/>
              </a:cxn>
              <a:cxn ang="0">
                <a:pos x="241" y="274"/>
              </a:cxn>
              <a:cxn ang="0">
                <a:pos x="241" y="265"/>
              </a:cxn>
              <a:cxn ang="0">
                <a:pos x="195" y="115"/>
              </a:cxn>
              <a:cxn ang="0">
                <a:pos x="195" y="14"/>
              </a:cxn>
              <a:cxn ang="0">
                <a:pos x="182" y="0"/>
              </a:cxn>
              <a:cxn ang="0">
                <a:pos x="168" y="14"/>
              </a:cxn>
              <a:cxn ang="0">
                <a:pos x="168" y="36"/>
              </a:cxn>
              <a:cxn ang="0">
                <a:pos x="154" y="25"/>
              </a:cxn>
              <a:cxn ang="0">
                <a:pos x="136" y="29"/>
              </a:cxn>
              <a:cxn ang="0">
                <a:pos x="139" y="47"/>
              </a:cxn>
              <a:cxn ang="0">
                <a:pos x="168" y="68"/>
              </a:cxn>
              <a:cxn ang="0">
                <a:pos x="168" y="117"/>
              </a:cxn>
              <a:cxn ang="0">
                <a:pos x="169" y="121"/>
              </a:cxn>
              <a:cxn ang="0">
                <a:pos x="214" y="268"/>
              </a:cxn>
              <a:cxn ang="0">
                <a:pos x="169" y="384"/>
              </a:cxn>
              <a:cxn ang="0">
                <a:pos x="171" y="397"/>
              </a:cxn>
              <a:cxn ang="0">
                <a:pos x="201" y="434"/>
              </a:cxn>
              <a:cxn ang="0">
                <a:pos x="64" y="434"/>
              </a:cxn>
              <a:cxn ang="0">
                <a:pos x="94" y="397"/>
              </a:cxn>
              <a:cxn ang="0">
                <a:pos x="96" y="384"/>
              </a:cxn>
              <a:cxn ang="0">
                <a:pos x="51" y="268"/>
              </a:cxn>
              <a:cxn ang="0">
                <a:pos x="96" y="121"/>
              </a:cxn>
              <a:cxn ang="0">
                <a:pos x="96" y="117"/>
              </a:cxn>
              <a:cxn ang="0">
                <a:pos x="96" y="68"/>
              </a:cxn>
              <a:cxn ang="0">
                <a:pos x="126" y="47"/>
              </a:cxn>
              <a:cxn ang="0">
                <a:pos x="130" y="29"/>
              </a:cxn>
              <a:cxn ang="0">
                <a:pos x="111" y="25"/>
              </a:cxn>
              <a:cxn ang="0">
                <a:pos x="96" y="36"/>
              </a:cxn>
              <a:cxn ang="0">
                <a:pos x="96" y="14"/>
              </a:cxn>
              <a:cxn ang="0">
                <a:pos x="83" y="0"/>
              </a:cxn>
              <a:cxn ang="0">
                <a:pos x="70" y="14"/>
              </a:cxn>
              <a:cxn ang="0">
                <a:pos x="70" y="115"/>
              </a:cxn>
              <a:cxn ang="0">
                <a:pos x="24" y="265"/>
              </a:cxn>
              <a:cxn ang="0">
                <a:pos x="24" y="274"/>
              </a:cxn>
              <a:cxn ang="0">
                <a:pos x="32" y="293"/>
              </a:cxn>
              <a:cxn ang="0">
                <a:pos x="14" y="293"/>
              </a:cxn>
              <a:cxn ang="0">
                <a:pos x="0" y="307"/>
              </a:cxn>
              <a:cxn ang="0">
                <a:pos x="14" y="320"/>
              </a:cxn>
              <a:cxn ang="0">
                <a:pos x="42" y="320"/>
              </a:cxn>
              <a:cxn ang="0">
                <a:pos x="68" y="386"/>
              </a:cxn>
              <a:cxn ang="0">
                <a:pos x="26" y="440"/>
              </a:cxn>
              <a:cxn ang="0">
                <a:pos x="25" y="454"/>
              </a:cxn>
              <a:cxn ang="0">
                <a:pos x="37" y="461"/>
              </a:cxn>
              <a:cxn ang="0">
                <a:pos x="229" y="461"/>
              </a:cxn>
              <a:cxn ang="0">
                <a:pos x="240" y="454"/>
              </a:cxn>
              <a:cxn ang="0">
                <a:pos x="239" y="439"/>
              </a:cxn>
              <a:cxn ang="0">
                <a:pos x="197" y="386"/>
              </a:cxn>
              <a:cxn ang="0">
                <a:pos x="223" y="320"/>
              </a:cxn>
              <a:cxn ang="0">
                <a:pos x="251" y="320"/>
              </a:cxn>
              <a:cxn ang="0">
                <a:pos x="264" y="307"/>
              </a:cxn>
              <a:cxn ang="0">
                <a:pos x="251" y="293"/>
              </a:cxn>
            </a:cxnLst>
            <a:rect l="0" t="0" r="r" b="b"/>
            <a:pathLst>
              <a:path w="264" h="461">
                <a:moveTo>
                  <a:pt x="251" y="293"/>
                </a:moveTo>
                <a:cubicBezTo>
                  <a:pt x="233" y="293"/>
                  <a:pt x="233" y="293"/>
                  <a:pt x="233" y="293"/>
                </a:cubicBezTo>
                <a:cubicBezTo>
                  <a:pt x="241" y="274"/>
                  <a:pt x="241" y="274"/>
                  <a:pt x="241" y="274"/>
                </a:cubicBezTo>
                <a:cubicBezTo>
                  <a:pt x="242" y="271"/>
                  <a:pt x="242" y="268"/>
                  <a:pt x="241" y="265"/>
                </a:cubicBezTo>
                <a:cubicBezTo>
                  <a:pt x="195" y="115"/>
                  <a:pt x="195" y="115"/>
                  <a:pt x="195" y="115"/>
                </a:cubicBezTo>
                <a:cubicBezTo>
                  <a:pt x="195" y="14"/>
                  <a:pt x="195" y="14"/>
                  <a:pt x="195" y="14"/>
                </a:cubicBezTo>
                <a:cubicBezTo>
                  <a:pt x="195" y="6"/>
                  <a:pt x="189" y="0"/>
                  <a:pt x="182" y="0"/>
                </a:cubicBezTo>
                <a:cubicBezTo>
                  <a:pt x="174" y="0"/>
                  <a:pt x="168" y="6"/>
                  <a:pt x="168" y="14"/>
                </a:cubicBezTo>
                <a:cubicBezTo>
                  <a:pt x="168" y="36"/>
                  <a:pt x="168" y="36"/>
                  <a:pt x="168" y="36"/>
                </a:cubicBezTo>
                <a:cubicBezTo>
                  <a:pt x="154" y="25"/>
                  <a:pt x="154" y="25"/>
                  <a:pt x="154" y="25"/>
                </a:cubicBezTo>
                <a:cubicBezTo>
                  <a:pt x="148" y="21"/>
                  <a:pt x="140" y="23"/>
                  <a:pt x="136" y="29"/>
                </a:cubicBezTo>
                <a:cubicBezTo>
                  <a:pt x="131" y="35"/>
                  <a:pt x="133" y="43"/>
                  <a:pt x="139" y="47"/>
                </a:cubicBezTo>
                <a:cubicBezTo>
                  <a:pt x="168" y="68"/>
                  <a:pt x="168" y="68"/>
                  <a:pt x="168" y="68"/>
                </a:cubicBezTo>
                <a:cubicBezTo>
                  <a:pt x="168" y="117"/>
                  <a:pt x="168" y="117"/>
                  <a:pt x="168" y="117"/>
                </a:cubicBezTo>
                <a:cubicBezTo>
                  <a:pt x="168" y="118"/>
                  <a:pt x="169" y="120"/>
                  <a:pt x="169" y="121"/>
                </a:cubicBezTo>
                <a:cubicBezTo>
                  <a:pt x="214" y="268"/>
                  <a:pt x="214" y="268"/>
                  <a:pt x="214" y="268"/>
                </a:cubicBezTo>
                <a:cubicBezTo>
                  <a:pt x="169" y="384"/>
                  <a:pt x="169" y="384"/>
                  <a:pt x="169" y="384"/>
                </a:cubicBezTo>
                <a:cubicBezTo>
                  <a:pt x="168" y="388"/>
                  <a:pt x="168" y="393"/>
                  <a:pt x="171" y="397"/>
                </a:cubicBezTo>
                <a:cubicBezTo>
                  <a:pt x="201" y="434"/>
                  <a:pt x="201" y="434"/>
                  <a:pt x="201" y="434"/>
                </a:cubicBezTo>
                <a:cubicBezTo>
                  <a:pt x="64" y="434"/>
                  <a:pt x="64" y="434"/>
                  <a:pt x="64" y="434"/>
                </a:cubicBezTo>
                <a:cubicBezTo>
                  <a:pt x="94" y="397"/>
                  <a:pt x="94" y="397"/>
                  <a:pt x="94" y="397"/>
                </a:cubicBezTo>
                <a:cubicBezTo>
                  <a:pt x="96" y="393"/>
                  <a:pt x="97" y="388"/>
                  <a:pt x="96" y="384"/>
                </a:cubicBezTo>
                <a:cubicBezTo>
                  <a:pt x="51" y="268"/>
                  <a:pt x="51" y="268"/>
                  <a:pt x="51" y="268"/>
                </a:cubicBezTo>
                <a:cubicBezTo>
                  <a:pt x="96" y="121"/>
                  <a:pt x="96" y="121"/>
                  <a:pt x="96" y="121"/>
                </a:cubicBezTo>
                <a:cubicBezTo>
                  <a:pt x="96" y="120"/>
                  <a:pt x="96" y="118"/>
                  <a:pt x="96" y="117"/>
                </a:cubicBezTo>
                <a:cubicBezTo>
                  <a:pt x="96" y="68"/>
                  <a:pt x="96" y="68"/>
                  <a:pt x="96" y="68"/>
                </a:cubicBezTo>
                <a:cubicBezTo>
                  <a:pt x="126" y="47"/>
                  <a:pt x="126" y="47"/>
                  <a:pt x="126" y="47"/>
                </a:cubicBezTo>
                <a:cubicBezTo>
                  <a:pt x="132" y="43"/>
                  <a:pt x="134" y="35"/>
                  <a:pt x="130" y="29"/>
                </a:cubicBezTo>
                <a:cubicBezTo>
                  <a:pt x="125" y="23"/>
                  <a:pt x="117" y="21"/>
                  <a:pt x="111" y="25"/>
                </a:cubicBezTo>
                <a:cubicBezTo>
                  <a:pt x="96" y="36"/>
                  <a:pt x="96" y="36"/>
                  <a:pt x="96" y="36"/>
                </a:cubicBezTo>
                <a:cubicBezTo>
                  <a:pt x="96" y="14"/>
                  <a:pt x="96" y="14"/>
                  <a:pt x="96" y="14"/>
                </a:cubicBezTo>
                <a:cubicBezTo>
                  <a:pt x="96" y="6"/>
                  <a:pt x="90" y="0"/>
                  <a:pt x="83" y="0"/>
                </a:cubicBezTo>
                <a:cubicBezTo>
                  <a:pt x="76" y="0"/>
                  <a:pt x="70" y="6"/>
                  <a:pt x="70" y="14"/>
                </a:cubicBezTo>
                <a:cubicBezTo>
                  <a:pt x="70" y="115"/>
                  <a:pt x="70" y="115"/>
                  <a:pt x="70" y="115"/>
                </a:cubicBezTo>
                <a:cubicBezTo>
                  <a:pt x="24" y="265"/>
                  <a:pt x="24" y="265"/>
                  <a:pt x="24" y="265"/>
                </a:cubicBezTo>
                <a:cubicBezTo>
                  <a:pt x="23" y="268"/>
                  <a:pt x="23" y="271"/>
                  <a:pt x="24" y="274"/>
                </a:cubicBezTo>
                <a:cubicBezTo>
                  <a:pt x="32" y="293"/>
                  <a:pt x="32" y="293"/>
                  <a:pt x="32" y="293"/>
                </a:cubicBezTo>
                <a:cubicBezTo>
                  <a:pt x="14" y="293"/>
                  <a:pt x="14" y="293"/>
                  <a:pt x="14" y="293"/>
                </a:cubicBezTo>
                <a:cubicBezTo>
                  <a:pt x="6" y="293"/>
                  <a:pt x="0" y="299"/>
                  <a:pt x="0" y="307"/>
                </a:cubicBezTo>
                <a:cubicBezTo>
                  <a:pt x="0" y="314"/>
                  <a:pt x="6" y="320"/>
                  <a:pt x="14" y="320"/>
                </a:cubicBezTo>
                <a:cubicBezTo>
                  <a:pt x="42" y="320"/>
                  <a:pt x="42" y="320"/>
                  <a:pt x="42" y="320"/>
                </a:cubicBezTo>
                <a:cubicBezTo>
                  <a:pt x="68" y="386"/>
                  <a:pt x="68" y="386"/>
                  <a:pt x="68" y="386"/>
                </a:cubicBezTo>
                <a:cubicBezTo>
                  <a:pt x="26" y="440"/>
                  <a:pt x="26" y="440"/>
                  <a:pt x="26" y="440"/>
                </a:cubicBezTo>
                <a:cubicBezTo>
                  <a:pt x="23" y="444"/>
                  <a:pt x="23" y="449"/>
                  <a:pt x="25" y="454"/>
                </a:cubicBezTo>
                <a:cubicBezTo>
                  <a:pt x="27" y="458"/>
                  <a:pt x="32" y="461"/>
                  <a:pt x="37" y="461"/>
                </a:cubicBezTo>
                <a:cubicBezTo>
                  <a:pt x="229" y="461"/>
                  <a:pt x="229" y="461"/>
                  <a:pt x="229" y="461"/>
                </a:cubicBezTo>
                <a:cubicBezTo>
                  <a:pt x="234" y="461"/>
                  <a:pt x="238" y="458"/>
                  <a:pt x="240" y="454"/>
                </a:cubicBezTo>
                <a:cubicBezTo>
                  <a:pt x="243" y="449"/>
                  <a:pt x="242" y="443"/>
                  <a:pt x="239" y="439"/>
                </a:cubicBezTo>
                <a:cubicBezTo>
                  <a:pt x="197" y="386"/>
                  <a:pt x="197" y="386"/>
                  <a:pt x="197" y="386"/>
                </a:cubicBezTo>
                <a:cubicBezTo>
                  <a:pt x="223" y="320"/>
                  <a:pt x="223" y="320"/>
                  <a:pt x="223" y="320"/>
                </a:cubicBezTo>
                <a:cubicBezTo>
                  <a:pt x="251" y="320"/>
                  <a:pt x="251" y="320"/>
                  <a:pt x="251" y="320"/>
                </a:cubicBezTo>
                <a:cubicBezTo>
                  <a:pt x="258" y="320"/>
                  <a:pt x="264" y="314"/>
                  <a:pt x="264" y="307"/>
                </a:cubicBezTo>
                <a:cubicBezTo>
                  <a:pt x="264" y="299"/>
                  <a:pt x="258" y="293"/>
                  <a:pt x="251" y="29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51" name="Freeform 251"/>
          <p:cNvSpPr>
            <a:spLocks/>
          </p:cNvSpPr>
          <p:nvPr userDrawn="1"/>
        </p:nvSpPr>
        <p:spPr bwMode="auto">
          <a:xfrm>
            <a:off x="3803514" y="892078"/>
            <a:ext cx="385863" cy="348854"/>
          </a:xfrm>
          <a:custGeom>
            <a:avLst/>
            <a:gdLst/>
            <a:ahLst/>
            <a:cxnLst>
              <a:cxn ang="0">
                <a:pos x="113" y="0"/>
              </a:cxn>
              <a:cxn ang="0">
                <a:pos x="69" y="44"/>
              </a:cxn>
              <a:cxn ang="0">
                <a:pos x="69" y="298"/>
              </a:cxn>
              <a:cxn ang="0">
                <a:pos x="83" y="312"/>
              </a:cxn>
              <a:cxn ang="0">
                <a:pos x="96" y="298"/>
              </a:cxn>
              <a:cxn ang="0">
                <a:pos x="96" y="44"/>
              </a:cxn>
              <a:cxn ang="0">
                <a:pos x="113" y="27"/>
              </a:cxn>
              <a:cxn ang="0">
                <a:pos x="152" y="27"/>
              </a:cxn>
              <a:cxn ang="0">
                <a:pos x="169" y="44"/>
              </a:cxn>
              <a:cxn ang="0">
                <a:pos x="169" y="298"/>
              </a:cxn>
              <a:cxn ang="0">
                <a:pos x="183" y="312"/>
              </a:cxn>
              <a:cxn ang="0">
                <a:pos x="246" y="312"/>
              </a:cxn>
              <a:cxn ang="0">
                <a:pos x="259" y="298"/>
              </a:cxn>
              <a:cxn ang="0">
                <a:pos x="259" y="194"/>
              </a:cxn>
              <a:cxn ang="0">
                <a:pos x="301" y="194"/>
              </a:cxn>
              <a:cxn ang="0">
                <a:pos x="301" y="298"/>
              </a:cxn>
              <a:cxn ang="0">
                <a:pos x="314" y="312"/>
              </a:cxn>
              <a:cxn ang="0">
                <a:pos x="375" y="312"/>
              </a:cxn>
              <a:cxn ang="0">
                <a:pos x="388" y="298"/>
              </a:cxn>
              <a:cxn ang="0">
                <a:pos x="388" y="194"/>
              </a:cxn>
              <a:cxn ang="0">
                <a:pos x="430" y="194"/>
              </a:cxn>
              <a:cxn ang="0">
                <a:pos x="430" y="340"/>
              </a:cxn>
              <a:cxn ang="0">
                <a:pos x="42" y="340"/>
              </a:cxn>
              <a:cxn ang="0">
                <a:pos x="31" y="346"/>
              </a:cxn>
              <a:cxn ang="0">
                <a:pos x="3" y="390"/>
              </a:cxn>
              <a:cxn ang="0">
                <a:pos x="0" y="397"/>
              </a:cxn>
              <a:cxn ang="0">
                <a:pos x="6" y="408"/>
              </a:cxn>
              <a:cxn ang="0">
                <a:pos x="25" y="404"/>
              </a:cxn>
              <a:cxn ang="0">
                <a:pos x="50" y="367"/>
              </a:cxn>
              <a:cxn ang="0">
                <a:pos x="443" y="367"/>
              </a:cxn>
              <a:cxn ang="0">
                <a:pos x="456" y="354"/>
              </a:cxn>
              <a:cxn ang="0">
                <a:pos x="456" y="181"/>
              </a:cxn>
              <a:cxn ang="0">
                <a:pos x="443" y="168"/>
              </a:cxn>
              <a:cxn ang="0">
                <a:pos x="375" y="168"/>
              </a:cxn>
              <a:cxn ang="0">
                <a:pos x="362" y="181"/>
              </a:cxn>
              <a:cxn ang="0">
                <a:pos x="362" y="285"/>
              </a:cxn>
              <a:cxn ang="0">
                <a:pos x="327" y="285"/>
              </a:cxn>
              <a:cxn ang="0">
                <a:pos x="327" y="181"/>
              </a:cxn>
              <a:cxn ang="0">
                <a:pos x="314" y="168"/>
              </a:cxn>
              <a:cxn ang="0">
                <a:pos x="246" y="168"/>
              </a:cxn>
              <a:cxn ang="0">
                <a:pos x="233" y="181"/>
              </a:cxn>
              <a:cxn ang="0">
                <a:pos x="233" y="285"/>
              </a:cxn>
              <a:cxn ang="0">
                <a:pos x="196" y="285"/>
              </a:cxn>
              <a:cxn ang="0">
                <a:pos x="196" y="44"/>
              </a:cxn>
              <a:cxn ang="0">
                <a:pos x="152" y="0"/>
              </a:cxn>
              <a:cxn ang="0">
                <a:pos x="113" y="0"/>
              </a:cxn>
            </a:cxnLst>
            <a:rect l="0" t="0" r="r" b="b"/>
            <a:pathLst>
              <a:path w="456" h="412">
                <a:moveTo>
                  <a:pt x="113" y="0"/>
                </a:moveTo>
                <a:cubicBezTo>
                  <a:pt x="89" y="0"/>
                  <a:pt x="69" y="20"/>
                  <a:pt x="69" y="44"/>
                </a:cubicBezTo>
                <a:cubicBezTo>
                  <a:pt x="69" y="298"/>
                  <a:pt x="69" y="298"/>
                  <a:pt x="69" y="298"/>
                </a:cubicBezTo>
                <a:cubicBezTo>
                  <a:pt x="69" y="306"/>
                  <a:pt x="75" y="312"/>
                  <a:pt x="83" y="312"/>
                </a:cubicBezTo>
                <a:cubicBezTo>
                  <a:pt x="90" y="312"/>
                  <a:pt x="96" y="306"/>
                  <a:pt x="96" y="298"/>
                </a:cubicBezTo>
                <a:cubicBezTo>
                  <a:pt x="96" y="44"/>
                  <a:pt x="96" y="44"/>
                  <a:pt x="96" y="44"/>
                </a:cubicBezTo>
                <a:cubicBezTo>
                  <a:pt x="96" y="34"/>
                  <a:pt x="104" y="27"/>
                  <a:pt x="113" y="27"/>
                </a:cubicBezTo>
                <a:cubicBezTo>
                  <a:pt x="152" y="27"/>
                  <a:pt x="152" y="27"/>
                  <a:pt x="152" y="27"/>
                </a:cubicBezTo>
                <a:cubicBezTo>
                  <a:pt x="162" y="27"/>
                  <a:pt x="169" y="34"/>
                  <a:pt x="169" y="44"/>
                </a:cubicBezTo>
                <a:cubicBezTo>
                  <a:pt x="169" y="298"/>
                  <a:pt x="169" y="298"/>
                  <a:pt x="169" y="298"/>
                </a:cubicBezTo>
                <a:cubicBezTo>
                  <a:pt x="169" y="306"/>
                  <a:pt x="175" y="312"/>
                  <a:pt x="183" y="312"/>
                </a:cubicBezTo>
                <a:cubicBezTo>
                  <a:pt x="246" y="312"/>
                  <a:pt x="246" y="312"/>
                  <a:pt x="246" y="312"/>
                </a:cubicBezTo>
                <a:cubicBezTo>
                  <a:pt x="253" y="312"/>
                  <a:pt x="259" y="306"/>
                  <a:pt x="259" y="298"/>
                </a:cubicBezTo>
                <a:cubicBezTo>
                  <a:pt x="259" y="298"/>
                  <a:pt x="259" y="215"/>
                  <a:pt x="259" y="194"/>
                </a:cubicBezTo>
                <a:cubicBezTo>
                  <a:pt x="272" y="194"/>
                  <a:pt x="288" y="194"/>
                  <a:pt x="301" y="194"/>
                </a:cubicBezTo>
                <a:cubicBezTo>
                  <a:pt x="301" y="215"/>
                  <a:pt x="301" y="298"/>
                  <a:pt x="301" y="298"/>
                </a:cubicBezTo>
                <a:cubicBezTo>
                  <a:pt x="301" y="306"/>
                  <a:pt x="307" y="312"/>
                  <a:pt x="314" y="312"/>
                </a:cubicBezTo>
                <a:cubicBezTo>
                  <a:pt x="375" y="312"/>
                  <a:pt x="375" y="312"/>
                  <a:pt x="375" y="312"/>
                </a:cubicBezTo>
                <a:cubicBezTo>
                  <a:pt x="382" y="312"/>
                  <a:pt x="388" y="306"/>
                  <a:pt x="388" y="298"/>
                </a:cubicBezTo>
                <a:cubicBezTo>
                  <a:pt x="388" y="298"/>
                  <a:pt x="388" y="215"/>
                  <a:pt x="388" y="194"/>
                </a:cubicBezTo>
                <a:cubicBezTo>
                  <a:pt x="401" y="194"/>
                  <a:pt x="417" y="194"/>
                  <a:pt x="430" y="194"/>
                </a:cubicBezTo>
                <a:cubicBezTo>
                  <a:pt x="430" y="215"/>
                  <a:pt x="430" y="320"/>
                  <a:pt x="430" y="340"/>
                </a:cubicBezTo>
                <a:cubicBezTo>
                  <a:pt x="405" y="340"/>
                  <a:pt x="42" y="340"/>
                  <a:pt x="42" y="340"/>
                </a:cubicBezTo>
                <a:cubicBezTo>
                  <a:pt x="38" y="340"/>
                  <a:pt x="34" y="343"/>
                  <a:pt x="31" y="346"/>
                </a:cubicBezTo>
                <a:cubicBezTo>
                  <a:pt x="3" y="390"/>
                  <a:pt x="3" y="390"/>
                  <a:pt x="3" y="390"/>
                </a:cubicBezTo>
                <a:cubicBezTo>
                  <a:pt x="1" y="392"/>
                  <a:pt x="0" y="394"/>
                  <a:pt x="0" y="397"/>
                </a:cubicBezTo>
                <a:cubicBezTo>
                  <a:pt x="0" y="401"/>
                  <a:pt x="2" y="406"/>
                  <a:pt x="6" y="408"/>
                </a:cubicBezTo>
                <a:cubicBezTo>
                  <a:pt x="12" y="412"/>
                  <a:pt x="21" y="411"/>
                  <a:pt x="25" y="404"/>
                </a:cubicBezTo>
                <a:cubicBezTo>
                  <a:pt x="25" y="404"/>
                  <a:pt x="44" y="376"/>
                  <a:pt x="50" y="367"/>
                </a:cubicBezTo>
                <a:cubicBezTo>
                  <a:pt x="63" y="367"/>
                  <a:pt x="443" y="367"/>
                  <a:pt x="443" y="367"/>
                </a:cubicBezTo>
                <a:cubicBezTo>
                  <a:pt x="450" y="367"/>
                  <a:pt x="456" y="361"/>
                  <a:pt x="456" y="354"/>
                </a:cubicBezTo>
                <a:cubicBezTo>
                  <a:pt x="456" y="181"/>
                  <a:pt x="456" y="181"/>
                  <a:pt x="456" y="181"/>
                </a:cubicBezTo>
                <a:cubicBezTo>
                  <a:pt x="456" y="174"/>
                  <a:pt x="450" y="168"/>
                  <a:pt x="443" y="168"/>
                </a:cubicBezTo>
                <a:cubicBezTo>
                  <a:pt x="375" y="168"/>
                  <a:pt x="375" y="168"/>
                  <a:pt x="375" y="168"/>
                </a:cubicBezTo>
                <a:cubicBezTo>
                  <a:pt x="368" y="168"/>
                  <a:pt x="362" y="174"/>
                  <a:pt x="362" y="181"/>
                </a:cubicBezTo>
                <a:cubicBezTo>
                  <a:pt x="362" y="181"/>
                  <a:pt x="362" y="264"/>
                  <a:pt x="362" y="285"/>
                </a:cubicBezTo>
                <a:cubicBezTo>
                  <a:pt x="350" y="285"/>
                  <a:pt x="339" y="285"/>
                  <a:pt x="327" y="285"/>
                </a:cubicBezTo>
                <a:cubicBezTo>
                  <a:pt x="327" y="264"/>
                  <a:pt x="327" y="181"/>
                  <a:pt x="327" y="181"/>
                </a:cubicBezTo>
                <a:cubicBezTo>
                  <a:pt x="327" y="174"/>
                  <a:pt x="321" y="168"/>
                  <a:pt x="314" y="168"/>
                </a:cubicBezTo>
                <a:cubicBezTo>
                  <a:pt x="246" y="168"/>
                  <a:pt x="246" y="168"/>
                  <a:pt x="246" y="168"/>
                </a:cubicBezTo>
                <a:cubicBezTo>
                  <a:pt x="238" y="168"/>
                  <a:pt x="233" y="174"/>
                  <a:pt x="233" y="181"/>
                </a:cubicBezTo>
                <a:cubicBezTo>
                  <a:pt x="233" y="181"/>
                  <a:pt x="233" y="264"/>
                  <a:pt x="233" y="285"/>
                </a:cubicBezTo>
                <a:cubicBezTo>
                  <a:pt x="220" y="285"/>
                  <a:pt x="208" y="285"/>
                  <a:pt x="196" y="285"/>
                </a:cubicBezTo>
                <a:cubicBezTo>
                  <a:pt x="196" y="261"/>
                  <a:pt x="196" y="44"/>
                  <a:pt x="196" y="44"/>
                </a:cubicBezTo>
                <a:cubicBezTo>
                  <a:pt x="196" y="20"/>
                  <a:pt x="176" y="0"/>
                  <a:pt x="152" y="0"/>
                </a:cubicBezTo>
                <a:lnTo>
                  <a:pt x="113"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52" name="Freeform 345"/>
          <p:cNvSpPr>
            <a:spLocks/>
          </p:cNvSpPr>
          <p:nvPr userDrawn="1"/>
        </p:nvSpPr>
        <p:spPr bwMode="auto">
          <a:xfrm>
            <a:off x="3802919" y="2312275"/>
            <a:ext cx="387054" cy="247650"/>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53" name="Freeform 349"/>
          <p:cNvSpPr>
            <a:spLocks/>
          </p:cNvSpPr>
          <p:nvPr userDrawn="1"/>
        </p:nvSpPr>
        <p:spPr bwMode="auto">
          <a:xfrm>
            <a:off x="3852938" y="3298841"/>
            <a:ext cx="287016" cy="394097"/>
          </a:xfrm>
          <a:custGeom>
            <a:avLst/>
            <a:gdLst/>
            <a:ahLst/>
            <a:cxnLst>
              <a:cxn ang="0">
                <a:pos x="299" y="75"/>
              </a:cxn>
              <a:cxn ang="0">
                <a:pos x="227" y="20"/>
              </a:cxn>
              <a:cxn ang="0">
                <a:pos x="170" y="0"/>
              </a:cxn>
              <a:cxn ang="0">
                <a:pos x="102" y="30"/>
              </a:cxn>
              <a:cxn ang="0">
                <a:pos x="56" y="67"/>
              </a:cxn>
              <a:cxn ang="0">
                <a:pos x="0" y="151"/>
              </a:cxn>
              <a:cxn ang="0">
                <a:pos x="35" y="222"/>
              </a:cxn>
              <a:cxn ang="0">
                <a:pos x="39" y="274"/>
              </a:cxn>
              <a:cxn ang="0">
                <a:pos x="116" y="325"/>
              </a:cxn>
              <a:cxn ang="0">
                <a:pos x="130" y="323"/>
              </a:cxn>
              <a:cxn ang="0">
                <a:pos x="95" y="440"/>
              </a:cxn>
              <a:cxn ang="0">
                <a:pos x="95" y="466"/>
              </a:cxn>
              <a:cxn ang="0">
                <a:pos x="152" y="462"/>
              </a:cxn>
              <a:cxn ang="0">
                <a:pos x="156" y="306"/>
              </a:cxn>
              <a:cxn ang="0">
                <a:pos x="139" y="293"/>
              </a:cxn>
              <a:cxn ang="0">
                <a:pos x="130" y="296"/>
              </a:cxn>
              <a:cxn ang="0">
                <a:pos x="118" y="298"/>
              </a:cxn>
              <a:cxn ang="0">
                <a:pos x="94" y="293"/>
              </a:cxn>
              <a:cxn ang="0">
                <a:pos x="59" y="241"/>
              </a:cxn>
              <a:cxn ang="0">
                <a:pos x="57" y="206"/>
              </a:cxn>
              <a:cxn ang="0">
                <a:pos x="27" y="151"/>
              </a:cxn>
              <a:cxn ang="0">
                <a:pos x="55" y="97"/>
              </a:cxn>
              <a:cxn ang="0">
                <a:pos x="93" y="86"/>
              </a:cxn>
              <a:cxn ang="0">
                <a:pos x="129" y="41"/>
              </a:cxn>
              <a:cxn ang="0">
                <a:pos x="170" y="26"/>
              </a:cxn>
              <a:cxn ang="0">
                <a:pos x="218" y="48"/>
              </a:cxn>
              <a:cxn ang="0">
                <a:pos x="246" y="86"/>
              </a:cxn>
              <a:cxn ang="0">
                <a:pos x="273" y="91"/>
              </a:cxn>
              <a:cxn ang="0">
                <a:pos x="313" y="151"/>
              </a:cxn>
              <a:cxn ang="0">
                <a:pos x="282" y="206"/>
              </a:cxn>
              <a:cxn ang="0">
                <a:pos x="280" y="241"/>
              </a:cxn>
              <a:cxn ang="0">
                <a:pos x="255" y="288"/>
              </a:cxn>
              <a:cxn ang="0">
                <a:pos x="221" y="298"/>
              </a:cxn>
              <a:cxn ang="0">
                <a:pos x="205" y="294"/>
              </a:cxn>
              <a:cxn ang="0">
                <a:pos x="201" y="293"/>
              </a:cxn>
              <a:cxn ang="0">
                <a:pos x="200" y="293"/>
              </a:cxn>
              <a:cxn ang="0">
                <a:pos x="189" y="296"/>
              </a:cxn>
              <a:cxn ang="0">
                <a:pos x="183" y="453"/>
              </a:cxn>
              <a:cxn ang="0">
                <a:pos x="197" y="466"/>
              </a:cxn>
              <a:cxn ang="0">
                <a:pos x="258" y="453"/>
              </a:cxn>
              <a:cxn ang="0">
                <a:pos x="210" y="440"/>
              </a:cxn>
              <a:cxn ang="0">
                <a:pos x="213" y="324"/>
              </a:cxn>
              <a:cxn ang="0">
                <a:pos x="224" y="324"/>
              </a:cxn>
              <a:cxn ang="0">
                <a:pos x="293" y="288"/>
              </a:cxn>
              <a:cxn ang="0">
                <a:pos x="305" y="222"/>
              </a:cxn>
              <a:cxn ang="0">
                <a:pos x="339" y="151"/>
              </a:cxn>
            </a:cxnLst>
            <a:rect l="0" t="0" r="r" b="b"/>
            <a:pathLst>
              <a:path w="339" h="466">
                <a:moveTo>
                  <a:pt x="332" y="115"/>
                </a:moveTo>
                <a:cubicBezTo>
                  <a:pt x="325" y="99"/>
                  <a:pt x="314" y="85"/>
                  <a:pt x="299" y="75"/>
                </a:cubicBezTo>
                <a:cubicBezTo>
                  <a:pt x="287" y="67"/>
                  <a:pt x="272" y="61"/>
                  <a:pt x="255" y="60"/>
                </a:cubicBezTo>
                <a:cubicBezTo>
                  <a:pt x="250" y="44"/>
                  <a:pt x="240" y="30"/>
                  <a:pt x="227" y="20"/>
                </a:cubicBezTo>
                <a:cubicBezTo>
                  <a:pt x="219" y="14"/>
                  <a:pt x="210" y="9"/>
                  <a:pt x="200" y="5"/>
                </a:cubicBezTo>
                <a:cubicBezTo>
                  <a:pt x="191" y="2"/>
                  <a:pt x="180" y="0"/>
                  <a:pt x="170" y="0"/>
                </a:cubicBezTo>
                <a:cubicBezTo>
                  <a:pt x="159" y="0"/>
                  <a:pt x="149" y="2"/>
                  <a:pt x="139" y="5"/>
                </a:cubicBezTo>
                <a:cubicBezTo>
                  <a:pt x="125" y="10"/>
                  <a:pt x="112" y="19"/>
                  <a:pt x="102" y="30"/>
                </a:cubicBezTo>
                <a:cubicBezTo>
                  <a:pt x="94" y="39"/>
                  <a:pt x="88" y="49"/>
                  <a:pt x="84" y="60"/>
                </a:cubicBezTo>
                <a:cubicBezTo>
                  <a:pt x="74" y="61"/>
                  <a:pt x="65" y="63"/>
                  <a:pt x="56" y="67"/>
                </a:cubicBezTo>
                <a:cubicBezTo>
                  <a:pt x="39" y="74"/>
                  <a:pt x="25" y="85"/>
                  <a:pt x="16" y="100"/>
                </a:cubicBezTo>
                <a:cubicBezTo>
                  <a:pt x="6" y="114"/>
                  <a:pt x="0" y="132"/>
                  <a:pt x="0" y="151"/>
                </a:cubicBezTo>
                <a:cubicBezTo>
                  <a:pt x="0" y="167"/>
                  <a:pt x="4" y="182"/>
                  <a:pt x="12" y="196"/>
                </a:cubicBezTo>
                <a:cubicBezTo>
                  <a:pt x="18" y="206"/>
                  <a:pt x="25" y="215"/>
                  <a:pt x="35" y="222"/>
                </a:cubicBezTo>
                <a:cubicBezTo>
                  <a:pt x="33" y="228"/>
                  <a:pt x="32" y="235"/>
                  <a:pt x="32" y="241"/>
                </a:cubicBezTo>
                <a:cubicBezTo>
                  <a:pt x="32" y="253"/>
                  <a:pt x="35" y="264"/>
                  <a:pt x="39" y="274"/>
                </a:cubicBezTo>
                <a:cubicBezTo>
                  <a:pt x="45" y="289"/>
                  <a:pt x="56" y="301"/>
                  <a:pt x="69" y="310"/>
                </a:cubicBezTo>
                <a:cubicBezTo>
                  <a:pt x="82" y="319"/>
                  <a:pt x="99" y="325"/>
                  <a:pt x="116" y="325"/>
                </a:cubicBezTo>
                <a:cubicBezTo>
                  <a:pt x="118" y="325"/>
                  <a:pt x="119" y="324"/>
                  <a:pt x="121" y="324"/>
                </a:cubicBezTo>
                <a:cubicBezTo>
                  <a:pt x="124" y="324"/>
                  <a:pt x="127" y="324"/>
                  <a:pt x="130" y="323"/>
                </a:cubicBezTo>
                <a:cubicBezTo>
                  <a:pt x="130" y="440"/>
                  <a:pt x="130" y="440"/>
                  <a:pt x="130" y="440"/>
                </a:cubicBezTo>
                <a:cubicBezTo>
                  <a:pt x="95" y="440"/>
                  <a:pt x="95" y="440"/>
                  <a:pt x="95" y="440"/>
                </a:cubicBezTo>
                <a:cubicBezTo>
                  <a:pt x="88" y="440"/>
                  <a:pt x="82" y="446"/>
                  <a:pt x="82" y="453"/>
                </a:cubicBezTo>
                <a:cubicBezTo>
                  <a:pt x="82" y="460"/>
                  <a:pt x="88" y="466"/>
                  <a:pt x="95" y="466"/>
                </a:cubicBezTo>
                <a:cubicBezTo>
                  <a:pt x="143" y="466"/>
                  <a:pt x="143" y="466"/>
                  <a:pt x="143" y="466"/>
                </a:cubicBezTo>
                <a:cubicBezTo>
                  <a:pt x="146" y="466"/>
                  <a:pt x="150" y="465"/>
                  <a:pt x="152" y="462"/>
                </a:cubicBezTo>
                <a:cubicBezTo>
                  <a:pt x="155" y="460"/>
                  <a:pt x="156" y="456"/>
                  <a:pt x="156" y="453"/>
                </a:cubicBezTo>
                <a:cubicBezTo>
                  <a:pt x="156" y="306"/>
                  <a:pt x="156" y="306"/>
                  <a:pt x="156" y="306"/>
                </a:cubicBezTo>
                <a:cubicBezTo>
                  <a:pt x="156" y="302"/>
                  <a:pt x="154" y="298"/>
                  <a:pt x="151" y="296"/>
                </a:cubicBezTo>
                <a:cubicBezTo>
                  <a:pt x="148" y="293"/>
                  <a:pt x="143" y="292"/>
                  <a:pt x="139" y="293"/>
                </a:cubicBezTo>
                <a:cubicBezTo>
                  <a:pt x="139" y="293"/>
                  <a:pt x="139" y="293"/>
                  <a:pt x="139" y="293"/>
                </a:cubicBezTo>
                <a:cubicBezTo>
                  <a:pt x="139" y="293"/>
                  <a:pt x="135" y="295"/>
                  <a:pt x="130" y="296"/>
                </a:cubicBezTo>
                <a:cubicBezTo>
                  <a:pt x="127" y="296"/>
                  <a:pt x="124" y="297"/>
                  <a:pt x="122" y="297"/>
                </a:cubicBezTo>
                <a:cubicBezTo>
                  <a:pt x="121" y="297"/>
                  <a:pt x="119" y="298"/>
                  <a:pt x="118" y="298"/>
                </a:cubicBezTo>
                <a:cubicBezTo>
                  <a:pt x="117" y="298"/>
                  <a:pt x="116" y="298"/>
                  <a:pt x="116" y="298"/>
                </a:cubicBezTo>
                <a:cubicBezTo>
                  <a:pt x="108" y="298"/>
                  <a:pt x="100" y="296"/>
                  <a:pt x="94" y="293"/>
                </a:cubicBezTo>
                <a:cubicBezTo>
                  <a:pt x="84" y="289"/>
                  <a:pt x="75" y="282"/>
                  <a:pt x="69" y="273"/>
                </a:cubicBezTo>
                <a:cubicBezTo>
                  <a:pt x="63" y="264"/>
                  <a:pt x="59" y="253"/>
                  <a:pt x="59" y="241"/>
                </a:cubicBezTo>
                <a:cubicBezTo>
                  <a:pt x="59" y="234"/>
                  <a:pt x="60" y="228"/>
                  <a:pt x="63" y="221"/>
                </a:cubicBezTo>
                <a:cubicBezTo>
                  <a:pt x="65" y="216"/>
                  <a:pt x="62" y="209"/>
                  <a:pt x="57" y="206"/>
                </a:cubicBezTo>
                <a:cubicBezTo>
                  <a:pt x="48" y="200"/>
                  <a:pt x="40" y="192"/>
                  <a:pt x="35" y="183"/>
                </a:cubicBezTo>
                <a:cubicBezTo>
                  <a:pt x="30" y="173"/>
                  <a:pt x="27" y="162"/>
                  <a:pt x="27" y="151"/>
                </a:cubicBezTo>
                <a:cubicBezTo>
                  <a:pt x="27" y="142"/>
                  <a:pt x="29" y="133"/>
                  <a:pt x="32" y="126"/>
                </a:cubicBezTo>
                <a:cubicBezTo>
                  <a:pt x="37" y="114"/>
                  <a:pt x="45" y="104"/>
                  <a:pt x="55" y="97"/>
                </a:cubicBezTo>
                <a:cubicBezTo>
                  <a:pt x="65" y="90"/>
                  <a:pt x="78" y="86"/>
                  <a:pt x="91" y="86"/>
                </a:cubicBezTo>
                <a:cubicBezTo>
                  <a:pt x="92" y="86"/>
                  <a:pt x="93" y="86"/>
                  <a:pt x="93" y="86"/>
                </a:cubicBezTo>
                <a:cubicBezTo>
                  <a:pt x="100" y="87"/>
                  <a:pt x="105" y="82"/>
                  <a:pt x="107" y="76"/>
                </a:cubicBezTo>
                <a:cubicBezTo>
                  <a:pt x="110" y="62"/>
                  <a:pt x="118" y="49"/>
                  <a:pt x="129" y="41"/>
                </a:cubicBezTo>
                <a:cubicBezTo>
                  <a:pt x="135" y="36"/>
                  <a:pt x="141" y="33"/>
                  <a:pt x="148" y="30"/>
                </a:cubicBezTo>
                <a:cubicBezTo>
                  <a:pt x="155" y="28"/>
                  <a:pt x="162" y="26"/>
                  <a:pt x="170" y="26"/>
                </a:cubicBezTo>
                <a:cubicBezTo>
                  <a:pt x="177" y="26"/>
                  <a:pt x="185" y="28"/>
                  <a:pt x="191" y="30"/>
                </a:cubicBezTo>
                <a:cubicBezTo>
                  <a:pt x="202" y="34"/>
                  <a:pt x="211" y="40"/>
                  <a:pt x="218" y="48"/>
                </a:cubicBezTo>
                <a:cubicBezTo>
                  <a:pt x="225" y="56"/>
                  <a:pt x="230" y="65"/>
                  <a:pt x="232" y="76"/>
                </a:cubicBezTo>
                <a:cubicBezTo>
                  <a:pt x="234" y="82"/>
                  <a:pt x="240" y="87"/>
                  <a:pt x="246" y="86"/>
                </a:cubicBezTo>
                <a:cubicBezTo>
                  <a:pt x="247" y="86"/>
                  <a:pt x="248" y="86"/>
                  <a:pt x="248" y="86"/>
                </a:cubicBezTo>
                <a:cubicBezTo>
                  <a:pt x="257" y="86"/>
                  <a:pt x="266" y="88"/>
                  <a:pt x="273" y="91"/>
                </a:cubicBezTo>
                <a:cubicBezTo>
                  <a:pt x="285" y="96"/>
                  <a:pt x="295" y="104"/>
                  <a:pt x="302" y="115"/>
                </a:cubicBezTo>
                <a:cubicBezTo>
                  <a:pt x="309" y="125"/>
                  <a:pt x="313" y="137"/>
                  <a:pt x="313" y="151"/>
                </a:cubicBezTo>
                <a:cubicBezTo>
                  <a:pt x="313" y="162"/>
                  <a:pt x="310" y="173"/>
                  <a:pt x="304" y="183"/>
                </a:cubicBezTo>
                <a:cubicBezTo>
                  <a:pt x="299" y="192"/>
                  <a:pt x="292" y="200"/>
                  <a:pt x="282" y="206"/>
                </a:cubicBezTo>
                <a:cubicBezTo>
                  <a:pt x="277" y="209"/>
                  <a:pt x="275" y="216"/>
                  <a:pt x="277" y="221"/>
                </a:cubicBezTo>
                <a:cubicBezTo>
                  <a:pt x="279" y="228"/>
                  <a:pt x="280" y="234"/>
                  <a:pt x="280" y="241"/>
                </a:cubicBezTo>
                <a:cubicBezTo>
                  <a:pt x="280" y="249"/>
                  <a:pt x="279" y="256"/>
                  <a:pt x="276" y="263"/>
                </a:cubicBezTo>
                <a:cubicBezTo>
                  <a:pt x="272" y="273"/>
                  <a:pt x="265" y="282"/>
                  <a:pt x="255" y="288"/>
                </a:cubicBezTo>
                <a:cubicBezTo>
                  <a:pt x="246" y="294"/>
                  <a:pt x="236" y="298"/>
                  <a:pt x="224" y="298"/>
                </a:cubicBezTo>
                <a:cubicBezTo>
                  <a:pt x="223" y="298"/>
                  <a:pt x="222" y="298"/>
                  <a:pt x="221" y="298"/>
                </a:cubicBezTo>
                <a:cubicBezTo>
                  <a:pt x="219" y="297"/>
                  <a:pt x="217" y="297"/>
                  <a:pt x="215" y="297"/>
                </a:cubicBezTo>
                <a:cubicBezTo>
                  <a:pt x="211" y="296"/>
                  <a:pt x="207" y="295"/>
                  <a:pt x="205" y="294"/>
                </a:cubicBezTo>
                <a:cubicBezTo>
                  <a:pt x="203" y="294"/>
                  <a:pt x="202" y="294"/>
                  <a:pt x="202" y="294"/>
                </a:cubicBezTo>
                <a:cubicBezTo>
                  <a:pt x="201" y="294"/>
                  <a:pt x="201" y="293"/>
                  <a:pt x="201" y="293"/>
                </a:cubicBezTo>
                <a:cubicBezTo>
                  <a:pt x="200" y="293"/>
                  <a:pt x="200" y="293"/>
                  <a:pt x="200" y="293"/>
                </a:cubicBezTo>
                <a:cubicBezTo>
                  <a:pt x="200" y="293"/>
                  <a:pt x="200" y="293"/>
                  <a:pt x="200" y="293"/>
                </a:cubicBezTo>
                <a:cubicBezTo>
                  <a:pt x="200" y="293"/>
                  <a:pt x="200" y="293"/>
                  <a:pt x="200" y="293"/>
                </a:cubicBezTo>
                <a:cubicBezTo>
                  <a:pt x="196" y="292"/>
                  <a:pt x="192" y="293"/>
                  <a:pt x="189" y="296"/>
                </a:cubicBezTo>
                <a:cubicBezTo>
                  <a:pt x="185" y="298"/>
                  <a:pt x="183" y="302"/>
                  <a:pt x="183" y="306"/>
                </a:cubicBezTo>
                <a:cubicBezTo>
                  <a:pt x="183" y="453"/>
                  <a:pt x="183" y="453"/>
                  <a:pt x="183" y="453"/>
                </a:cubicBezTo>
                <a:cubicBezTo>
                  <a:pt x="183" y="456"/>
                  <a:pt x="185" y="460"/>
                  <a:pt x="187" y="462"/>
                </a:cubicBezTo>
                <a:cubicBezTo>
                  <a:pt x="190" y="465"/>
                  <a:pt x="193" y="466"/>
                  <a:pt x="197" y="466"/>
                </a:cubicBezTo>
                <a:cubicBezTo>
                  <a:pt x="244" y="466"/>
                  <a:pt x="244" y="466"/>
                  <a:pt x="244" y="466"/>
                </a:cubicBezTo>
                <a:cubicBezTo>
                  <a:pt x="252" y="466"/>
                  <a:pt x="258" y="460"/>
                  <a:pt x="258" y="453"/>
                </a:cubicBezTo>
                <a:cubicBezTo>
                  <a:pt x="258" y="446"/>
                  <a:pt x="252" y="440"/>
                  <a:pt x="244" y="440"/>
                </a:cubicBezTo>
                <a:cubicBezTo>
                  <a:pt x="210" y="440"/>
                  <a:pt x="210" y="440"/>
                  <a:pt x="210" y="440"/>
                </a:cubicBezTo>
                <a:cubicBezTo>
                  <a:pt x="210" y="323"/>
                  <a:pt x="210" y="323"/>
                  <a:pt x="210" y="323"/>
                </a:cubicBezTo>
                <a:cubicBezTo>
                  <a:pt x="211" y="323"/>
                  <a:pt x="212" y="323"/>
                  <a:pt x="213" y="324"/>
                </a:cubicBezTo>
                <a:cubicBezTo>
                  <a:pt x="215" y="324"/>
                  <a:pt x="217" y="324"/>
                  <a:pt x="219" y="324"/>
                </a:cubicBezTo>
                <a:cubicBezTo>
                  <a:pt x="220" y="324"/>
                  <a:pt x="222" y="324"/>
                  <a:pt x="224" y="324"/>
                </a:cubicBezTo>
                <a:cubicBezTo>
                  <a:pt x="235" y="324"/>
                  <a:pt x="246" y="322"/>
                  <a:pt x="256" y="318"/>
                </a:cubicBezTo>
                <a:cubicBezTo>
                  <a:pt x="271" y="312"/>
                  <a:pt x="284" y="301"/>
                  <a:pt x="293" y="288"/>
                </a:cubicBezTo>
                <a:cubicBezTo>
                  <a:pt x="302" y="274"/>
                  <a:pt x="307" y="258"/>
                  <a:pt x="307" y="241"/>
                </a:cubicBezTo>
                <a:cubicBezTo>
                  <a:pt x="307" y="235"/>
                  <a:pt x="306" y="228"/>
                  <a:pt x="305" y="222"/>
                </a:cubicBezTo>
                <a:cubicBezTo>
                  <a:pt x="314" y="215"/>
                  <a:pt x="322" y="206"/>
                  <a:pt x="328" y="196"/>
                </a:cubicBezTo>
                <a:cubicBezTo>
                  <a:pt x="335" y="182"/>
                  <a:pt x="339" y="167"/>
                  <a:pt x="339" y="151"/>
                </a:cubicBezTo>
                <a:cubicBezTo>
                  <a:pt x="339" y="138"/>
                  <a:pt x="337" y="126"/>
                  <a:pt x="332" y="11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54" name="Freeform 369"/>
          <p:cNvSpPr>
            <a:spLocks/>
          </p:cNvSpPr>
          <p:nvPr userDrawn="1"/>
        </p:nvSpPr>
        <p:spPr bwMode="auto">
          <a:xfrm>
            <a:off x="3939281" y="1798006"/>
            <a:ext cx="114330" cy="366713"/>
          </a:xfrm>
          <a:custGeom>
            <a:avLst/>
            <a:gdLst/>
            <a:ahLst/>
            <a:cxnLst>
              <a:cxn ang="0">
                <a:pos x="80" y="356"/>
              </a:cxn>
              <a:cxn ang="0">
                <a:pos x="80" y="333"/>
              </a:cxn>
              <a:cxn ang="0">
                <a:pos x="131" y="280"/>
              </a:cxn>
              <a:cxn ang="0">
                <a:pos x="131" y="53"/>
              </a:cxn>
              <a:cxn ang="0">
                <a:pos x="78" y="0"/>
              </a:cxn>
              <a:cxn ang="0">
                <a:pos x="54" y="0"/>
              </a:cxn>
              <a:cxn ang="0">
                <a:pos x="0" y="53"/>
              </a:cxn>
              <a:cxn ang="0">
                <a:pos x="0" y="280"/>
              </a:cxn>
              <a:cxn ang="0">
                <a:pos x="16" y="318"/>
              </a:cxn>
              <a:cxn ang="0">
                <a:pos x="35" y="318"/>
              </a:cxn>
              <a:cxn ang="0">
                <a:pos x="35" y="299"/>
              </a:cxn>
              <a:cxn ang="0">
                <a:pos x="27" y="280"/>
              </a:cxn>
              <a:cxn ang="0">
                <a:pos x="27" y="255"/>
              </a:cxn>
              <a:cxn ang="0">
                <a:pos x="54" y="263"/>
              </a:cxn>
              <a:cxn ang="0">
                <a:pos x="77" y="263"/>
              </a:cxn>
              <a:cxn ang="0">
                <a:pos x="91" y="249"/>
              </a:cxn>
              <a:cxn ang="0">
                <a:pos x="77" y="236"/>
              </a:cxn>
              <a:cxn ang="0">
                <a:pos x="54" y="236"/>
              </a:cxn>
              <a:cxn ang="0">
                <a:pos x="35" y="228"/>
              </a:cxn>
              <a:cxn ang="0">
                <a:pos x="27" y="209"/>
              </a:cxn>
              <a:cxn ang="0">
                <a:pos x="27" y="206"/>
              </a:cxn>
              <a:cxn ang="0">
                <a:pos x="27" y="177"/>
              </a:cxn>
              <a:cxn ang="0">
                <a:pos x="54" y="184"/>
              </a:cxn>
              <a:cxn ang="0">
                <a:pos x="77" y="184"/>
              </a:cxn>
              <a:cxn ang="0">
                <a:pos x="91" y="171"/>
              </a:cxn>
              <a:cxn ang="0">
                <a:pos x="77" y="157"/>
              </a:cxn>
              <a:cxn ang="0">
                <a:pos x="54" y="157"/>
              </a:cxn>
              <a:cxn ang="0">
                <a:pos x="35" y="149"/>
              </a:cxn>
              <a:cxn ang="0">
                <a:pos x="27" y="131"/>
              </a:cxn>
              <a:cxn ang="0">
                <a:pos x="27" y="128"/>
              </a:cxn>
              <a:cxn ang="0">
                <a:pos x="27" y="97"/>
              </a:cxn>
              <a:cxn ang="0">
                <a:pos x="54" y="104"/>
              </a:cxn>
              <a:cxn ang="0">
                <a:pos x="77" y="104"/>
              </a:cxn>
              <a:cxn ang="0">
                <a:pos x="91" y="91"/>
              </a:cxn>
              <a:cxn ang="0">
                <a:pos x="77" y="77"/>
              </a:cxn>
              <a:cxn ang="0">
                <a:pos x="54" y="77"/>
              </a:cxn>
              <a:cxn ang="0">
                <a:pos x="35" y="69"/>
              </a:cxn>
              <a:cxn ang="0">
                <a:pos x="27" y="51"/>
              </a:cxn>
              <a:cxn ang="0">
                <a:pos x="27" y="50"/>
              </a:cxn>
              <a:cxn ang="0">
                <a:pos x="54" y="27"/>
              </a:cxn>
              <a:cxn ang="0">
                <a:pos x="78" y="27"/>
              </a:cxn>
              <a:cxn ang="0">
                <a:pos x="104" y="53"/>
              </a:cxn>
              <a:cxn ang="0">
                <a:pos x="104" y="280"/>
              </a:cxn>
              <a:cxn ang="0">
                <a:pos x="78" y="307"/>
              </a:cxn>
              <a:cxn ang="0">
                <a:pos x="71" y="307"/>
              </a:cxn>
              <a:cxn ang="0">
                <a:pos x="69" y="307"/>
              </a:cxn>
              <a:cxn ang="0">
                <a:pos x="67" y="307"/>
              </a:cxn>
              <a:cxn ang="0">
                <a:pos x="53" y="320"/>
              </a:cxn>
              <a:cxn ang="0">
                <a:pos x="53" y="368"/>
              </a:cxn>
              <a:cxn ang="0">
                <a:pos x="61" y="380"/>
              </a:cxn>
              <a:cxn ang="0">
                <a:pos x="68" y="382"/>
              </a:cxn>
              <a:cxn ang="0">
                <a:pos x="107" y="394"/>
              </a:cxn>
              <a:cxn ang="0">
                <a:pos x="68" y="406"/>
              </a:cxn>
              <a:cxn ang="0">
                <a:pos x="29" y="394"/>
              </a:cxn>
              <a:cxn ang="0">
                <a:pos x="39" y="387"/>
              </a:cxn>
              <a:cxn ang="0">
                <a:pos x="46" y="370"/>
              </a:cxn>
              <a:cxn ang="0">
                <a:pos x="29" y="362"/>
              </a:cxn>
              <a:cxn ang="0">
                <a:pos x="2" y="394"/>
              </a:cxn>
              <a:cxn ang="0">
                <a:pos x="68" y="433"/>
              </a:cxn>
              <a:cxn ang="0">
                <a:pos x="134" y="394"/>
              </a:cxn>
              <a:cxn ang="0">
                <a:pos x="80" y="356"/>
              </a:cxn>
            </a:cxnLst>
            <a:rect l="0" t="0" r="r" b="b"/>
            <a:pathLst>
              <a:path w="134" h="433">
                <a:moveTo>
                  <a:pt x="80" y="356"/>
                </a:moveTo>
                <a:cubicBezTo>
                  <a:pt x="80" y="333"/>
                  <a:pt x="80" y="333"/>
                  <a:pt x="80" y="333"/>
                </a:cubicBezTo>
                <a:cubicBezTo>
                  <a:pt x="108" y="332"/>
                  <a:pt x="131" y="309"/>
                  <a:pt x="131" y="280"/>
                </a:cubicBezTo>
                <a:cubicBezTo>
                  <a:pt x="131" y="53"/>
                  <a:pt x="131" y="53"/>
                  <a:pt x="131" y="53"/>
                </a:cubicBezTo>
                <a:cubicBezTo>
                  <a:pt x="131" y="24"/>
                  <a:pt x="107" y="0"/>
                  <a:pt x="78" y="0"/>
                </a:cubicBezTo>
                <a:cubicBezTo>
                  <a:pt x="54" y="0"/>
                  <a:pt x="54" y="0"/>
                  <a:pt x="54" y="0"/>
                </a:cubicBezTo>
                <a:cubicBezTo>
                  <a:pt x="24" y="0"/>
                  <a:pt x="0" y="24"/>
                  <a:pt x="0" y="53"/>
                </a:cubicBezTo>
                <a:cubicBezTo>
                  <a:pt x="0" y="280"/>
                  <a:pt x="0" y="280"/>
                  <a:pt x="0" y="280"/>
                </a:cubicBezTo>
                <a:cubicBezTo>
                  <a:pt x="0" y="294"/>
                  <a:pt x="6" y="308"/>
                  <a:pt x="16" y="318"/>
                </a:cubicBezTo>
                <a:cubicBezTo>
                  <a:pt x="21" y="323"/>
                  <a:pt x="30" y="323"/>
                  <a:pt x="35" y="318"/>
                </a:cubicBezTo>
                <a:cubicBezTo>
                  <a:pt x="40" y="313"/>
                  <a:pt x="40" y="304"/>
                  <a:pt x="35" y="299"/>
                </a:cubicBezTo>
                <a:cubicBezTo>
                  <a:pt x="29" y="294"/>
                  <a:pt x="27" y="287"/>
                  <a:pt x="27" y="280"/>
                </a:cubicBezTo>
                <a:cubicBezTo>
                  <a:pt x="27" y="255"/>
                  <a:pt x="27" y="255"/>
                  <a:pt x="27" y="255"/>
                </a:cubicBezTo>
                <a:cubicBezTo>
                  <a:pt x="35" y="260"/>
                  <a:pt x="44" y="263"/>
                  <a:pt x="54" y="263"/>
                </a:cubicBezTo>
                <a:cubicBezTo>
                  <a:pt x="77" y="263"/>
                  <a:pt x="77" y="263"/>
                  <a:pt x="77" y="263"/>
                </a:cubicBezTo>
                <a:cubicBezTo>
                  <a:pt x="85" y="263"/>
                  <a:pt x="91" y="257"/>
                  <a:pt x="91" y="249"/>
                </a:cubicBezTo>
                <a:cubicBezTo>
                  <a:pt x="91" y="242"/>
                  <a:pt x="85" y="236"/>
                  <a:pt x="77" y="236"/>
                </a:cubicBezTo>
                <a:cubicBezTo>
                  <a:pt x="54" y="236"/>
                  <a:pt x="54" y="236"/>
                  <a:pt x="54" y="236"/>
                </a:cubicBezTo>
                <a:cubicBezTo>
                  <a:pt x="47" y="236"/>
                  <a:pt x="40" y="233"/>
                  <a:pt x="35" y="228"/>
                </a:cubicBezTo>
                <a:cubicBezTo>
                  <a:pt x="30" y="223"/>
                  <a:pt x="27" y="216"/>
                  <a:pt x="27" y="209"/>
                </a:cubicBezTo>
                <a:cubicBezTo>
                  <a:pt x="27" y="208"/>
                  <a:pt x="27" y="207"/>
                  <a:pt x="27" y="206"/>
                </a:cubicBezTo>
                <a:cubicBezTo>
                  <a:pt x="27" y="177"/>
                  <a:pt x="27" y="177"/>
                  <a:pt x="27" y="177"/>
                </a:cubicBezTo>
                <a:cubicBezTo>
                  <a:pt x="35" y="181"/>
                  <a:pt x="44" y="184"/>
                  <a:pt x="54" y="184"/>
                </a:cubicBezTo>
                <a:cubicBezTo>
                  <a:pt x="77" y="184"/>
                  <a:pt x="77" y="184"/>
                  <a:pt x="77" y="184"/>
                </a:cubicBezTo>
                <a:cubicBezTo>
                  <a:pt x="85" y="184"/>
                  <a:pt x="91" y="178"/>
                  <a:pt x="91" y="171"/>
                </a:cubicBezTo>
                <a:cubicBezTo>
                  <a:pt x="91" y="163"/>
                  <a:pt x="85" y="157"/>
                  <a:pt x="77" y="157"/>
                </a:cubicBezTo>
                <a:cubicBezTo>
                  <a:pt x="54" y="157"/>
                  <a:pt x="54" y="157"/>
                  <a:pt x="54" y="157"/>
                </a:cubicBezTo>
                <a:cubicBezTo>
                  <a:pt x="47" y="157"/>
                  <a:pt x="40" y="155"/>
                  <a:pt x="35" y="149"/>
                </a:cubicBezTo>
                <a:cubicBezTo>
                  <a:pt x="30" y="144"/>
                  <a:pt x="27" y="138"/>
                  <a:pt x="27" y="131"/>
                </a:cubicBezTo>
                <a:cubicBezTo>
                  <a:pt x="27" y="130"/>
                  <a:pt x="27" y="129"/>
                  <a:pt x="27" y="128"/>
                </a:cubicBezTo>
                <a:cubicBezTo>
                  <a:pt x="27" y="97"/>
                  <a:pt x="27" y="97"/>
                  <a:pt x="27" y="97"/>
                </a:cubicBezTo>
                <a:cubicBezTo>
                  <a:pt x="35" y="101"/>
                  <a:pt x="44" y="104"/>
                  <a:pt x="54" y="104"/>
                </a:cubicBezTo>
                <a:cubicBezTo>
                  <a:pt x="77" y="104"/>
                  <a:pt x="77" y="104"/>
                  <a:pt x="77" y="104"/>
                </a:cubicBezTo>
                <a:cubicBezTo>
                  <a:pt x="85" y="104"/>
                  <a:pt x="91" y="98"/>
                  <a:pt x="91" y="91"/>
                </a:cubicBezTo>
                <a:cubicBezTo>
                  <a:pt x="91" y="83"/>
                  <a:pt x="85" y="77"/>
                  <a:pt x="77" y="77"/>
                </a:cubicBezTo>
                <a:cubicBezTo>
                  <a:pt x="54" y="77"/>
                  <a:pt x="54" y="77"/>
                  <a:pt x="54" y="77"/>
                </a:cubicBezTo>
                <a:cubicBezTo>
                  <a:pt x="47" y="77"/>
                  <a:pt x="40" y="75"/>
                  <a:pt x="35" y="69"/>
                </a:cubicBezTo>
                <a:cubicBezTo>
                  <a:pt x="30" y="64"/>
                  <a:pt x="27" y="58"/>
                  <a:pt x="27" y="51"/>
                </a:cubicBezTo>
                <a:cubicBezTo>
                  <a:pt x="27" y="50"/>
                  <a:pt x="27" y="50"/>
                  <a:pt x="27" y="50"/>
                </a:cubicBezTo>
                <a:cubicBezTo>
                  <a:pt x="29" y="37"/>
                  <a:pt x="40" y="27"/>
                  <a:pt x="54" y="27"/>
                </a:cubicBezTo>
                <a:cubicBezTo>
                  <a:pt x="78" y="27"/>
                  <a:pt x="78" y="27"/>
                  <a:pt x="78" y="27"/>
                </a:cubicBezTo>
                <a:cubicBezTo>
                  <a:pt x="93" y="27"/>
                  <a:pt x="104" y="38"/>
                  <a:pt x="104" y="53"/>
                </a:cubicBezTo>
                <a:cubicBezTo>
                  <a:pt x="104" y="280"/>
                  <a:pt x="104" y="280"/>
                  <a:pt x="104" y="280"/>
                </a:cubicBezTo>
                <a:cubicBezTo>
                  <a:pt x="104" y="295"/>
                  <a:pt x="93" y="307"/>
                  <a:pt x="78" y="307"/>
                </a:cubicBezTo>
                <a:cubicBezTo>
                  <a:pt x="71" y="307"/>
                  <a:pt x="71" y="307"/>
                  <a:pt x="71" y="307"/>
                </a:cubicBezTo>
                <a:cubicBezTo>
                  <a:pt x="70" y="307"/>
                  <a:pt x="69" y="307"/>
                  <a:pt x="69" y="307"/>
                </a:cubicBezTo>
                <a:cubicBezTo>
                  <a:pt x="68" y="307"/>
                  <a:pt x="67" y="307"/>
                  <a:pt x="67" y="307"/>
                </a:cubicBezTo>
                <a:cubicBezTo>
                  <a:pt x="59" y="307"/>
                  <a:pt x="53" y="313"/>
                  <a:pt x="53" y="320"/>
                </a:cubicBezTo>
                <a:cubicBezTo>
                  <a:pt x="53" y="368"/>
                  <a:pt x="53" y="368"/>
                  <a:pt x="53" y="368"/>
                </a:cubicBezTo>
                <a:cubicBezTo>
                  <a:pt x="53" y="374"/>
                  <a:pt x="57" y="378"/>
                  <a:pt x="61" y="380"/>
                </a:cubicBezTo>
                <a:cubicBezTo>
                  <a:pt x="63" y="381"/>
                  <a:pt x="66" y="382"/>
                  <a:pt x="68" y="382"/>
                </a:cubicBezTo>
                <a:cubicBezTo>
                  <a:pt x="92" y="382"/>
                  <a:pt x="106" y="391"/>
                  <a:pt x="107" y="394"/>
                </a:cubicBezTo>
                <a:cubicBezTo>
                  <a:pt x="106" y="397"/>
                  <a:pt x="92" y="406"/>
                  <a:pt x="68" y="406"/>
                </a:cubicBezTo>
                <a:cubicBezTo>
                  <a:pt x="44" y="406"/>
                  <a:pt x="30" y="398"/>
                  <a:pt x="29" y="394"/>
                </a:cubicBezTo>
                <a:cubicBezTo>
                  <a:pt x="29" y="393"/>
                  <a:pt x="32" y="390"/>
                  <a:pt x="39" y="387"/>
                </a:cubicBezTo>
                <a:cubicBezTo>
                  <a:pt x="46" y="384"/>
                  <a:pt x="49" y="376"/>
                  <a:pt x="46" y="370"/>
                </a:cubicBezTo>
                <a:cubicBezTo>
                  <a:pt x="43" y="363"/>
                  <a:pt x="36" y="360"/>
                  <a:pt x="29" y="362"/>
                </a:cubicBezTo>
                <a:cubicBezTo>
                  <a:pt x="12" y="369"/>
                  <a:pt x="2" y="381"/>
                  <a:pt x="2" y="394"/>
                </a:cubicBezTo>
                <a:cubicBezTo>
                  <a:pt x="2" y="416"/>
                  <a:pt x="30" y="433"/>
                  <a:pt x="68" y="433"/>
                </a:cubicBezTo>
                <a:cubicBezTo>
                  <a:pt x="106" y="433"/>
                  <a:pt x="134" y="416"/>
                  <a:pt x="134" y="394"/>
                </a:cubicBezTo>
                <a:cubicBezTo>
                  <a:pt x="134" y="374"/>
                  <a:pt x="112" y="359"/>
                  <a:pt x="80" y="35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grpSp>
        <p:nvGrpSpPr>
          <p:cNvPr id="4" name="Group 54"/>
          <p:cNvGrpSpPr/>
          <p:nvPr userDrawn="1"/>
        </p:nvGrpSpPr>
        <p:grpSpPr>
          <a:xfrm>
            <a:off x="3821379" y="3817891"/>
            <a:ext cx="350135" cy="348854"/>
            <a:chOff x="5486401" y="5233988"/>
            <a:chExt cx="466725" cy="465138"/>
          </a:xfrm>
          <a:noFill/>
        </p:grpSpPr>
        <p:sp>
          <p:nvSpPr>
            <p:cNvPr id="56" name="Line 401"/>
            <p:cNvSpPr>
              <a:spLocks noChangeShapeType="1"/>
            </p:cNvSpPr>
            <p:nvPr/>
          </p:nvSpPr>
          <p:spPr bwMode="auto">
            <a:xfrm flipV="1">
              <a:off x="5943601" y="5319713"/>
              <a:ext cx="4763" cy="635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Line 402"/>
            <p:cNvSpPr>
              <a:spLocks noChangeShapeType="1"/>
            </p:cNvSpPr>
            <p:nvPr/>
          </p:nvSpPr>
          <p:spPr bwMode="auto">
            <a:xfrm flipH="1" flipV="1">
              <a:off x="5884863" y="5362576"/>
              <a:ext cx="58738" cy="20638"/>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Line 404"/>
            <p:cNvSpPr>
              <a:spLocks noChangeShapeType="1"/>
            </p:cNvSpPr>
            <p:nvPr/>
          </p:nvSpPr>
          <p:spPr bwMode="auto">
            <a:xfrm flipH="1">
              <a:off x="5492751" y="5551488"/>
              <a:ext cx="7938" cy="635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Line 405"/>
            <p:cNvSpPr>
              <a:spLocks noChangeShapeType="1"/>
            </p:cNvSpPr>
            <p:nvPr/>
          </p:nvSpPr>
          <p:spPr bwMode="auto">
            <a:xfrm>
              <a:off x="5500688" y="5551488"/>
              <a:ext cx="57150" cy="254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1" name="Freeform 441"/>
          <p:cNvSpPr>
            <a:spLocks/>
          </p:cNvSpPr>
          <p:nvPr userDrawn="1"/>
        </p:nvSpPr>
        <p:spPr bwMode="auto">
          <a:xfrm>
            <a:off x="3888072" y="1309615"/>
            <a:ext cx="216750" cy="386954"/>
          </a:xfrm>
          <a:custGeom>
            <a:avLst/>
            <a:gdLst/>
            <a:ahLst/>
            <a:cxnLst>
              <a:cxn ang="0">
                <a:pos x="109" y="15"/>
              </a:cxn>
              <a:cxn ang="0">
                <a:pos x="84" y="49"/>
              </a:cxn>
              <a:cxn ang="0">
                <a:pos x="3" y="118"/>
              </a:cxn>
              <a:cxn ang="0">
                <a:pos x="0" y="142"/>
              </a:cxn>
              <a:cxn ang="0">
                <a:pos x="13" y="189"/>
              </a:cxn>
              <a:cxn ang="0">
                <a:pos x="65" y="230"/>
              </a:cxn>
              <a:cxn ang="0">
                <a:pos x="77" y="274"/>
              </a:cxn>
              <a:cxn ang="0">
                <a:pos x="77" y="283"/>
              </a:cxn>
              <a:cxn ang="0">
                <a:pos x="31" y="439"/>
              </a:cxn>
              <a:cxn ang="0">
                <a:pos x="30" y="445"/>
              </a:cxn>
              <a:cxn ang="0">
                <a:pos x="32" y="452"/>
              </a:cxn>
              <a:cxn ang="0">
                <a:pos x="43" y="458"/>
              </a:cxn>
              <a:cxn ang="0">
                <a:pos x="241" y="458"/>
              </a:cxn>
              <a:cxn ang="0">
                <a:pos x="252" y="452"/>
              </a:cxn>
              <a:cxn ang="0">
                <a:pos x="253" y="439"/>
              </a:cxn>
              <a:cxn ang="0">
                <a:pos x="221" y="226"/>
              </a:cxn>
              <a:cxn ang="0">
                <a:pos x="223" y="216"/>
              </a:cxn>
              <a:cxn ang="0">
                <a:pos x="217" y="208"/>
              </a:cxn>
              <a:cxn ang="0">
                <a:pos x="107" y="195"/>
              </a:cxn>
              <a:cxn ang="0">
                <a:pos x="97" y="210"/>
              </a:cxn>
              <a:cxn ang="0">
                <a:pos x="112" y="221"/>
              </a:cxn>
              <a:cxn ang="0">
                <a:pos x="192" y="225"/>
              </a:cxn>
              <a:cxn ang="0">
                <a:pos x="180" y="283"/>
              </a:cxn>
              <a:cxn ang="0">
                <a:pos x="219" y="432"/>
              </a:cxn>
              <a:cxn ang="0">
                <a:pos x="64" y="432"/>
              </a:cxn>
              <a:cxn ang="0">
                <a:pos x="104" y="284"/>
              </a:cxn>
              <a:cxn ang="0">
                <a:pos x="103" y="268"/>
              </a:cxn>
              <a:cxn ang="0">
                <a:pos x="85" y="213"/>
              </a:cxn>
              <a:cxn ang="0">
                <a:pos x="77" y="206"/>
              </a:cxn>
              <a:cxn ang="0">
                <a:pos x="36" y="175"/>
              </a:cxn>
              <a:cxn ang="0">
                <a:pos x="27" y="142"/>
              </a:cxn>
              <a:cxn ang="0">
                <a:pos x="29" y="125"/>
              </a:cxn>
              <a:cxn ang="0">
                <a:pos x="94" y="75"/>
              </a:cxn>
              <a:cxn ang="0">
                <a:pos x="98" y="75"/>
              </a:cxn>
              <a:cxn ang="0">
                <a:pos x="98" y="75"/>
              </a:cxn>
              <a:cxn ang="0">
                <a:pos x="108" y="64"/>
              </a:cxn>
              <a:cxn ang="0">
                <a:pos x="125" y="37"/>
              </a:cxn>
              <a:cxn ang="0">
                <a:pos x="156" y="30"/>
              </a:cxn>
              <a:cxn ang="0">
                <a:pos x="184" y="47"/>
              </a:cxn>
              <a:cxn ang="0">
                <a:pos x="191" y="78"/>
              </a:cxn>
              <a:cxn ang="0">
                <a:pos x="202" y="93"/>
              </a:cxn>
              <a:cxn ang="0">
                <a:pos x="217" y="83"/>
              </a:cxn>
              <a:cxn ang="0">
                <a:pos x="205" y="31"/>
              </a:cxn>
              <a:cxn ang="0">
                <a:pos x="161" y="3"/>
              </a:cxn>
              <a:cxn ang="0">
                <a:pos x="109" y="15"/>
              </a:cxn>
            </a:cxnLst>
            <a:rect l="0" t="0" r="r" b="b"/>
            <a:pathLst>
              <a:path w="255" h="458">
                <a:moveTo>
                  <a:pt x="109" y="15"/>
                </a:moveTo>
                <a:cubicBezTo>
                  <a:pt x="97" y="23"/>
                  <a:pt x="89" y="35"/>
                  <a:pt x="84" y="49"/>
                </a:cubicBezTo>
                <a:cubicBezTo>
                  <a:pt x="46" y="53"/>
                  <a:pt x="13" y="80"/>
                  <a:pt x="3" y="118"/>
                </a:cubicBezTo>
                <a:cubicBezTo>
                  <a:pt x="1" y="126"/>
                  <a:pt x="0" y="134"/>
                  <a:pt x="0" y="142"/>
                </a:cubicBezTo>
                <a:cubicBezTo>
                  <a:pt x="0" y="158"/>
                  <a:pt x="5" y="174"/>
                  <a:pt x="13" y="189"/>
                </a:cubicBezTo>
                <a:cubicBezTo>
                  <a:pt x="25" y="209"/>
                  <a:pt x="43" y="223"/>
                  <a:pt x="65" y="230"/>
                </a:cubicBezTo>
                <a:cubicBezTo>
                  <a:pt x="68" y="235"/>
                  <a:pt x="75" y="249"/>
                  <a:pt x="77" y="274"/>
                </a:cubicBezTo>
                <a:cubicBezTo>
                  <a:pt x="77" y="277"/>
                  <a:pt x="77" y="280"/>
                  <a:pt x="77" y="283"/>
                </a:cubicBezTo>
                <a:cubicBezTo>
                  <a:pt x="77" y="315"/>
                  <a:pt x="68" y="366"/>
                  <a:pt x="31" y="439"/>
                </a:cubicBezTo>
                <a:cubicBezTo>
                  <a:pt x="30" y="441"/>
                  <a:pt x="30" y="443"/>
                  <a:pt x="30" y="445"/>
                </a:cubicBezTo>
                <a:cubicBezTo>
                  <a:pt x="30" y="448"/>
                  <a:pt x="30" y="450"/>
                  <a:pt x="32" y="452"/>
                </a:cubicBezTo>
                <a:cubicBezTo>
                  <a:pt x="34" y="456"/>
                  <a:pt x="38" y="458"/>
                  <a:pt x="43" y="458"/>
                </a:cubicBezTo>
                <a:cubicBezTo>
                  <a:pt x="241" y="458"/>
                  <a:pt x="241" y="458"/>
                  <a:pt x="241" y="458"/>
                </a:cubicBezTo>
                <a:cubicBezTo>
                  <a:pt x="246" y="458"/>
                  <a:pt x="250" y="456"/>
                  <a:pt x="252" y="452"/>
                </a:cubicBezTo>
                <a:cubicBezTo>
                  <a:pt x="255" y="448"/>
                  <a:pt x="255" y="443"/>
                  <a:pt x="253" y="439"/>
                </a:cubicBezTo>
                <a:cubicBezTo>
                  <a:pt x="252" y="437"/>
                  <a:pt x="176" y="295"/>
                  <a:pt x="221" y="226"/>
                </a:cubicBezTo>
                <a:cubicBezTo>
                  <a:pt x="223" y="223"/>
                  <a:pt x="224" y="220"/>
                  <a:pt x="223" y="216"/>
                </a:cubicBezTo>
                <a:cubicBezTo>
                  <a:pt x="222" y="213"/>
                  <a:pt x="220" y="210"/>
                  <a:pt x="217" y="208"/>
                </a:cubicBezTo>
                <a:cubicBezTo>
                  <a:pt x="215" y="207"/>
                  <a:pt x="175" y="181"/>
                  <a:pt x="107" y="195"/>
                </a:cubicBezTo>
                <a:cubicBezTo>
                  <a:pt x="100" y="196"/>
                  <a:pt x="95" y="203"/>
                  <a:pt x="97" y="210"/>
                </a:cubicBezTo>
                <a:cubicBezTo>
                  <a:pt x="98" y="217"/>
                  <a:pt x="105" y="222"/>
                  <a:pt x="112" y="221"/>
                </a:cubicBezTo>
                <a:cubicBezTo>
                  <a:pt x="150" y="213"/>
                  <a:pt x="177" y="220"/>
                  <a:pt x="192" y="225"/>
                </a:cubicBezTo>
                <a:cubicBezTo>
                  <a:pt x="184" y="243"/>
                  <a:pt x="180" y="262"/>
                  <a:pt x="180" y="283"/>
                </a:cubicBezTo>
                <a:cubicBezTo>
                  <a:pt x="180" y="339"/>
                  <a:pt x="205" y="401"/>
                  <a:pt x="219" y="432"/>
                </a:cubicBezTo>
                <a:cubicBezTo>
                  <a:pt x="189" y="432"/>
                  <a:pt x="94" y="432"/>
                  <a:pt x="64" y="432"/>
                </a:cubicBezTo>
                <a:cubicBezTo>
                  <a:pt x="91" y="376"/>
                  <a:pt x="104" y="326"/>
                  <a:pt x="104" y="284"/>
                </a:cubicBezTo>
                <a:cubicBezTo>
                  <a:pt x="104" y="279"/>
                  <a:pt x="104" y="273"/>
                  <a:pt x="103" y="268"/>
                </a:cubicBezTo>
                <a:cubicBezTo>
                  <a:pt x="100" y="237"/>
                  <a:pt x="90" y="219"/>
                  <a:pt x="85" y="213"/>
                </a:cubicBezTo>
                <a:cubicBezTo>
                  <a:pt x="84" y="210"/>
                  <a:pt x="81" y="207"/>
                  <a:pt x="77" y="206"/>
                </a:cubicBezTo>
                <a:cubicBezTo>
                  <a:pt x="60" y="202"/>
                  <a:pt x="45" y="191"/>
                  <a:pt x="36" y="175"/>
                </a:cubicBezTo>
                <a:cubicBezTo>
                  <a:pt x="30" y="165"/>
                  <a:pt x="27" y="154"/>
                  <a:pt x="27" y="142"/>
                </a:cubicBezTo>
                <a:cubicBezTo>
                  <a:pt x="27" y="136"/>
                  <a:pt x="28" y="131"/>
                  <a:pt x="29" y="125"/>
                </a:cubicBezTo>
                <a:cubicBezTo>
                  <a:pt x="37" y="95"/>
                  <a:pt x="64" y="75"/>
                  <a:pt x="94" y="75"/>
                </a:cubicBezTo>
                <a:cubicBezTo>
                  <a:pt x="95" y="75"/>
                  <a:pt x="97" y="75"/>
                  <a:pt x="98" y="75"/>
                </a:cubicBezTo>
                <a:cubicBezTo>
                  <a:pt x="98" y="75"/>
                  <a:pt x="98" y="75"/>
                  <a:pt x="98" y="75"/>
                </a:cubicBezTo>
                <a:cubicBezTo>
                  <a:pt x="103" y="73"/>
                  <a:pt x="107" y="69"/>
                  <a:pt x="108" y="64"/>
                </a:cubicBezTo>
                <a:cubicBezTo>
                  <a:pt x="110" y="53"/>
                  <a:pt x="116" y="43"/>
                  <a:pt x="125" y="37"/>
                </a:cubicBezTo>
                <a:cubicBezTo>
                  <a:pt x="134" y="30"/>
                  <a:pt x="145" y="28"/>
                  <a:pt x="156" y="30"/>
                </a:cubicBezTo>
                <a:cubicBezTo>
                  <a:pt x="167" y="31"/>
                  <a:pt x="177" y="37"/>
                  <a:pt x="184" y="47"/>
                </a:cubicBezTo>
                <a:cubicBezTo>
                  <a:pt x="190" y="56"/>
                  <a:pt x="193" y="67"/>
                  <a:pt x="191" y="78"/>
                </a:cubicBezTo>
                <a:cubicBezTo>
                  <a:pt x="189" y="85"/>
                  <a:pt x="194" y="92"/>
                  <a:pt x="202" y="93"/>
                </a:cubicBezTo>
                <a:cubicBezTo>
                  <a:pt x="209" y="95"/>
                  <a:pt x="216" y="90"/>
                  <a:pt x="217" y="83"/>
                </a:cubicBezTo>
                <a:cubicBezTo>
                  <a:pt x="220" y="64"/>
                  <a:pt x="216" y="46"/>
                  <a:pt x="205" y="31"/>
                </a:cubicBezTo>
                <a:cubicBezTo>
                  <a:pt x="195" y="16"/>
                  <a:pt x="179" y="6"/>
                  <a:pt x="161" y="3"/>
                </a:cubicBezTo>
                <a:cubicBezTo>
                  <a:pt x="143" y="0"/>
                  <a:pt x="124" y="4"/>
                  <a:pt x="109" y="1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2" name="Freeform 497"/>
          <p:cNvSpPr>
            <a:spLocks noEditPoints="1"/>
          </p:cNvSpPr>
          <p:nvPr userDrawn="1"/>
        </p:nvSpPr>
        <p:spPr bwMode="auto">
          <a:xfrm>
            <a:off x="3805896" y="2829266"/>
            <a:ext cx="381099" cy="246460"/>
          </a:xfrm>
          <a:custGeom>
            <a:avLst/>
            <a:gdLst/>
            <a:ahLst/>
            <a:cxnLst>
              <a:cxn ang="0">
                <a:pos x="25" y="33"/>
              </a:cxn>
              <a:cxn ang="0">
                <a:pos x="0" y="87"/>
              </a:cxn>
              <a:cxn ang="0">
                <a:pos x="51" y="166"/>
              </a:cxn>
              <a:cxn ang="0">
                <a:pos x="12" y="178"/>
              </a:cxn>
              <a:cxn ang="0">
                <a:pos x="24" y="231"/>
              </a:cxn>
              <a:cxn ang="0">
                <a:pos x="32" y="241"/>
              </a:cxn>
              <a:cxn ang="0">
                <a:pos x="131" y="241"/>
              </a:cxn>
              <a:cxn ang="0">
                <a:pos x="140" y="231"/>
              </a:cxn>
              <a:cxn ang="0">
                <a:pos x="188" y="290"/>
              </a:cxn>
              <a:cxn ang="0">
                <a:pos x="205" y="194"/>
              </a:cxn>
              <a:cxn ang="0">
                <a:pos x="189" y="202"/>
              </a:cxn>
              <a:cxn ang="0">
                <a:pos x="213" y="241"/>
              </a:cxn>
              <a:cxn ang="0">
                <a:pos x="163" y="241"/>
              </a:cxn>
              <a:cxn ang="0">
                <a:pos x="169" y="213"/>
              </a:cxn>
              <a:cxn ang="0">
                <a:pos x="111" y="207"/>
              </a:cxn>
              <a:cxn ang="0">
                <a:pos x="101" y="226"/>
              </a:cxn>
              <a:cxn ang="0">
                <a:pos x="81" y="266"/>
              </a:cxn>
              <a:cxn ang="0">
                <a:pos x="61" y="226"/>
              </a:cxn>
              <a:cxn ang="0">
                <a:pos x="51" y="206"/>
              </a:cxn>
              <a:cxn ang="0">
                <a:pos x="36" y="207"/>
              </a:cxn>
              <a:cxn ang="0">
                <a:pos x="78" y="190"/>
              </a:cxn>
              <a:cxn ang="0">
                <a:pos x="89" y="183"/>
              </a:cxn>
              <a:cxn ang="0">
                <a:pos x="87" y="168"/>
              </a:cxn>
              <a:cxn ang="0">
                <a:pos x="44" y="49"/>
              </a:cxn>
              <a:cxn ang="0">
                <a:pos x="230" y="88"/>
              </a:cxn>
              <a:cxn ang="0">
                <a:pos x="229" y="138"/>
              </a:cxn>
              <a:cxn ang="0">
                <a:pos x="211" y="170"/>
              </a:cxn>
              <a:cxn ang="0">
                <a:pos x="220" y="190"/>
              </a:cxn>
              <a:cxn ang="0">
                <a:pos x="302" y="178"/>
              </a:cxn>
              <a:cxn ang="0">
                <a:pos x="339" y="105"/>
              </a:cxn>
              <a:cxn ang="0">
                <a:pos x="364" y="153"/>
              </a:cxn>
              <a:cxn ang="0">
                <a:pos x="425" y="207"/>
              </a:cxn>
              <a:cxn ang="0">
                <a:pos x="391" y="207"/>
              </a:cxn>
              <a:cxn ang="0">
                <a:pos x="378" y="213"/>
              </a:cxn>
              <a:cxn ang="0">
                <a:pos x="384" y="241"/>
              </a:cxn>
              <a:cxn ang="0">
                <a:pos x="334" y="241"/>
              </a:cxn>
              <a:cxn ang="0">
                <a:pos x="357" y="211"/>
              </a:cxn>
              <a:cxn ang="0">
                <a:pos x="351" y="195"/>
              </a:cxn>
              <a:cxn ang="0">
                <a:pos x="309" y="241"/>
              </a:cxn>
              <a:cxn ang="0">
                <a:pos x="408" y="241"/>
              </a:cxn>
              <a:cxn ang="0">
                <a:pos x="437" y="231"/>
              </a:cxn>
              <a:cxn ang="0">
                <a:pos x="449" y="157"/>
              </a:cxn>
              <a:cxn ang="0">
                <a:pos x="376" y="131"/>
              </a:cxn>
              <a:cxn ang="0">
                <a:pos x="348" y="81"/>
              </a:cxn>
              <a:cxn ang="0">
                <a:pos x="278" y="93"/>
              </a:cxn>
              <a:cxn ang="0">
                <a:pos x="243" y="166"/>
              </a:cxn>
              <a:cxn ang="0">
                <a:pos x="252" y="147"/>
              </a:cxn>
              <a:cxn ang="0">
                <a:pos x="260" y="105"/>
              </a:cxn>
              <a:cxn ang="0">
                <a:pos x="247" y="71"/>
              </a:cxn>
              <a:cxn ang="0">
                <a:pos x="33" y="26"/>
              </a:cxn>
              <a:cxn ang="0">
                <a:pos x="33" y="26"/>
              </a:cxn>
            </a:cxnLst>
            <a:rect l="0" t="0" r="r" b="b"/>
            <a:pathLst>
              <a:path w="449" h="290">
                <a:moveTo>
                  <a:pt x="33" y="26"/>
                </a:moveTo>
                <a:cubicBezTo>
                  <a:pt x="30" y="27"/>
                  <a:pt x="26" y="30"/>
                  <a:pt x="25" y="33"/>
                </a:cubicBezTo>
                <a:cubicBezTo>
                  <a:pt x="1" y="82"/>
                  <a:pt x="1" y="82"/>
                  <a:pt x="1" y="82"/>
                </a:cubicBezTo>
                <a:cubicBezTo>
                  <a:pt x="0" y="84"/>
                  <a:pt x="0" y="85"/>
                  <a:pt x="0" y="87"/>
                </a:cubicBezTo>
                <a:cubicBezTo>
                  <a:pt x="0" y="89"/>
                  <a:pt x="0" y="91"/>
                  <a:pt x="1" y="93"/>
                </a:cubicBezTo>
                <a:cubicBezTo>
                  <a:pt x="2" y="95"/>
                  <a:pt x="23" y="133"/>
                  <a:pt x="51" y="166"/>
                </a:cubicBezTo>
                <a:cubicBezTo>
                  <a:pt x="45" y="166"/>
                  <a:pt x="24" y="166"/>
                  <a:pt x="24" y="166"/>
                </a:cubicBezTo>
                <a:cubicBezTo>
                  <a:pt x="17" y="166"/>
                  <a:pt x="12" y="171"/>
                  <a:pt x="12" y="178"/>
                </a:cubicBezTo>
                <a:cubicBezTo>
                  <a:pt x="12" y="219"/>
                  <a:pt x="12" y="219"/>
                  <a:pt x="12" y="219"/>
                </a:cubicBezTo>
                <a:cubicBezTo>
                  <a:pt x="12" y="226"/>
                  <a:pt x="17" y="231"/>
                  <a:pt x="24" y="231"/>
                </a:cubicBezTo>
                <a:cubicBezTo>
                  <a:pt x="24" y="231"/>
                  <a:pt x="30" y="231"/>
                  <a:pt x="33" y="231"/>
                </a:cubicBezTo>
                <a:cubicBezTo>
                  <a:pt x="32" y="234"/>
                  <a:pt x="32" y="238"/>
                  <a:pt x="32" y="241"/>
                </a:cubicBezTo>
                <a:cubicBezTo>
                  <a:pt x="32" y="268"/>
                  <a:pt x="54" y="290"/>
                  <a:pt x="81" y="290"/>
                </a:cubicBezTo>
                <a:cubicBezTo>
                  <a:pt x="108" y="290"/>
                  <a:pt x="131" y="268"/>
                  <a:pt x="131" y="241"/>
                </a:cubicBezTo>
                <a:cubicBezTo>
                  <a:pt x="131" y="238"/>
                  <a:pt x="130" y="234"/>
                  <a:pt x="129" y="231"/>
                </a:cubicBezTo>
                <a:cubicBezTo>
                  <a:pt x="131" y="231"/>
                  <a:pt x="137" y="231"/>
                  <a:pt x="140" y="231"/>
                </a:cubicBezTo>
                <a:cubicBezTo>
                  <a:pt x="139" y="234"/>
                  <a:pt x="139" y="238"/>
                  <a:pt x="139" y="241"/>
                </a:cubicBezTo>
                <a:cubicBezTo>
                  <a:pt x="139" y="268"/>
                  <a:pt x="161" y="290"/>
                  <a:pt x="188" y="290"/>
                </a:cubicBezTo>
                <a:cubicBezTo>
                  <a:pt x="215" y="290"/>
                  <a:pt x="237" y="268"/>
                  <a:pt x="237" y="241"/>
                </a:cubicBezTo>
                <a:cubicBezTo>
                  <a:pt x="237" y="220"/>
                  <a:pt x="224" y="201"/>
                  <a:pt x="205" y="194"/>
                </a:cubicBezTo>
                <a:cubicBezTo>
                  <a:pt x="201" y="193"/>
                  <a:pt x="198" y="194"/>
                  <a:pt x="195" y="195"/>
                </a:cubicBezTo>
                <a:cubicBezTo>
                  <a:pt x="192" y="196"/>
                  <a:pt x="190" y="199"/>
                  <a:pt x="189" y="202"/>
                </a:cubicBezTo>
                <a:cubicBezTo>
                  <a:pt x="187" y="208"/>
                  <a:pt x="190" y="215"/>
                  <a:pt x="196" y="217"/>
                </a:cubicBezTo>
                <a:cubicBezTo>
                  <a:pt x="206" y="221"/>
                  <a:pt x="213" y="230"/>
                  <a:pt x="213" y="241"/>
                </a:cubicBezTo>
                <a:cubicBezTo>
                  <a:pt x="213" y="255"/>
                  <a:pt x="202" y="266"/>
                  <a:pt x="188" y="266"/>
                </a:cubicBezTo>
                <a:cubicBezTo>
                  <a:pt x="174" y="266"/>
                  <a:pt x="163" y="255"/>
                  <a:pt x="163" y="241"/>
                </a:cubicBezTo>
                <a:cubicBezTo>
                  <a:pt x="163" y="235"/>
                  <a:pt x="165" y="230"/>
                  <a:pt x="168" y="226"/>
                </a:cubicBezTo>
                <a:cubicBezTo>
                  <a:pt x="170" y="222"/>
                  <a:pt x="171" y="217"/>
                  <a:pt x="169" y="213"/>
                </a:cubicBezTo>
                <a:cubicBezTo>
                  <a:pt x="167" y="209"/>
                  <a:pt x="163" y="207"/>
                  <a:pt x="158" y="207"/>
                </a:cubicBezTo>
                <a:cubicBezTo>
                  <a:pt x="111" y="207"/>
                  <a:pt x="111" y="207"/>
                  <a:pt x="111" y="207"/>
                </a:cubicBezTo>
                <a:cubicBezTo>
                  <a:pt x="107" y="207"/>
                  <a:pt x="102" y="209"/>
                  <a:pt x="100" y="213"/>
                </a:cubicBezTo>
                <a:cubicBezTo>
                  <a:pt x="98" y="217"/>
                  <a:pt x="99" y="222"/>
                  <a:pt x="101" y="226"/>
                </a:cubicBezTo>
                <a:cubicBezTo>
                  <a:pt x="105" y="230"/>
                  <a:pt x="106" y="235"/>
                  <a:pt x="106" y="241"/>
                </a:cubicBezTo>
                <a:cubicBezTo>
                  <a:pt x="106" y="255"/>
                  <a:pt x="95" y="266"/>
                  <a:pt x="81" y="266"/>
                </a:cubicBezTo>
                <a:cubicBezTo>
                  <a:pt x="67" y="266"/>
                  <a:pt x="56" y="255"/>
                  <a:pt x="56" y="241"/>
                </a:cubicBezTo>
                <a:cubicBezTo>
                  <a:pt x="56" y="235"/>
                  <a:pt x="58" y="230"/>
                  <a:pt x="61" y="226"/>
                </a:cubicBezTo>
                <a:cubicBezTo>
                  <a:pt x="64" y="222"/>
                  <a:pt x="64" y="217"/>
                  <a:pt x="62" y="213"/>
                </a:cubicBezTo>
                <a:cubicBezTo>
                  <a:pt x="60" y="209"/>
                  <a:pt x="56" y="206"/>
                  <a:pt x="51" y="206"/>
                </a:cubicBezTo>
                <a:cubicBezTo>
                  <a:pt x="43" y="207"/>
                  <a:pt x="43" y="207"/>
                  <a:pt x="43" y="207"/>
                </a:cubicBezTo>
                <a:cubicBezTo>
                  <a:pt x="43" y="207"/>
                  <a:pt x="38" y="207"/>
                  <a:pt x="36" y="207"/>
                </a:cubicBezTo>
                <a:cubicBezTo>
                  <a:pt x="36" y="204"/>
                  <a:pt x="36" y="193"/>
                  <a:pt x="36" y="190"/>
                </a:cubicBezTo>
                <a:cubicBezTo>
                  <a:pt x="40" y="190"/>
                  <a:pt x="78" y="190"/>
                  <a:pt x="78" y="190"/>
                </a:cubicBezTo>
                <a:cubicBezTo>
                  <a:pt x="83" y="190"/>
                  <a:pt x="86" y="188"/>
                  <a:pt x="89" y="184"/>
                </a:cubicBezTo>
                <a:cubicBezTo>
                  <a:pt x="89" y="184"/>
                  <a:pt x="89" y="183"/>
                  <a:pt x="89" y="183"/>
                </a:cubicBezTo>
                <a:cubicBezTo>
                  <a:pt x="90" y="181"/>
                  <a:pt x="91" y="179"/>
                  <a:pt x="91" y="177"/>
                </a:cubicBezTo>
                <a:cubicBezTo>
                  <a:pt x="91" y="174"/>
                  <a:pt x="90" y="170"/>
                  <a:pt x="87" y="168"/>
                </a:cubicBezTo>
                <a:cubicBezTo>
                  <a:pt x="59" y="143"/>
                  <a:pt x="33" y="101"/>
                  <a:pt x="25" y="87"/>
                </a:cubicBezTo>
                <a:cubicBezTo>
                  <a:pt x="26" y="85"/>
                  <a:pt x="43" y="51"/>
                  <a:pt x="44" y="49"/>
                </a:cubicBezTo>
                <a:cubicBezTo>
                  <a:pt x="109" y="39"/>
                  <a:pt x="156" y="49"/>
                  <a:pt x="183" y="60"/>
                </a:cubicBezTo>
                <a:cubicBezTo>
                  <a:pt x="214" y="72"/>
                  <a:pt x="230" y="88"/>
                  <a:pt x="230" y="88"/>
                </a:cubicBezTo>
                <a:cubicBezTo>
                  <a:pt x="230" y="88"/>
                  <a:pt x="231" y="89"/>
                  <a:pt x="231" y="89"/>
                </a:cubicBezTo>
                <a:cubicBezTo>
                  <a:pt x="239" y="96"/>
                  <a:pt x="235" y="122"/>
                  <a:pt x="229" y="138"/>
                </a:cubicBezTo>
                <a:cubicBezTo>
                  <a:pt x="229" y="137"/>
                  <a:pt x="229" y="139"/>
                  <a:pt x="229" y="139"/>
                </a:cubicBezTo>
                <a:cubicBezTo>
                  <a:pt x="229" y="140"/>
                  <a:pt x="222" y="158"/>
                  <a:pt x="211" y="170"/>
                </a:cubicBezTo>
                <a:cubicBezTo>
                  <a:pt x="208" y="174"/>
                  <a:pt x="207" y="179"/>
                  <a:pt x="209" y="183"/>
                </a:cubicBezTo>
                <a:cubicBezTo>
                  <a:pt x="211" y="187"/>
                  <a:pt x="216" y="190"/>
                  <a:pt x="220" y="190"/>
                </a:cubicBezTo>
                <a:cubicBezTo>
                  <a:pt x="290" y="190"/>
                  <a:pt x="290" y="190"/>
                  <a:pt x="290" y="190"/>
                </a:cubicBezTo>
                <a:cubicBezTo>
                  <a:pt x="297" y="190"/>
                  <a:pt x="302" y="185"/>
                  <a:pt x="302" y="178"/>
                </a:cubicBezTo>
                <a:cubicBezTo>
                  <a:pt x="302" y="178"/>
                  <a:pt x="302" y="109"/>
                  <a:pt x="302" y="105"/>
                </a:cubicBezTo>
                <a:cubicBezTo>
                  <a:pt x="306" y="105"/>
                  <a:pt x="337" y="105"/>
                  <a:pt x="339" y="105"/>
                </a:cubicBezTo>
                <a:cubicBezTo>
                  <a:pt x="340" y="108"/>
                  <a:pt x="356" y="146"/>
                  <a:pt x="356" y="146"/>
                </a:cubicBezTo>
                <a:cubicBezTo>
                  <a:pt x="357" y="150"/>
                  <a:pt x="360" y="152"/>
                  <a:pt x="364" y="153"/>
                </a:cubicBezTo>
                <a:cubicBezTo>
                  <a:pt x="364" y="153"/>
                  <a:pt x="415" y="165"/>
                  <a:pt x="425" y="167"/>
                </a:cubicBezTo>
                <a:cubicBezTo>
                  <a:pt x="425" y="170"/>
                  <a:pt x="425" y="203"/>
                  <a:pt x="425" y="207"/>
                </a:cubicBezTo>
                <a:cubicBezTo>
                  <a:pt x="421" y="207"/>
                  <a:pt x="391" y="207"/>
                  <a:pt x="391" y="207"/>
                </a:cubicBezTo>
                <a:cubicBezTo>
                  <a:pt x="391" y="207"/>
                  <a:pt x="391" y="207"/>
                  <a:pt x="391" y="207"/>
                </a:cubicBezTo>
                <a:cubicBezTo>
                  <a:pt x="391" y="207"/>
                  <a:pt x="390" y="207"/>
                  <a:pt x="389" y="207"/>
                </a:cubicBezTo>
                <a:cubicBezTo>
                  <a:pt x="384" y="207"/>
                  <a:pt x="380" y="209"/>
                  <a:pt x="378" y="213"/>
                </a:cubicBezTo>
                <a:cubicBezTo>
                  <a:pt x="376" y="217"/>
                  <a:pt x="376" y="222"/>
                  <a:pt x="379" y="226"/>
                </a:cubicBezTo>
                <a:cubicBezTo>
                  <a:pt x="382" y="230"/>
                  <a:pt x="384" y="236"/>
                  <a:pt x="384" y="241"/>
                </a:cubicBezTo>
                <a:cubicBezTo>
                  <a:pt x="384" y="255"/>
                  <a:pt x="373" y="266"/>
                  <a:pt x="359" y="266"/>
                </a:cubicBezTo>
                <a:cubicBezTo>
                  <a:pt x="345" y="266"/>
                  <a:pt x="334" y="255"/>
                  <a:pt x="334" y="241"/>
                </a:cubicBezTo>
                <a:cubicBezTo>
                  <a:pt x="334" y="230"/>
                  <a:pt x="340" y="221"/>
                  <a:pt x="350" y="217"/>
                </a:cubicBezTo>
                <a:cubicBezTo>
                  <a:pt x="353" y="216"/>
                  <a:pt x="355" y="214"/>
                  <a:pt x="357" y="211"/>
                </a:cubicBezTo>
                <a:cubicBezTo>
                  <a:pt x="358" y="208"/>
                  <a:pt x="358" y="205"/>
                  <a:pt x="357" y="202"/>
                </a:cubicBezTo>
                <a:cubicBezTo>
                  <a:pt x="356" y="199"/>
                  <a:pt x="354" y="196"/>
                  <a:pt x="351" y="195"/>
                </a:cubicBezTo>
                <a:cubicBezTo>
                  <a:pt x="348" y="194"/>
                  <a:pt x="345" y="194"/>
                  <a:pt x="342" y="195"/>
                </a:cubicBezTo>
                <a:cubicBezTo>
                  <a:pt x="322" y="202"/>
                  <a:pt x="309" y="220"/>
                  <a:pt x="309" y="241"/>
                </a:cubicBezTo>
                <a:cubicBezTo>
                  <a:pt x="309" y="268"/>
                  <a:pt x="332" y="290"/>
                  <a:pt x="359" y="290"/>
                </a:cubicBezTo>
                <a:cubicBezTo>
                  <a:pt x="386" y="290"/>
                  <a:pt x="408" y="268"/>
                  <a:pt x="408" y="241"/>
                </a:cubicBezTo>
                <a:cubicBezTo>
                  <a:pt x="408" y="238"/>
                  <a:pt x="408" y="234"/>
                  <a:pt x="407" y="231"/>
                </a:cubicBezTo>
                <a:cubicBezTo>
                  <a:pt x="411" y="231"/>
                  <a:pt x="437" y="231"/>
                  <a:pt x="437" y="231"/>
                </a:cubicBezTo>
                <a:cubicBezTo>
                  <a:pt x="444" y="231"/>
                  <a:pt x="449" y="226"/>
                  <a:pt x="449" y="219"/>
                </a:cubicBezTo>
                <a:cubicBezTo>
                  <a:pt x="449" y="157"/>
                  <a:pt x="449" y="157"/>
                  <a:pt x="449" y="157"/>
                </a:cubicBezTo>
                <a:cubicBezTo>
                  <a:pt x="449" y="152"/>
                  <a:pt x="445" y="147"/>
                  <a:pt x="440" y="146"/>
                </a:cubicBezTo>
                <a:cubicBezTo>
                  <a:pt x="440" y="146"/>
                  <a:pt x="378" y="132"/>
                  <a:pt x="376" y="131"/>
                </a:cubicBezTo>
                <a:cubicBezTo>
                  <a:pt x="375" y="129"/>
                  <a:pt x="359" y="89"/>
                  <a:pt x="359" y="89"/>
                </a:cubicBezTo>
                <a:cubicBezTo>
                  <a:pt x="357" y="84"/>
                  <a:pt x="353" y="81"/>
                  <a:pt x="348" y="81"/>
                </a:cubicBezTo>
                <a:cubicBezTo>
                  <a:pt x="290" y="81"/>
                  <a:pt x="290" y="81"/>
                  <a:pt x="290" y="81"/>
                </a:cubicBezTo>
                <a:cubicBezTo>
                  <a:pt x="283" y="81"/>
                  <a:pt x="278" y="87"/>
                  <a:pt x="278" y="93"/>
                </a:cubicBezTo>
                <a:cubicBezTo>
                  <a:pt x="278" y="93"/>
                  <a:pt x="278" y="162"/>
                  <a:pt x="278" y="166"/>
                </a:cubicBezTo>
                <a:cubicBezTo>
                  <a:pt x="275" y="166"/>
                  <a:pt x="248" y="166"/>
                  <a:pt x="243" y="166"/>
                </a:cubicBezTo>
                <a:cubicBezTo>
                  <a:pt x="249" y="156"/>
                  <a:pt x="252" y="147"/>
                  <a:pt x="252" y="147"/>
                </a:cubicBezTo>
                <a:cubicBezTo>
                  <a:pt x="252" y="147"/>
                  <a:pt x="252" y="147"/>
                  <a:pt x="252" y="147"/>
                </a:cubicBezTo>
                <a:cubicBezTo>
                  <a:pt x="252" y="147"/>
                  <a:pt x="252" y="146"/>
                  <a:pt x="252" y="146"/>
                </a:cubicBezTo>
                <a:cubicBezTo>
                  <a:pt x="253" y="142"/>
                  <a:pt x="260" y="124"/>
                  <a:pt x="260" y="105"/>
                </a:cubicBezTo>
                <a:cubicBezTo>
                  <a:pt x="260" y="93"/>
                  <a:pt x="257" y="80"/>
                  <a:pt x="247" y="71"/>
                </a:cubicBezTo>
                <a:cubicBezTo>
                  <a:pt x="247" y="71"/>
                  <a:pt x="247" y="71"/>
                  <a:pt x="247" y="71"/>
                </a:cubicBezTo>
                <a:cubicBezTo>
                  <a:pt x="247" y="71"/>
                  <a:pt x="247" y="71"/>
                  <a:pt x="247" y="71"/>
                </a:cubicBezTo>
                <a:cubicBezTo>
                  <a:pt x="244" y="68"/>
                  <a:pt x="176" y="0"/>
                  <a:pt x="33" y="26"/>
                </a:cubicBezTo>
                <a:moveTo>
                  <a:pt x="33" y="26"/>
                </a:moveTo>
                <a:cubicBezTo>
                  <a:pt x="33" y="26"/>
                  <a:pt x="33" y="26"/>
                  <a:pt x="33" y="2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3" name="Freeform 263"/>
          <p:cNvSpPr>
            <a:spLocks/>
          </p:cNvSpPr>
          <p:nvPr userDrawn="1"/>
        </p:nvSpPr>
        <p:spPr bwMode="auto">
          <a:xfrm>
            <a:off x="4300698" y="870647"/>
            <a:ext cx="307261" cy="391716"/>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4" name="Freeform 357"/>
          <p:cNvSpPr>
            <a:spLocks/>
          </p:cNvSpPr>
          <p:nvPr userDrawn="1"/>
        </p:nvSpPr>
        <p:spPr bwMode="auto">
          <a:xfrm>
            <a:off x="4254251" y="3292293"/>
            <a:ext cx="400154" cy="407194"/>
          </a:xfrm>
          <a:custGeom>
            <a:avLst/>
            <a:gdLst/>
            <a:ahLst/>
            <a:cxnLst>
              <a:cxn ang="0">
                <a:pos x="470" y="225"/>
              </a:cxn>
              <a:cxn ang="0">
                <a:pos x="376" y="221"/>
              </a:cxn>
              <a:cxn ang="0">
                <a:pos x="392" y="271"/>
              </a:cxn>
              <a:cxn ang="0">
                <a:pos x="404" y="280"/>
              </a:cxn>
              <a:cxn ang="0">
                <a:pos x="362" y="365"/>
              </a:cxn>
              <a:cxn ang="0">
                <a:pos x="349" y="345"/>
              </a:cxn>
              <a:cxn ang="0">
                <a:pos x="302" y="280"/>
              </a:cxn>
              <a:cxn ang="0">
                <a:pos x="320" y="245"/>
              </a:cxn>
              <a:cxn ang="0">
                <a:pos x="361" y="188"/>
              </a:cxn>
              <a:cxn ang="0">
                <a:pos x="293" y="188"/>
              </a:cxn>
              <a:cxn ang="0">
                <a:pos x="320" y="146"/>
              </a:cxn>
              <a:cxn ang="0">
                <a:pos x="362" y="161"/>
              </a:cxn>
              <a:cxn ang="0">
                <a:pos x="404" y="143"/>
              </a:cxn>
              <a:cxn ang="0">
                <a:pos x="377" y="138"/>
              </a:cxn>
              <a:cxn ang="0">
                <a:pos x="354" y="129"/>
              </a:cxn>
              <a:cxn ang="0">
                <a:pos x="266" y="187"/>
              </a:cxn>
              <a:cxn ang="0">
                <a:pos x="340" y="205"/>
              </a:cxn>
              <a:cxn ang="0">
                <a:pos x="336" y="218"/>
              </a:cxn>
              <a:cxn ang="0">
                <a:pos x="261" y="260"/>
              </a:cxn>
              <a:cxn ang="0">
                <a:pos x="321" y="338"/>
              </a:cxn>
              <a:cxn ang="0">
                <a:pos x="353" y="394"/>
              </a:cxn>
              <a:cxn ang="0">
                <a:pos x="427" y="295"/>
              </a:cxn>
              <a:cxn ang="0">
                <a:pos x="409" y="251"/>
              </a:cxn>
              <a:cxn ang="0">
                <a:pos x="440" y="221"/>
              </a:cxn>
              <a:cxn ang="0">
                <a:pos x="445" y="245"/>
              </a:cxn>
              <a:cxn ang="0">
                <a:pos x="215" y="448"/>
              </a:cxn>
              <a:cxn ang="0">
                <a:pos x="266" y="335"/>
              </a:cxn>
              <a:cxn ang="0">
                <a:pos x="191" y="271"/>
              </a:cxn>
              <a:cxn ang="0">
                <a:pos x="148" y="236"/>
              </a:cxn>
              <a:cxn ang="0">
                <a:pos x="216" y="176"/>
              </a:cxn>
              <a:cxn ang="0">
                <a:pos x="102" y="117"/>
              </a:cxn>
              <a:cxn ang="0">
                <a:pos x="55" y="221"/>
              </a:cxn>
              <a:cxn ang="0">
                <a:pos x="126" y="313"/>
              </a:cxn>
              <a:cxn ang="0">
                <a:pos x="133" y="366"/>
              </a:cxn>
              <a:cxn ang="0">
                <a:pos x="127" y="416"/>
              </a:cxn>
              <a:cxn ang="0">
                <a:pos x="266" y="42"/>
              </a:cxn>
              <a:cxn ang="0">
                <a:pos x="316" y="86"/>
              </a:cxn>
              <a:cxn ang="0">
                <a:pos x="383" y="90"/>
              </a:cxn>
              <a:cxn ang="0">
                <a:pos x="384" y="24"/>
              </a:cxn>
              <a:cxn ang="0">
                <a:pos x="358" y="29"/>
              </a:cxn>
              <a:cxn ang="0">
                <a:pos x="269" y="16"/>
              </a:cxn>
              <a:cxn ang="0">
                <a:pos x="138" y="443"/>
              </a:cxn>
              <a:cxn ang="0">
                <a:pos x="144" y="334"/>
              </a:cxn>
              <a:cxn ang="0">
                <a:pos x="142" y="292"/>
              </a:cxn>
              <a:cxn ang="0">
                <a:pos x="85" y="194"/>
              </a:cxn>
              <a:cxn ang="0">
                <a:pos x="131" y="142"/>
              </a:cxn>
              <a:cxn ang="0">
                <a:pos x="186" y="188"/>
              </a:cxn>
              <a:cxn ang="0">
                <a:pos x="112" y="230"/>
              </a:cxn>
              <a:cxn ang="0">
                <a:pos x="176" y="294"/>
              </a:cxn>
              <a:cxn ang="0">
                <a:pos x="239" y="334"/>
              </a:cxn>
              <a:cxn ang="0">
                <a:pos x="184" y="393"/>
              </a:cxn>
              <a:cxn ang="0">
                <a:pos x="164" y="463"/>
              </a:cxn>
              <a:cxn ang="0">
                <a:pos x="470" y="274"/>
              </a:cxn>
            </a:cxnLst>
            <a:rect l="0" t="0" r="r" b="b"/>
            <a:pathLst>
              <a:path w="472" h="481">
                <a:moveTo>
                  <a:pt x="471" y="235"/>
                </a:moveTo>
                <a:cubicBezTo>
                  <a:pt x="471" y="234"/>
                  <a:pt x="471" y="234"/>
                  <a:pt x="471" y="234"/>
                </a:cubicBezTo>
                <a:cubicBezTo>
                  <a:pt x="470" y="225"/>
                  <a:pt x="470" y="225"/>
                  <a:pt x="470" y="225"/>
                </a:cubicBezTo>
                <a:cubicBezTo>
                  <a:pt x="470" y="224"/>
                  <a:pt x="470" y="224"/>
                  <a:pt x="470" y="224"/>
                </a:cubicBezTo>
                <a:cubicBezTo>
                  <a:pt x="467" y="207"/>
                  <a:pt x="458" y="200"/>
                  <a:pt x="450" y="197"/>
                </a:cubicBezTo>
                <a:cubicBezTo>
                  <a:pt x="426" y="187"/>
                  <a:pt x="390" y="210"/>
                  <a:pt x="376" y="221"/>
                </a:cubicBezTo>
                <a:cubicBezTo>
                  <a:pt x="370" y="225"/>
                  <a:pt x="367" y="231"/>
                  <a:pt x="367" y="238"/>
                </a:cubicBezTo>
                <a:cubicBezTo>
                  <a:pt x="367" y="238"/>
                  <a:pt x="367" y="238"/>
                  <a:pt x="367" y="238"/>
                </a:cubicBezTo>
                <a:cubicBezTo>
                  <a:pt x="367" y="252"/>
                  <a:pt x="380" y="262"/>
                  <a:pt x="392" y="271"/>
                </a:cubicBezTo>
                <a:cubicBezTo>
                  <a:pt x="393" y="272"/>
                  <a:pt x="393" y="272"/>
                  <a:pt x="393" y="272"/>
                </a:cubicBezTo>
                <a:cubicBezTo>
                  <a:pt x="393" y="272"/>
                  <a:pt x="400" y="277"/>
                  <a:pt x="400" y="277"/>
                </a:cubicBezTo>
                <a:cubicBezTo>
                  <a:pt x="401" y="278"/>
                  <a:pt x="403" y="279"/>
                  <a:pt x="404" y="280"/>
                </a:cubicBezTo>
                <a:cubicBezTo>
                  <a:pt x="404" y="280"/>
                  <a:pt x="404" y="281"/>
                  <a:pt x="403" y="282"/>
                </a:cubicBezTo>
                <a:cubicBezTo>
                  <a:pt x="397" y="293"/>
                  <a:pt x="393" y="305"/>
                  <a:pt x="388" y="316"/>
                </a:cubicBezTo>
                <a:cubicBezTo>
                  <a:pt x="381" y="334"/>
                  <a:pt x="374" y="352"/>
                  <a:pt x="362" y="365"/>
                </a:cubicBezTo>
                <a:cubicBezTo>
                  <a:pt x="360" y="367"/>
                  <a:pt x="357" y="368"/>
                  <a:pt x="356" y="368"/>
                </a:cubicBezTo>
                <a:cubicBezTo>
                  <a:pt x="355" y="368"/>
                  <a:pt x="355" y="367"/>
                  <a:pt x="354" y="366"/>
                </a:cubicBezTo>
                <a:cubicBezTo>
                  <a:pt x="351" y="361"/>
                  <a:pt x="350" y="353"/>
                  <a:pt x="349" y="345"/>
                </a:cubicBezTo>
                <a:cubicBezTo>
                  <a:pt x="348" y="341"/>
                  <a:pt x="348" y="337"/>
                  <a:pt x="347" y="333"/>
                </a:cubicBezTo>
                <a:cubicBezTo>
                  <a:pt x="342" y="305"/>
                  <a:pt x="323" y="294"/>
                  <a:pt x="305" y="282"/>
                </a:cubicBezTo>
                <a:cubicBezTo>
                  <a:pt x="302" y="280"/>
                  <a:pt x="302" y="280"/>
                  <a:pt x="302" y="280"/>
                </a:cubicBezTo>
                <a:cubicBezTo>
                  <a:pt x="294" y="275"/>
                  <a:pt x="288" y="266"/>
                  <a:pt x="287" y="259"/>
                </a:cubicBezTo>
                <a:cubicBezTo>
                  <a:pt x="287" y="255"/>
                  <a:pt x="289" y="252"/>
                  <a:pt x="292" y="250"/>
                </a:cubicBezTo>
                <a:cubicBezTo>
                  <a:pt x="299" y="245"/>
                  <a:pt x="307" y="245"/>
                  <a:pt x="320" y="245"/>
                </a:cubicBezTo>
                <a:cubicBezTo>
                  <a:pt x="326" y="245"/>
                  <a:pt x="333" y="245"/>
                  <a:pt x="340" y="245"/>
                </a:cubicBezTo>
                <a:cubicBezTo>
                  <a:pt x="350" y="243"/>
                  <a:pt x="359" y="235"/>
                  <a:pt x="364" y="224"/>
                </a:cubicBezTo>
                <a:cubicBezTo>
                  <a:pt x="370" y="211"/>
                  <a:pt x="368" y="197"/>
                  <a:pt x="361" y="188"/>
                </a:cubicBezTo>
                <a:cubicBezTo>
                  <a:pt x="349" y="172"/>
                  <a:pt x="327" y="179"/>
                  <a:pt x="312" y="184"/>
                </a:cubicBezTo>
                <a:cubicBezTo>
                  <a:pt x="306" y="186"/>
                  <a:pt x="298" y="188"/>
                  <a:pt x="296" y="188"/>
                </a:cubicBezTo>
                <a:cubicBezTo>
                  <a:pt x="294" y="188"/>
                  <a:pt x="293" y="188"/>
                  <a:pt x="293" y="188"/>
                </a:cubicBezTo>
                <a:cubicBezTo>
                  <a:pt x="293" y="187"/>
                  <a:pt x="293" y="187"/>
                  <a:pt x="293" y="186"/>
                </a:cubicBezTo>
                <a:cubicBezTo>
                  <a:pt x="293" y="184"/>
                  <a:pt x="294" y="179"/>
                  <a:pt x="297" y="173"/>
                </a:cubicBezTo>
                <a:cubicBezTo>
                  <a:pt x="304" y="158"/>
                  <a:pt x="316" y="147"/>
                  <a:pt x="320" y="146"/>
                </a:cubicBezTo>
                <a:cubicBezTo>
                  <a:pt x="325" y="145"/>
                  <a:pt x="332" y="148"/>
                  <a:pt x="339" y="152"/>
                </a:cubicBezTo>
                <a:cubicBezTo>
                  <a:pt x="342" y="153"/>
                  <a:pt x="342" y="153"/>
                  <a:pt x="342" y="153"/>
                </a:cubicBezTo>
                <a:cubicBezTo>
                  <a:pt x="348" y="156"/>
                  <a:pt x="355" y="159"/>
                  <a:pt x="362" y="161"/>
                </a:cubicBezTo>
                <a:cubicBezTo>
                  <a:pt x="362" y="161"/>
                  <a:pt x="365" y="162"/>
                  <a:pt x="365" y="162"/>
                </a:cubicBezTo>
                <a:cubicBezTo>
                  <a:pt x="371" y="164"/>
                  <a:pt x="382" y="168"/>
                  <a:pt x="391" y="162"/>
                </a:cubicBezTo>
                <a:cubicBezTo>
                  <a:pt x="398" y="157"/>
                  <a:pt x="401" y="150"/>
                  <a:pt x="404" y="143"/>
                </a:cubicBezTo>
                <a:cubicBezTo>
                  <a:pt x="406" y="136"/>
                  <a:pt x="403" y="129"/>
                  <a:pt x="396" y="126"/>
                </a:cubicBezTo>
                <a:cubicBezTo>
                  <a:pt x="389" y="123"/>
                  <a:pt x="381" y="127"/>
                  <a:pt x="379" y="134"/>
                </a:cubicBezTo>
                <a:cubicBezTo>
                  <a:pt x="378" y="136"/>
                  <a:pt x="377" y="137"/>
                  <a:pt x="377" y="138"/>
                </a:cubicBezTo>
                <a:cubicBezTo>
                  <a:pt x="376" y="138"/>
                  <a:pt x="375" y="137"/>
                  <a:pt x="374" y="137"/>
                </a:cubicBezTo>
                <a:cubicBezTo>
                  <a:pt x="371" y="136"/>
                  <a:pt x="371" y="136"/>
                  <a:pt x="371" y="136"/>
                </a:cubicBezTo>
                <a:cubicBezTo>
                  <a:pt x="364" y="134"/>
                  <a:pt x="359" y="131"/>
                  <a:pt x="354" y="129"/>
                </a:cubicBezTo>
                <a:cubicBezTo>
                  <a:pt x="350" y="128"/>
                  <a:pt x="350" y="128"/>
                  <a:pt x="350" y="128"/>
                </a:cubicBezTo>
                <a:cubicBezTo>
                  <a:pt x="341" y="123"/>
                  <a:pt x="329" y="117"/>
                  <a:pt x="314" y="120"/>
                </a:cubicBezTo>
                <a:cubicBezTo>
                  <a:pt x="293" y="125"/>
                  <a:pt x="266" y="162"/>
                  <a:pt x="266" y="187"/>
                </a:cubicBezTo>
                <a:cubicBezTo>
                  <a:pt x="267" y="202"/>
                  <a:pt x="276" y="212"/>
                  <a:pt x="292" y="215"/>
                </a:cubicBezTo>
                <a:cubicBezTo>
                  <a:pt x="300" y="216"/>
                  <a:pt x="310" y="213"/>
                  <a:pt x="320" y="209"/>
                </a:cubicBezTo>
                <a:cubicBezTo>
                  <a:pt x="326" y="208"/>
                  <a:pt x="337" y="204"/>
                  <a:pt x="340" y="205"/>
                </a:cubicBezTo>
                <a:cubicBezTo>
                  <a:pt x="341" y="205"/>
                  <a:pt x="341" y="206"/>
                  <a:pt x="341" y="207"/>
                </a:cubicBezTo>
                <a:cubicBezTo>
                  <a:pt x="341" y="209"/>
                  <a:pt x="341" y="212"/>
                  <a:pt x="340" y="214"/>
                </a:cubicBezTo>
                <a:cubicBezTo>
                  <a:pt x="338" y="217"/>
                  <a:pt x="337" y="218"/>
                  <a:pt x="336" y="218"/>
                </a:cubicBezTo>
                <a:cubicBezTo>
                  <a:pt x="332" y="219"/>
                  <a:pt x="326" y="218"/>
                  <a:pt x="321" y="218"/>
                </a:cubicBezTo>
                <a:cubicBezTo>
                  <a:pt x="307" y="218"/>
                  <a:pt x="290" y="217"/>
                  <a:pt x="276" y="229"/>
                </a:cubicBezTo>
                <a:cubicBezTo>
                  <a:pt x="265" y="237"/>
                  <a:pt x="260" y="248"/>
                  <a:pt x="261" y="260"/>
                </a:cubicBezTo>
                <a:cubicBezTo>
                  <a:pt x="262" y="279"/>
                  <a:pt x="275" y="295"/>
                  <a:pt x="288" y="303"/>
                </a:cubicBezTo>
                <a:cubicBezTo>
                  <a:pt x="290" y="305"/>
                  <a:pt x="290" y="305"/>
                  <a:pt x="290" y="305"/>
                </a:cubicBezTo>
                <a:cubicBezTo>
                  <a:pt x="308" y="316"/>
                  <a:pt x="318" y="323"/>
                  <a:pt x="321" y="338"/>
                </a:cubicBezTo>
                <a:cubicBezTo>
                  <a:pt x="321" y="341"/>
                  <a:pt x="322" y="345"/>
                  <a:pt x="322" y="348"/>
                </a:cubicBezTo>
                <a:cubicBezTo>
                  <a:pt x="324" y="358"/>
                  <a:pt x="325" y="370"/>
                  <a:pt x="331" y="380"/>
                </a:cubicBezTo>
                <a:cubicBezTo>
                  <a:pt x="336" y="388"/>
                  <a:pt x="344" y="393"/>
                  <a:pt x="353" y="394"/>
                </a:cubicBezTo>
                <a:cubicBezTo>
                  <a:pt x="363" y="395"/>
                  <a:pt x="374" y="391"/>
                  <a:pt x="381" y="383"/>
                </a:cubicBezTo>
                <a:cubicBezTo>
                  <a:pt x="397" y="366"/>
                  <a:pt x="405" y="345"/>
                  <a:pt x="413" y="325"/>
                </a:cubicBezTo>
                <a:cubicBezTo>
                  <a:pt x="418" y="315"/>
                  <a:pt x="422" y="304"/>
                  <a:pt x="427" y="295"/>
                </a:cubicBezTo>
                <a:cubicBezTo>
                  <a:pt x="430" y="288"/>
                  <a:pt x="432" y="283"/>
                  <a:pt x="432" y="279"/>
                </a:cubicBezTo>
                <a:cubicBezTo>
                  <a:pt x="432" y="266"/>
                  <a:pt x="421" y="259"/>
                  <a:pt x="415" y="254"/>
                </a:cubicBezTo>
                <a:cubicBezTo>
                  <a:pt x="409" y="251"/>
                  <a:pt x="409" y="251"/>
                  <a:pt x="409" y="251"/>
                </a:cubicBezTo>
                <a:cubicBezTo>
                  <a:pt x="407" y="249"/>
                  <a:pt x="407" y="249"/>
                  <a:pt x="407" y="249"/>
                </a:cubicBezTo>
                <a:cubicBezTo>
                  <a:pt x="401" y="245"/>
                  <a:pt x="398" y="242"/>
                  <a:pt x="396" y="240"/>
                </a:cubicBezTo>
                <a:cubicBezTo>
                  <a:pt x="414" y="227"/>
                  <a:pt x="434" y="219"/>
                  <a:pt x="440" y="221"/>
                </a:cubicBezTo>
                <a:cubicBezTo>
                  <a:pt x="442" y="222"/>
                  <a:pt x="443" y="225"/>
                  <a:pt x="444" y="228"/>
                </a:cubicBezTo>
                <a:cubicBezTo>
                  <a:pt x="444" y="229"/>
                  <a:pt x="445" y="235"/>
                  <a:pt x="445" y="236"/>
                </a:cubicBezTo>
                <a:cubicBezTo>
                  <a:pt x="445" y="239"/>
                  <a:pt x="445" y="242"/>
                  <a:pt x="445" y="245"/>
                </a:cubicBezTo>
                <a:cubicBezTo>
                  <a:pt x="445" y="254"/>
                  <a:pt x="444" y="262"/>
                  <a:pt x="443" y="271"/>
                </a:cubicBezTo>
                <a:cubicBezTo>
                  <a:pt x="436" y="325"/>
                  <a:pt x="409" y="373"/>
                  <a:pt x="366" y="406"/>
                </a:cubicBezTo>
                <a:cubicBezTo>
                  <a:pt x="323" y="439"/>
                  <a:pt x="269" y="454"/>
                  <a:pt x="215" y="448"/>
                </a:cubicBezTo>
                <a:cubicBezTo>
                  <a:pt x="201" y="447"/>
                  <a:pt x="188" y="443"/>
                  <a:pt x="180" y="440"/>
                </a:cubicBezTo>
                <a:cubicBezTo>
                  <a:pt x="185" y="431"/>
                  <a:pt x="203" y="409"/>
                  <a:pt x="246" y="372"/>
                </a:cubicBezTo>
                <a:cubicBezTo>
                  <a:pt x="259" y="360"/>
                  <a:pt x="266" y="347"/>
                  <a:pt x="266" y="335"/>
                </a:cubicBezTo>
                <a:cubicBezTo>
                  <a:pt x="266" y="333"/>
                  <a:pt x="266" y="332"/>
                  <a:pt x="266" y="330"/>
                </a:cubicBezTo>
                <a:cubicBezTo>
                  <a:pt x="262" y="304"/>
                  <a:pt x="229" y="289"/>
                  <a:pt x="202" y="276"/>
                </a:cubicBezTo>
                <a:cubicBezTo>
                  <a:pt x="191" y="271"/>
                  <a:pt x="191" y="271"/>
                  <a:pt x="191" y="271"/>
                </a:cubicBezTo>
                <a:cubicBezTo>
                  <a:pt x="185" y="269"/>
                  <a:pt x="185" y="269"/>
                  <a:pt x="185" y="269"/>
                </a:cubicBezTo>
                <a:cubicBezTo>
                  <a:pt x="147" y="255"/>
                  <a:pt x="137" y="247"/>
                  <a:pt x="135" y="244"/>
                </a:cubicBezTo>
                <a:cubicBezTo>
                  <a:pt x="137" y="242"/>
                  <a:pt x="140" y="239"/>
                  <a:pt x="148" y="236"/>
                </a:cubicBezTo>
                <a:cubicBezTo>
                  <a:pt x="152" y="235"/>
                  <a:pt x="157" y="233"/>
                  <a:pt x="161" y="232"/>
                </a:cubicBezTo>
                <a:cubicBezTo>
                  <a:pt x="178" y="227"/>
                  <a:pt x="199" y="220"/>
                  <a:pt x="210" y="200"/>
                </a:cubicBezTo>
                <a:cubicBezTo>
                  <a:pt x="214" y="192"/>
                  <a:pt x="216" y="184"/>
                  <a:pt x="216" y="176"/>
                </a:cubicBezTo>
                <a:cubicBezTo>
                  <a:pt x="216" y="161"/>
                  <a:pt x="209" y="147"/>
                  <a:pt x="196" y="138"/>
                </a:cubicBezTo>
                <a:cubicBezTo>
                  <a:pt x="178" y="126"/>
                  <a:pt x="157" y="118"/>
                  <a:pt x="134" y="115"/>
                </a:cubicBezTo>
                <a:cubicBezTo>
                  <a:pt x="122" y="114"/>
                  <a:pt x="111" y="114"/>
                  <a:pt x="102" y="117"/>
                </a:cubicBezTo>
                <a:cubicBezTo>
                  <a:pt x="74" y="123"/>
                  <a:pt x="65" y="161"/>
                  <a:pt x="60" y="184"/>
                </a:cubicBezTo>
                <a:cubicBezTo>
                  <a:pt x="59" y="188"/>
                  <a:pt x="59" y="188"/>
                  <a:pt x="59" y="188"/>
                </a:cubicBezTo>
                <a:cubicBezTo>
                  <a:pt x="56" y="200"/>
                  <a:pt x="55" y="211"/>
                  <a:pt x="55" y="221"/>
                </a:cubicBezTo>
                <a:cubicBezTo>
                  <a:pt x="55" y="237"/>
                  <a:pt x="58" y="250"/>
                  <a:pt x="65" y="261"/>
                </a:cubicBezTo>
                <a:cubicBezTo>
                  <a:pt x="77" y="281"/>
                  <a:pt x="97" y="294"/>
                  <a:pt x="114" y="306"/>
                </a:cubicBezTo>
                <a:cubicBezTo>
                  <a:pt x="114" y="306"/>
                  <a:pt x="125" y="313"/>
                  <a:pt x="126" y="313"/>
                </a:cubicBezTo>
                <a:cubicBezTo>
                  <a:pt x="122" y="318"/>
                  <a:pt x="118" y="324"/>
                  <a:pt x="118" y="334"/>
                </a:cubicBezTo>
                <a:cubicBezTo>
                  <a:pt x="118" y="334"/>
                  <a:pt x="118" y="334"/>
                  <a:pt x="118" y="335"/>
                </a:cubicBezTo>
                <a:cubicBezTo>
                  <a:pt x="118" y="349"/>
                  <a:pt x="126" y="358"/>
                  <a:pt x="133" y="366"/>
                </a:cubicBezTo>
                <a:cubicBezTo>
                  <a:pt x="139" y="373"/>
                  <a:pt x="142" y="377"/>
                  <a:pt x="142" y="384"/>
                </a:cubicBezTo>
                <a:cubicBezTo>
                  <a:pt x="142" y="385"/>
                  <a:pt x="142" y="385"/>
                  <a:pt x="142" y="386"/>
                </a:cubicBezTo>
                <a:cubicBezTo>
                  <a:pt x="142" y="397"/>
                  <a:pt x="134" y="408"/>
                  <a:pt x="127" y="416"/>
                </a:cubicBezTo>
                <a:cubicBezTo>
                  <a:pt x="70" y="377"/>
                  <a:pt x="36" y="313"/>
                  <a:pt x="36" y="245"/>
                </a:cubicBezTo>
                <a:cubicBezTo>
                  <a:pt x="36" y="237"/>
                  <a:pt x="36" y="228"/>
                  <a:pt x="37" y="220"/>
                </a:cubicBezTo>
                <a:cubicBezTo>
                  <a:pt x="52" y="108"/>
                  <a:pt x="154" y="28"/>
                  <a:pt x="266" y="42"/>
                </a:cubicBezTo>
                <a:cubicBezTo>
                  <a:pt x="294" y="46"/>
                  <a:pt x="321" y="55"/>
                  <a:pt x="345" y="70"/>
                </a:cubicBezTo>
                <a:cubicBezTo>
                  <a:pt x="335" y="72"/>
                  <a:pt x="327" y="73"/>
                  <a:pt x="327" y="73"/>
                </a:cubicBezTo>
                <a:cubicBezTo>
                  <a:pt x="320" y="74"/>
                  <a:pt x="316" y="80"/>
                  <a:pt x="316" y="86"/>
                </a:cubicBezTo>
                <a:cubicBezTo>
                  <a:pt x="316" y="87"/>
                  <a:pt x="316" y="88"/>
                  <a:pt x="316" y="89"/>
                </a:cubicBezTo>
                <a:cubicBezTo>
                  <a:pt x="317" y="96"/>
                  <a:pt x="324" y="101"/>
                  <a:pt x="332" y="99"/>
                </a:cubicBezTo>
                <a:cubicBezTo>
                  <a:pt x="383" y="90"/>
                  <a:pt x="383" y="90"/>
                  <a:pt x="383" y="90"/>
                </a:cubicBezTo>
                <a:cubicBezTo>
                  <a:pt x="386" y="89"/>
                  <a:pt x="389" y="87"/>
                  <a:pt x="391" y="84"/>
                </a:cubicBezTo>
                <a:cubicBezTo>
                  <a:pt x="393" y="81"/>
                  <a:pt x="394" y="78"/>
                  <a:pt x="394" y="74"/>
                </a:cubicBezTo>
                <a:cubicBezTo>
                  <a:pt x="384" y="24"/>
                  <a:pt x="384" y="24"/>
                  <a:pt x="384" y="24"/>
                </a:cubicBezTo>
                <a:cubicBezTo>
                  <a:pt x="383" y="16"/>
                  <a:pt x="376" y="12"/>
                  <a:pt x="368" y="13"/>
                </a:cubicBezTo>
                <a:cubicBezTo>
                  <a:pt x="362" y="14"/>
                  <a:pt x="357" y="20"/>
                  <a:pt x="357" y="26"/>
                </a:cubicBezTo>
                <a:cubicBezTo>
                  <a:pt x="357" y="27"/>
                  <a:pt x="358" y="28"/>
                  <a:pt x="358" y="29"/>
                </a:cubicBezTo>
                <a:cubicBezTo>
                  <a:pt x="358" y="29"/>
                  <a:pt x="360" y="38"/>
                  <a:pt x="362" y="48"/>
                </a:cubicBezTo>
                <a:cubicBezTo>
                  <a:pt x="361" y="48"/>
                  <a:pt x="361" y="48"/>
                  <a:pt x="361" y="48"/>
                </a:cubicBezTo>
                <a:cubicBezTo>
                  <a:pt x="333" y="31"/>
                  <a:pt x="302" y="20"/>
                  <a:pt x="269" y="16"/>
                </a:cubicBezTo>
                <a:cubicBezTo>
                  <a:pt x="143" y="0"/>
                  <a:pt x="27" y="90"/>
                  <a:pt x="11" y="216"/>
                </a:cubicBezTo>
                <a:cubicBezTo>
                  <a:pt x="0" y="307"/>
                  <a:pt x="43" y="397"/>
                  <a:pt x="122" y="444"/>
                </a:cubicBezTo>
                <a:cubicBezTo>
                  <a:pt x="127" y="447"/>
                  <a:pt x="133" y="447"/>
                  <a:pt x="138" y="443"/>
                </a:cubicBezTo>
                <a:cubicBezTo>
                  <a:pt x="141" y="440"/>
                  <a:pt x="167" y="417"/>
                  <a:pt x="169" y="388"/>
                </a:cubicBezTo>
                <a:cubicBezTo>
                  <a:pt x="171" y="368"/>
                  <a:pt x="160" y="356"/>
                  <a:pt x="153" y="348"/>
                </a:cubicBezTo>
                <a:cubicBezTo>
                  <a:pt x="147" y="342"/>
                  <a:pt x="144" y="339"/>
                  <a:pt x="144" y="334"/>
                </a:cubicBezTo>
                <a:cubicBezTo>
                  <a:pt x="144" y="333"/>
                  <a:pt x="145" y="332"/>
                  <a:pt x="148" y="329"/>
                </a:cubicBezTo>
                <a:cubicBezTo>
                  <a:pt x="151" y="325"/>
                  <a:pt x="156" y="319"/>
                  <a:pt x="155" y="310"/>
                </a:cubicBezTo>
                <a:cubicBezTo>
                  <a:pt x="154" y="302"/>
                  <a:pt x="147" y="296"/>
                  <a:pt x="142" y="292"/>
                </a:cubicBezTo>
                <a:cubicBezTo>
                  <a:pt x="142" y="292"/>
                  <a:pt x="129" y="283"/>
                  <a:pt x="129" y="283"/>
                </a:cubicBezTo>
                <a:cubicBezTo>
                  <a:pt x="113" y="273"/>
                  <a:pt x="97" y="262"/>
                  <a:pt x="88" y="248"/>
                </a:cubicBezTo>
                <a:cubicBezTo>
                  <a:pt x="81" y="235"/>
                  <a:pt x="80" y="218"/>
                  <a:pt x="85" y="194"/>
                </a:cubicBezTo>
                <a:cubicBezTo>
                  <a:pt x="86" y="190"/>
                  <a:pt x="86" y="190"/>
                  <a:pt x="86" y="190"/>
                </a:cubicBezTo>
                <a:cubicBezTo>
                  <a:pt x="89" y="178"/>
                  <a:pt x="96" y="145"/>
                  <a:pt x="108" y="142"/>
                </a:cubicBezTo>
                <a:cubicBezTo>
                  <a:pt x="115" y="141"/>
                  <a:pt x="122" y="141"/>
                  <a:pt x="131" y="142"/>
                </a:cubicBezTo>
                <a:cubicBezTo>
                  <a:pt x="150" y="144"/>
                  <a:pt x="166" y="150"/>
                  <a:pt x="181" y="160"/>
                </a:cubicBezTo>
                <a:cubicBezTo>
                  <a:pt x="188" y="165"/>
                  <a:pt x="190" y="170"/>
                  <a:pt x="190" y="175"/>
                </a:cubicBezTo>
                <a:cubicBezTo>
                  <a:pt x="190" y="180"/>
                  <a:pt x="188" y="185"/>
                  <a:pt x="186" y="188"/>
                </a:cubicBezTo>
                <a:cubicBezTo>
                  <a:pt x="181" y="198"/>
                  <a:pt x="168" y="202"/>
                  <a:pt x="153" y="206"/>
                </a:cubicBezTo>
                <a:cubicBezTo>
                  <a:pt x="148" y="208"/>
                  <a:pt x="143" y="210"/>
                  <a:pt x="138" y="211"/>
                </a:cubicBezTo>
                <a:cubicBezTo>
                  <a:pt x="125" y="217"/>
                  <a:pt x="117" y="222"/>
                  <a:pt x="112" y="230"/>
                </a:cubicBezTo>
                <a:cubicBezTo>
                  <a:pt x="109" y="234"/>
                  <a:pt x="108" y="239"/>
                  <a:pt x="108" y="243"/>
                </a:cubicBezTo>
                <a:cubicBezTo>
                  <a:pt x="108" y="246"/>
                  <a:pt x="108" y="248"/>
                  <a:pt x="109" y="251"/>
                </a:cubicBezTo>
                <a:cubicBezTo>
                  <a:pt x="114" y="266"/>
                  <a:pt x="134" y="279"/>
                  <a:pt x="176" y="294"/>
                </a:cubicBezTo>
                <a:cubicBezTo>
                  <a:pt x="176" y="294"/>
                  <a:pt x="179" y="295"/>
                  <a:pt x="179" y="295"/>
                </a:cubicBezTo>
                <a:cubicBezTo>
                  <a:pt x="181" y="296"/>
                  <a:pt x="191" y="301"/>
                  <a:pt x="191" y="301"/>
                </a:cubicBezTo>
                <a:cubicBezTo>
                  <a:pt x="208" y="309"/>
                  <a:pt x="238" y="322"/>
                  <a:pt x="239" y="334"/>
                </a:cubicBezTo>
                <a:cubicBezTo>
                  <a:pt x="239" y="334"/>
                  <a:pt x="239" y="335"/>
                  <a:pt x="239" y="335"/>
                </a:cubicBezTo>
                <a:cubicBezTo>
                  <a:pt x="239" y="339"/>
                  <a:pt x="235" y="345"/>
                  <a:pt x="228" y="352"/>
                </a:cubicBezTo>
                <a:cubicBezTo>
                  <a:pt x="211" y="367"/>
                  <a:pt x="196" y="381"/>
                  <a:pt x="184" y="393"/>
                </a:cubicBezTo>
                <a:cubicBezTo>
                  <a:pt x="157" y="422"/>
                  <a:pt x="151" y="435"/>
                  <a:pt x="151" y="444"/>
                </a:cubicBezTo>
                <a:cubicBezTo>
                  <a:pt x="151" y="446"/>
                  <a:pt x="151" y="447"/>
                  <a:pt x="151" y="448"/>
                </a:cubicBezTo>
                <a:cubicBezTo>
                  <a:pt x="152" y="455"/>
                  <a:pt x="157" y="461"/>
                  <a:pt x="164" y="463"/>
                </a:cubicBezTo>
                <a:cubicBezTo>
                  <a:pt x="165" y="464"/>
                  <a:pt x="189" y="472"/>
                  <a:pt x="212" y="475"/>
                </a:cubicBezTo>
                <a:cubicBezTo>
                  <a:pt x="273" y="481"/>
                  <a:pt x="334" y="464"/>
                  <a:pt x="382" y="427"/>
                </a:cubicBezTo>
                <a:cubicBezTo>
                  <a:pt x="431" y="389"/>
                  <a:pt x="462" y="335"/>
                  <a:pt x="470" y="274"/>
                </a:cubicBezTo>
                <a:cubicBezTo>
                  <a:pt x="471" y="261"/>
                  <a:pt x="472" y="248"/>
                  <a:pt x="471" y="23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5" name="Freeform 373"/>
          <p:cNvSpPr>
            <a:spLocks/>
          </p:cNvSpPr>
          <p:nvPr userDrawn="1"/>
        </p:nvSpPr>
        <p:spPr bwMode="auto">
          <a:xfrm>
            <a:off x="4314989" y="1786100"/>
            <a:ext cx="278679" cy="390525"/>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6" name="Freeform 429"/>
          <p:cNvSpPr>
            <a:spLocks/>
          </p:cNvSpPr>
          <p:nvPr userDrawn="1"/>
        </p:nvSpPr>
        <p:spPr bwMode="auto">
          <a:xfrm>
            <a:off x="4292956" y="2318229"/>
            <a:ext cx="322744" cy="235744"/>
          </a:xfrm>
          <a:custGeom>
            <a:avLst/>
            <a:gdLst/>
            <a:ahLst/>
            <a:cxnLst>
              <a:cxn ang="0">
                <a:pos x="72" y="39"/>
              </a:cxn>
              <a:cxn ang="0">
                <a:pos x="3" y="134"/>
              </a:cxn>
              <a:cxn ang="0">
                <a:pos x="47" y="230"/>
              </a:cxn>
              <a:cxn ang="0">
                <a:pos x="172" y="276"/>
              </a:cxn>
              <a:cxn ang="0">
                <a:pos x="307" y="247"/>
              </a:cxn>
              <a:cxn ang="0">
                <a:pos x="365" y="188"/>
              </a:cxn>
              <a:cxn ang="0">
                <a:pos x="371" y="115"/>
              </a:cxn>
              <a:cxn ang="0">
                <a:pos x="356" y="106"/>
              </a:cxn>
              <a:cxn ang="0">
                <a:pos x="347" y="122"/>
              </a:cxn>
              <a:cxn ang="0">
                <a:pos x="294" y="225"/>
              </a:cxn>
              <a:cxn ang="0">
                <a:pos x="64" y="211"/>
              </a:cxn>
              <a:cxn ang="0">
                <a:pos x="28" y="137"/>
              </a:cxn>
              <a:cxn ang="0">
                <a:pos x="84" y="61"/>
              </a:cxn>
              <a:cxn ang="0">
                <a:pos x="297" y="63"/>
              </a:cxn>
              <a:cxn ang="0">
                <a:pos x="297" y="63"/>
              </a:cxn>
              <a:cxn ang="0">
                <a:pos x="311" y="64"/>
              </a:cxn>
              <a:cxn ang="0">
                <a:pos x="334" y="51"/>
              </a:cxn>
              <a:cxn ang="0">
                <a:pos x="346" y="61"/>
              </a:cxn>
              <a:cxn ang="0">
                <a:pos x="237" y="124"/>
              </a:cxn>
              <a:cxn ang="0">
                <a:pos x="230" y="135"/>
              </a:cxn>
              <a:cxn ang="0">
                <a:pos x="231" y="139"/>
              </a:cxn>
              <a:cxn ang="0">
                <a:pos x="232" y="143"/>
              </a:cxn>
              <a:cxn ang="0">
                <a:pos x="218" y="162"/>
              </a:cxn>
              <a:cxn ang="0">
                <a:pos x="171" y="166"/>
              </a:cxn>
              <a:cxn ang="0">
                <a:pos x="162" y="168"/>
              </a:cxn>
              <a:cxn ang="0">
                <a:pos x="154" y="172"/>
              </a:cxn>
              <a:cxn ang="0">
                <a:pos x="142" y="161"/>
              </a:cxn>
              <a:cxn ang="0">
                <a:pos x="148" y="151"/>
              </a:cxn>
              <a:cxn ang="0">
                <a:pos x="147" y="147"/>
              </a:cxn>
              <a:cxn ang="0">
                <a:pos x="147" y="143"/>
              </a:cxn>
              <a:cxn ang="0">
                <a:pos x="160" y="124"/>
              </a:cxn>
              <a:cxn ang="0">
                <a:pos x="206" y="120"/>
              </a:cxn>
              <a:cxn ang="0">
                <a:pos x="216" y="119"/>
              </a:cxn>
              <a:cxn ang="0">
                <a:pos x="241" y="104"/>
              </a:cxn>
              <a:cxn ang="0">
                <a:pos x="246" y="87"/>
              </a:cxn>
              <a:cxn ang="0">
                <a:pos x="228" y="82"/>
              </a:cxn>
              <a:cxn ang="0">
                <a:pos x="208" y="94"/>
              </a:cxn>
              <a:cxn ang="0">
                <a:pos x="148" y="103"/>
              </a:cxn>
              <a:cxn ang="0">
                <a:pos x="121" y="143"/>
              </a:cxn>
              <a:cxn ang="0">
                <a:pos x="121" y="144"/>
              </a:cxn>
              <a:cxn ang="0">
                <a:pos x="114" y="149"/>
              </a:cxn>
              <a:cxn ang="0">
                <a:pos x="107" y="158"/>
              </a:cxn>
              <a:cxn ang="0">
                <a:pos x="107" y="159"/>
              </a:cxn>
              <a:cxn ang="0">
                <a:pos x="112" y="169"/>
              </a:cxn>
              <a:cxn ang="0">
                <a:pos x="145" y="197"/>
              </a:cxn>
              <a:cxn ang="0">
                <a:pos x="159" y="198"/>
              </a:cxn>
              <a:cxn ang="0">
                <a:pos x="170" y="192"/>
              </a:cxn>
              <a:cxn ang="0">
                <a:pos x="231" y="184"/>
              </a:cxn>
              <a:cxn ang="0">
                <a:pos x="257" y="143"/>
              </a:cxn>
              <a:cxn ang="0">
                <a:pos x="257" y="142"/>
              </a:cxn>
              <a:cxn ang="0">
                <a:pos x="375" y="74"/>
              </a:cxn>
              <a:cxn ang="0">
                <a:pos x="381" y="64"/>
              </a:cxn>
              <a:cxn ang="0">
                <a:pos x="381" y="63"/>
              </a:cxn>
              <a:cxn ang="0">
                <a:pos x="376" y="53"/>
              </a:cxn>
              <a:cxn ang="0">
                <a:pos x="344" y="25"/>
              </a:cxn>
              <a:cxn ang="0">
                <a:pos x="329" y="24"/>
              </a:cxn>
              <a:cxn ang="0">
                <a:pos x="305" y="38"/>
              </a:cxn>
              <a:cxn ang="0">
                <a:pos x="72" y="39"/>
              </a:cxn>
            </a:cxnLst>
            <a:rect l="0" t="0" r="r" b="b"/>
            <a:pathLst>
              <a:path w="381" h="279">
                <a:moveTo>
                  <a:pt x="72" y="39"/>
                </a:moveTo>
                <a:cubicBezTo>
                  <a:pt x="31" y="62"/>
                  <a:pt x="6" y="97"/>
                  <a:pt x="3" y="134"/>
                </a:cubicBezTo>
                <a:cubicBezTo>
                  <a:pt x="0" y="169"/>
                  <a:pt x="16" y="203"/>
                  <a:pt x="47" y="230"/>
                </a:cubicBezTo>
                <a:cubicBezTo>
                  <a:pt x="79" y="257"/>
                  <a:pt x="123" y="273"/>
                  <a:pt x="172" y="276"/>
                </a:cubicBezTo>
                <a:cubicBezTo>
                  <a:pt x="221" y="279"/>
                  <a:pt x="269" y="269"/>
                  <a:pt x="307" y="247"/>
                </a:cubicBezTo>
                <a:cubicBezTo>
                  <a:pt x="334" y="232"/>
                  <a:pt x="354" y="211"/>
                  <a:pt x="365" y="188"/>
                </a:cubicBezTo>
                <a:cubicBezTo>
                  <a:pt x="377" y="164"/>
                  <a:pt x="379" y="139"/>
                  <a:pt x="371" y="115"/>
                </a:cubicBezTo>
                <a:cubicBezTo>
                  <a:pt x="369" y="108"/>
                  <a:pt x="362" y="104"/>
                  <a:pt x="356" y="106"/>
                </a:cubicBezTo>
                <a:cubicBezTo>
                  <a:pt x="349" y="108"/>
                  <a:pt x="345" y="115"/>
                  <a:pt x="347" y="122"/>
                </a:cubicBezTo>
                <a:cubicBezTo>
                  <a:pt x="359" y="160"/>
                  <a:pt x="338" y="200"/>
                  <a:pt x="294" y="225"/>
                </a:cubicBezTo>
                <a:cubicBezTo>
                  <a:pt x="224" y="266"/>
                  <a:pt x="121" y="259"/>
                  <a:pt x="64" y="211"/>
                </a:cubicBezTo>
                <a:cubicBezTo>
                  <a:pt x="38" y="190"/>
                  <a:pt x="26" y="163"/>
                  <a:pt x="28" y="137"/>
                </a:cubicBezTo>
                <a:cubicBezTo>
                  <a:pt x="31" y="107"/>
                  <a:pt x="51" y="80"/>
                  <a:pt x="84" y="61"/>
                </a:cubicBezTo>
                <a:cubicBezTo>
                  <a:pt x="146" y="25"/>
                  <a:pt x="237" y="26"/>
                  <a:pt x="297" y="63"/>
                </a:cubicBezTo>
                <a:cubicBezTo>
                  <a:pt x="297" y="63"/>
                  <a:pt x="297" y="63"/>
                  <a:pt x="297" y="63"/>
                </a:cubicBezTo>
                <a:cubicBezTo>
                  <a:pt x="301" y="66"/>
                  <a:pt x="307" y="66"/>
                  <a:pt x="311" y="64"/>
                </a:cubicBezTo>
                <a:cubicBezTo>
                  <a:pt x="311" y="64"/>
                  <a:pt x="325" y="56"/>
                  <a:pt x="334" y="51"/>
                </a:cubicBezTo>
                <a:cubicBezTo>
                  <a:pt x="338" y="54"/>
                  <a:pt x="340" y="56"/>
                  <a:pt x="346" y="61"/>
                </a:cubicBezTo>
                <a:cubicBezTo>
                  <a:pt x="322" y="75"/>
                  <a:pt x="237" y="124"/>
                  <a:pt x="237" y="124"/>
                </a:cubicBezTo>
                <a:cubicBezTo>
                  <a:pt x="233" y="126"/>
                  <a:pt x="230" y="131"/>
                  <a:pt x="230" y="135"/>
                </a:cubicBezTo>
                <a:cubicBezTo>
                  <a:pt x="230" y="136"/>
                  <a:pt x="231" y="138"/>
                  <a:pt x="231" y="139"/>
                </a:cubicBezTo>
                <a:cubicBezTo>
                  <a:pt x="231" y="140"/>
                  <a:pt x="232" y="142"/>
                  <a:pt x="232" y="143"/>
                </a:cubicBezTo>
                <a:cubicBezTo>
                  <a:pt x="232" y="150"/>
                  <a:pt x="227" y="157"/>
                  <a:pt x="218" y="162"/>
                </a:cubicBezTo>
                <a:cubicBezTo>
                  <a:pt x="205" y="169"/>
                  <a:pt x="187" y="171"/>
                  <a:pt x="171" y="166"/>
                </a:cubicBezTo>
                <a:cubicBezTo>
                  <a:pt x="168" y="165"/>
                  <a:pt x="165" y="166"/>
                  <a:pt x="162" y="168"/>
                </a:cubicBezTo>
                <a:cubicBezTo>
                  <a:pt x="162" y="168"/>
                  <a:pt x="158" y="170"/>
                  <a:pt x="154" y="172"/>
                </a:cubicBezTo>
                <a:cubicBezTo>
                  <a:pt x="150" y="168"/>
                  <a:pt x="148" y="166"/>
                  <a:pt x="142" y="161"/>
                </a:cubicBezTo>
                <a:cubicBezTo>
                  <a:pt x="146" y="159"/>
                  <a:pt x="148" y="155"/>
                  <a:pt x="148" y="151"/>
                </a:cubicBezTo>
                <a:cubicBezTo>
                  <a:pt x="148" y="150"/>
                  <a:pt x="148" y="148"/>
                  <a:pt x="147" y="147"/>
                </a:cubicBezTo>
                <a:cubicBezTo>
                  <a:pt x="147" y="146"/>
                  <a:pt x="147" y="144"/>
                  <a:pt x="147" y="143"/>
                </a:cubicBezTo>
                <a:cubicBezTo>
                  <a:pt x="147" y="136"/>
                  <a:pt x="152" y="130"/>
                  <a:pt x="160" y="124"/>
                </a:cubicBezTo>
                <a:cubicBezTo>
                  <a:pt x="173" y="117"/>
                  <a:pt x="191" y="115"/>
                  <a:pt x="206" y="120"/>
                </a:cubicBezTo>
                <a:cubicBezTo>
                  <a:pt x="210" y="121"/>
                  <a:pt x="213" y="120"/>
                  <a:pt x="216" y="119"/>
                </a:cubicBezTo>
                <a:cubicBezTo>
                  <a:pt x="241" y="104"/>
                  <a:pt x="241" y="104"/>
                  <a:pt x="241" y="104"/>
                </a:cubicBezTo>
                <a:cubicBezTo>
                  <a:pt x="247" y="101"/>
                  <a:pt x="249" y="93"/>
                  <a:pt x="246" y="87"/>
                </a:cubicBezTo>
                <a:cubicBezTo>
                  <a:pt x="242" y="81"/>
                  <a:pt x="234" y="79"/>
                  <a:pt x="228" y="82"/>
                </a:cubicBezTo>
                <a:cubicBezTo>
                  <a:pt x="228" y="82"/>
                  <a:pt x="214" y="91"/>
                  <a:pt x="208" y="94"/>
                </a:cubicBezTo>
                <a:cubicBezTo>
                  <a:pt x="187" y="90"/>
                  <a:pt x="165" y="93"/>
                  <a:pt x="148" y="103"/>
                </a:cubicBezTo>
                <a:cubicBezTo>
                  <a:pt x="131" y="112"/>
                  <a:pt x="121" y="127"/>
                  <a:pt x="121" y="143"/>
                </a:cubicBezTo>
                <a:cubicBezTo>
                  <a:pt x="121" y="143"/>
                  <a:pt x="121" y="144"/>
                  <a:pt x="121" y="144"/>
                </a:cubicBezTo>
                <a:cubicBezTo>
                  <a:pt x="118" y="146"/>
                  <a:pt x="114" y="149"/>
                  <a:pt x="114" y="149"/>
                </a:cubicBezTo>
                <a:cubicBezTo>
                  <a:pt x="110" y="151"/>
                  <a:pt x="108" y="154"/>
                  <a:pt x="107" y="158"/>
                </a:cubicBezTo>
                <a:cubicBezTo>
                  <a:pt x="107" y="159"/>
                  <a:pt x="107" y="159"/>
                  <a:pt x="107" y="159"/>
                </a:cubicBezTo>
                <a:cubicBezTo>
                  <a:pt x="107" y="163"/>
                  <a:pt x="109" y="167"/>
                  <a:pt x="112" y="169"/>
                </a:cubicBezTo>
                <a:cubicBezTo>
                  <a:pt x="145" y="197"/>
                  <a:pt x="145" y="197"/>
                  <a:pt x="145" y="197"/>
                </a:cubicBezTo>
                <a:cubicBezTo>
                  <a:pt x="149" y="200"/>
                  <a:pt x="155" y="201"/>
                  <a:pt x="159" y="198"/>
                </a:cubicBezTo>
                <a:cubicBezTo>
                  <a:pt x="159" y="198"/>
                  <a:pt x="165" y="195"/>
                  <a:pt x="170" y="192"/>
                </a:cubicBezTo>
                <a:cubicBezTo>
                  <a:pt x="191" y="197"/>
                  <a:pt x="214" y="194"/>
                  <a:pt x="231" y="184"/>
                </a:cubicBezTo>
                <a:cubicBezTo>
                  <a:pt x="247" y="174"/>
                  <a:pt x="257" y="159"/>
                  <a:pt x="257" y="143"/>
                </a:cubicBezTo>
                <a:cubicBezTo>
                  <a:pt x="257" y="143"/>
                  <a:pt x="257" y="142"/>
                  <a:pt x="257" y="142"/>
                </a:cubicBezTo>
                <a:cubicBezTo>
                  <a:pt x="270" y="134"/>
                  <a:pt x="375" y="74"/>
                  <a:pt x="375" y="74"/>
                </a:cubicBezTo>
                <a:cubicBezTo>
                  <a:pt x="378" y="72"/>
                  <a:pt x="381" y="68"/>
                  <a:pt x="381" y="64"/>
                </a:cubicBezTo>
                <a:cubicBezTo>
                  <a:pt x="381" y="63"/>
                  <a:pt x="381" y="63"/>
                  <a:pt x="381" y="63"/>
                </a:cubicBezTo>
                <a:cubicBezTo>
                  <a:pt x="381" y="59"/>
                  <a:pt x="379" y="55"/>
                  <a:pt x="376" y="53"/>
                </a:cubicBezTo>
                <a:cubicBezTo>
                  <a:pt x="344" y="25"/>
                  <a:pt x="344" y="25"/>
                  <a:pt x="344" y="25"/>
                </a:cubicBezTo>
                <a:cubicBezTo>
                  <a:pt x="339" y="22"/>
                  <a:pt x="334" y="21"/>
                  <a:pt x="329" y="24"/>
                </a:cubicBezTo>
                <a:cubicBezTo>
                  <a:pt x="329" y="24"/>
                  <a:pt x="313" y="34"/>
                  <a:pt x="305" y="38"/>
                </a:cubicBezTo>
                <a:cubicBezTo>
                  <a:pt x="237" y="0"/>
                  <a:pt x="140" y="0"/>
                  <a:pt x="72" y="39"/>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7" name="Freeform 445"/>
          <p:cNvSpPr>
            <a:spLocks noEditPoints="1"/>
          </p:cNvSpPr>
          <p:nvPr userDrawn="1"/>
        </p:nvSpPr>
        <p:spPr bwMode="auto">
          <a:xfrm>
            <a:off x="4265564" y="1308426"/>
            <a:ext cx="377527" cy="389335"/>
          </a:xfrm>
          <a:custGeom>
            <a:avLst/>
            <a:gdLst/>
            <a:ahLst/>
            <a:cxnLst>
              <a:cxn ang="0">
                <a:pos x="388" y="238"/>
              </a:cxn>
              <a:cxn ang="0">
                <a:pos x="429" y="217"/>
              </a:cxn>
              <a:cxn ang="0">
                <a:pos x="406" y="201"/>
              </a:cxn>
              <a:cxn ang="0">
                <a:pos x="388" y="161"/>
              </a:cxn>
              <a:cxn ang="0">
                <a:pos x="388" y="154"/>
              </a:cxn>
              <a:cxn ang="0">
                <a:pos x="366" y="147"/>
              </a:cxn>
              <a:cxn ang="0">
                <a:pos x="205" y="148"/>
              </a:cxn>
              <a:cxn ang="0">
                <a:pos x="283" y="139"/>
              </a:cxn>
              <a:cxn ang="0">
                <a:pos x="446" y="69"/>
              </a:cxn>
              <a:cxn ang="0">
                <a:pos x="283" y="0"/>
              </a:cxn>
              <a:cxn ang="0">
                <a:pos x="120" y="69"/>
              </a:cxn>
              <a:cxn ang="0">
                <a:pos x="178" y="123"/>
              </a:cxn>
              <a:cxn ang="0">
                <a:pos x="178" y="158"/>
              </a:cxn>
              <a:cxn ang="0">
                <a:pos x="178" y="243"/>
              </a:cxn>
              <a:cxn ang="0">
                <a:pos x="0" y="348"/>
              </a:cxn>
              <a:cxn ang="0">
                <a:pos x="157" y="449"/>
              </a:cxn>
              <a:cxn ang="0">
                <a:pos x="150" y="432"/>
              </a:cxn>
              <a:cxn ang="0">
                <a:pos x="27" y="347"/>
              </a:cxn>
              <a:cxn ang="0">
                <a:pos x="178" y="271"/>
              </a:cxn>
              <a:cxn ang="0">
                <a:pos x="120" y="331"/>
              </a:cxn>
              <a:cxn ang="0">
                <a:pos x="283" y="400"/>
              </a:cxn>
              <a:cxn ang="0">
                <a:pos x="446" y="331"/>
              </a:cxn>
              <a:cxn ang="0">
                <a:pos x="147" y="69"/>
              </a:cxn>
              <a:cxn ang="0">
                <a:pos x="283" y="27"/>
              </a:cxn>
              <a:cxn ang="0">
                <a:pos x="420" y="69"/>
              </a:cxn>
              <a:cxn ang="0">
                <a:pos x="283" y="112"/>
              </a:cxn>
              <a:cxn ang="0">
                <a:pos x="147" y="69"/>
              </a:cxn>
              <a:cxn ang="0">
                <a:pos x="361" y="175"/>
              </a:cxn>
              <a:cxn ang="0">
                <a:pos x="251" y="182"/>
              </a:cxn>
              <a:cxn ang="0">
                <a:pos x="221" y="198"/>
              </a:cxn>
              <a:cxn ang="0">
                <a:pos x="292" y="225"/>
              </a:cxn>
              <a:cxn ang="0">
                <a:pos x="205" y="189"/>
              </a:cxn>
              <a:cxn ang="0">
                <a:pos x="384" y="358"/>
              </a:cxn>
              <a:cxn ang="0">
                <a:pos x="182" y="358"/>
              </a:cxn>
              <a:cxn ang="0">
                <a:pos x="195" y="299"/>
              </a:cxn>
              <a:cxn ang="0">
                <a:pos x="205" y="265"/>
              </a:cxn>
              <a:cxn ang="0">
                <a:pos x="361" y="242"/>
              </a:cxn>
              <a:cxn ang="0">
                <a:pos x="371" y="299"/>
              </a:cxn>
              <a:cxn ang="0">
                <a:pos x="384" y="358"/>
              </a:cxn>
            </a:cxnLst>
            <a:rect l="0" t="0" r="r" b="b"/>
            <a:pathLst>
              <a:path w="446" h="459">
                <a:moveTo>
                  <a:pt x="388" y="277"/>
                </a:moveTo>
                <a:cubicBezTo>
                  <a:pt x="388" y="238"/>
                  <a:pt x="388" y="238"/>
                  <a:pt x="388" y="238"/>
                </a:cubicBezTo>
                <a:cubicBezTo>
                  <a:pt x="396" y="236"/>
                  <a:pt x="403" y="235"/>
                  <a:pt x="408" y="234"/>
                </a:cubicBezTo>
                <a:cubicBezTo>
                  <a:pt x="415" y="232"/>
                  <a:pt x="429" y="229"/>
                  <a:pt x="429" y="217"/>
                </a:cubicBezTo>
                <a:cubicBezTo>
                  <a:pt x="429" y="217"/>
                  <a:pt x="429" y="216"/>
                  <a:pt x="429" y="216"/>
                </a:cubicBezTo>
                <a:cubicBezTo>
                  <a:pt x="428" y="203"/>
                  <a:pt x="413" y="202"/>
                  <a:pt x="406" y="201"/>
                </a:cubicBezTo>
                <a:cubicBezTo>
                  <a:pt x="402" y="201"/>
                  <a:pt x="396" y="201"/>
                  <a:pt x="388" y="201"/>
                </a:cubicBezTo>
                <a:cubicBezTo>
                  <a:pt x="388" y="161"/>
                  <a:pt x="388" y="161"/>
                  <a:pt x="388" y="161"/>
                </a:cubicBezTo>
                <a:cubicBezTo>
                  <a:pt x="388" y="159"/>
                  <a:pt x="388" y="157"/>
                  <a:pt x="388" y="154"/>
                </a:cubicBezTo>
                <a:cubicBezTo>
                  <a:pt x="388" y="154"/>
                  <a:pt x="388" y="154"/>
                  <a:pt x="388" y="154"/>
                </a:cubicBezTo>
                <a:cubicBezTo>
                  <a:pt x="386" y="148"/>
                  <a:pt x="381" y="143"/>
                  <a:pt x="375" y="143"/>
                </a:cubicBezTo>
                <a:cubicBezTo>
                  <a:pt x="371" y="143"/>
                  <a:pt x="368" y="145"/>
                  <a:pt x="366" y="147"/>
                </a:cubicBezTo>
                <a:cubicBezTo>
                  <a:pt x="342" y="153"/>
                  <a:pt x="313" y="156"/>
                  <a:pt x="283" y="156"/>
                </a:cubicBezTo>
                <a:cubicBezTo>
                  <a:pt x="255" y="156"/>
                  <a:pt x="228" y="154"/>
                  <a:pt x="205" y="148"/>
                </a:cubicBezTo>
                <a:cubicBezTo>
                  <a:pt x="205" y="131"/>
                  <a:pt x="205" y="131"/>
                  <a:pt x="205" y="131"/>
                </a:cubicBezTo>
                <a:cubicBezTo>
                  <a:pt x="229" y="136"/>
                  <a:pt x="255" y="139"/>
                  <a:pt x="283" y="139"/>
                </a:cubicBezTo>
                <a:cubicBezTo>
                  <a:pt x="325" y="139"/>
                  <a:pt x="364" y="133"/>
                  <a:pt x="394" y="121"/>
                </a:cubicBezTo>
                <a:cubicBezTo>
                  <a:pt x="418" y="112"/>
                  <a:pt x="446" y="96"/>
                  <a:pt x="446" y="69"/>
                </a:cubicBezTo>
                <a:cubicBezTo>
                  <a:pt x="446" y="54"/>
                  <a:pt x="437" y="33"/>
                  <a:pt x="394" y="17"/>
                </a:cubicBezTo>
                <a:cubicBezTo>
                  <a:pt x="364" y="6"/>
                  <a:pt x="325" y="0"/>
                  <a:pt x="283" y="0"/>
                </a:cubicBezTo>
                <a:cubicBezTo>
                  <a:pt x="242" y="0"/>
                  <a:pt x="202" y="6"/>
                  <a:pt x="172" y="17"/>
                </a:cubicBezTo>
                <a:cubicBezTo>
                  <a:pt x="148" y="26"/>
                  <a:pt x="120" y="42"/>
                  <a:pt x="120" y="69"/>
                </a:cubicBezTo>
                <a:cubicBezTo>
                  <a:pt x="120" y="84"/>
                  <a:pt x="129" y="105"/>
                  <a:pt x="172" y="121"/>
                </a:cubicBezTo>
                <a:cubicBezTo>
                  <a:pt x="174" y="122"/>
                  <a:pt x="176" y="123"/>
                  <a:pt x="178" y="123"/>
                </a:cubicBezTo>
                <a:cubicBezTo>
                  <a:pt x="178" y="156"/>
                  <a:pt x="178" y="156"/>
                  <a:pt x="178" y="156"/>
                </a:cubicBezTo>
                <a:cubicBezTo>
                  <a:pt x="178" y="157"/>
                  <a:pt x="178" y="157"/>
                  <a:pt x="178" y="158"/>
                </a:cubicBezTo>
                <a:cubicBezTo>
                  <a:pt x="178" y="159"/>
                  <a:pt x="178" y="160"/>
                  <a:pt x="178" y="160"/>
                </a:cubicBezTo>
                <a:cubicBezTo>
                  <a:pt x="178" y="243"/>
                  <a:pt x="178" y="243"/>
                  <a:pt x="178" y="243"/>
                </a:cubicBezTo>
                <a:cubicBezTo>
                  <a:pt x="97" y="263"/>
                  <a:pt x="4" y="293"/>
                  <a:pt x="0" y="345"/>
                </a:cubicBezTo>
                <a:cubicBezTo>
                  <a:pt x="0" y="346"/>
                  <a:pt x="0" y="347"/>
                  <a:pt x="0" y="348"/>
                </a:cubicBezTo>
                <a:cubicBezTo>
                  <a:pt x="0" y="385"/>
                  <a:pt x="45" y="420"/>
                  <a:pt x="140" y="457"/>
                </a:cubicBezTo>
                <a:cubicBezTo>
                  <a:pt x="147" y="459"/>
                  <a:pt x="155" y="456"/>
                  <a:pt x="157" y="449"/>
                </a:cubicBezTo>
                <a:cubicBezTo>
                  <a:pt x="158" y="447"/>
                  <a:pt x="158" y="446"/>
                  <a:pt x="158" y="444"/>
                </a:cubicBezTo>
                <a:cubicBezTo>
                  <a:pt x="158" y="439"/>
                  <a:pt x="155" y="434"/>
                  <a:pt x="150" y="432"/>
                </a:cubicBezTo>
                <a:cubicBezTo>
                  <a:pt x="40" y="389"/>
                  <a:pt x="27" y="360"/>
                  <a:pt x="27" y="348"/>
                </a:cubicBezTo>
                <a:cubicBezTo>
                  <a:pt x="27" y="347"/>
                  <a:pt x="27" y="347"/>
                  <a:pt x="27" y="347"/>
                </a:cubicBezTo>
                <a:cubicBezTo>
                  <a:pt x="28" y="331"/>
                  <a:pt x="50" y="314"/>
                  <a:pt x="89" y="298"/>
                </a:cubicBezTo>
                <a:cubicBezTo>
                  <a:pt x="121" y="285"/>
                  <a:pt x="156" y="276"/>
                  <a:pt x="178" y="271"/>
                </a:cubicBezTo>
                <a:cubicBezTo>
                  <a:pt x="178" y="277"/>
                  <a:pt x="178" y="277"/>
                  <a:pt x="178" y="277"/>
                </a:cubicBezTo>
                <a:cubicBezTo>
                  <a:pt x="141" y="289"/>
                  <a:pt x="120" y="308"/>
                  <a:pt x="120" y="331"/>
                </a:cubicBezTo>
                <a:cubicBezTo>
                  <a:pt x="120" y="346"/>
                  <a:pt x="129" y="367"/>
                  <a:pt x="172" y="383"/>
                </a:cubicBezTo>
                <a:cubicBezTo>
                  <a:pt x="202" y="394"/>
                  <a:pt x="242" y="400"/>
                  <a:pt x="283" y="400"/>
                </a:cubicBezTo>
                <a:cubicBezTo>
                  <a:pt x="325" y="400"/>
                  <a:pt x="364" y="394"/>
                  <a:pt x="394" y="383"/>
                </a:cubicBezTo>
                <a:cubicBezTo>
                  <a:pt x="418" y="374"/>
                  <a:pt x="446" y="358"/>
                  <a:pt x="446" y="331"/>
                </a:cubicBezTo>
                <a:cubicBezTo>
                  <a:pt x="446" y="308"/>
                  <a:pt x="426" y="289"/>
                  <a:pt x="388" y="277"/>
                </a:cubicBezTo>
                <a:close/>
                <a:moveTo>
                  <a:pt x="147" y="69"/>
                </a:moveTo>
                <a:cubicBezTo>
                  <a:pt x="147" y="63"/>
                  <a:pt x="156" y="52"/>
                  <a:pt x="182" y="42"/>
                </a:cubicBezTo>
                <a:cubicBezTo>
                  <a:pt x="209" y="32"/>
                  <a:pt x="245" y="27"/>
                  <a:pt x="283" y="27"/>
                </a:cubicBezTo>
                <a:cubicBezTo>
                  <a:pt x="322" y="27"/>
                  <a:pt x="358" y="32"/>
                  <a:pt x="384" y="42"/>
                </a:cubicBezTo>
                <a:cubicBezTo>
                  <a:pt x="410" y="52"/>
                  <a:pt x="420" y="63"/>
                  <a:pt x="420" y="69"/>
                </a:cubicBezTo>
                <a:cubicBezTo>
                  <a:pt x="420" y="76"/>
                  <a:pt x="410" y="87"/>
                  <a:pt x="384" y="96"/>
                </a:cubicBezTo>
                <a:cubicBezTo>
                  <a:pt x="358" y="106"/>
                  <a:pt x="322" y="112"/>
                  <a:pt x="283" y="112"/>
                </a:cubicBezTo>
                <a:cubicBezTo>
                  <a:pt x="245" y="112"/>
                  <a:pt x="209" y="106"/>
                  <a:pt x="182" y="96"/>
                </a:cubicBezTo>
                <a:cubicBezTo>
                  <a:pt x="156" y="87"/>
                  <a:pt x="147" y="76"/>
                  <a:pt x="147" y="69"/>
                </a:cubicBezTo>
                <a:close/>
                <a:moveTo>
                  <a:pt x="283" y="183"/>
                </a:moveTo>
                <a:cubicBezTo>
                  <a:pt x="311" y="183"/>
                  <a:pt x="338" y="180"/>
                  <a:pt x="361" y="175"/>
                </a:cubicBezTo>
                <a:cubicBezTo>
                  <a:pt x="361" y="200"/>
                  <a:pt x="361" y="200"/>
                  <a:pt x="361" y="200"/>
                </a:cubicBezTo>
                <a:cubicBezTo>
                  <a:pt x="310" y="199"/>
                  <a:pt x="275" y="191"/>
                  <a:pt x="251" y="182"/>
                </a:cubicBezTo>
                <a:cubicBezTo>
                  <a:pt x="261" y="183"/>
                  <a:pt x="272" y="183"/>
                  <a:pt x="283" y="183"/>
                </a:cubicBezTo>
                <a:close/>
                <a:moveTo>
                  <a:pt x="221" y="198"/>
                </a:moveTo>
                <a:cubicBezTo>
                  <a:pt x="244" y="210"/>
                  <a:pt x="273" y="218"/>
                  <a:pt x="306" y="223"/>
                </a:cubicBezTo>
                <a:cubicBezTo>
                  <a:pt x="302" y="224"/>
                  <a:pt x="297" y="224"/>
                  <a:pt x="292" y="225"/>
                </a:cubicBezTo>
                <a:cubicBezTo>
                  <a:pt x="258" y="230"/>
                  <a:pt x="226" y="234"/>
                  <a:pt x="205" y="238"/>
                </a:cubicBezTo>
                <a:cubicBezTo>
                  <a:pt x="205" y="189"/>
                  <a:pt x="205" y="189"/>
                  <a:pt x="205" y="189"/>
                </a:cubicBezTo>
                <a:cubicBezTo>
                  <a:pt x="209" y="192"/>
                  <a:pt x="215" y="195"/>
                  <a:pt x="221" y="198"/>
                </a:cubicBezTo>
                <a:close/>
                <a:moveTo>
                  <a:pt x="384" y="358"/>
                </a:moveTo>
                <a:cubicBezTo>
                  <a:pt x="358" y="368"/>
                  <a:pt x="322" y="373"/>
                  <a:pt x="283" y="373"/>
                </a:cubicBezTo>
                <a:cubicBezTo>
                  <a:pt x="245" y="373"/>
                  <a:pt x="209" y="368"/>
                  <a:pt x="182" y="358"/>
                </a:cubicBezTo>
                <a:cubicBezTo>
                  <a:pt x="156" y="348"/>
                  <a:pt x="147" y="337"/>
                  <a:pt x="147" y="331"/>
                </a:cubicBezTo>
                <a:cubicBezTo>
                  <a:pt x="147" y="322"/>
                  <a:pt x="162" y="309"/>
                  <a:pt x="195" y="299"/>
                </a:cubicBezTo>
                <a:cubicBezTo>
                  <a:pt x="201" y="298"/>
                  <a:pt x="205" y="292"/>
                  <a:pt x="205" y="286"/>
                </a:cubicBezTo>
                <a:cubicBezTo>
                  <a:pt x="205" y="265"/>
                  <a:pt x="205" y="265"/>
                  <a:pt x="205" y="265"/>
                </a:cubicBezTo>
                <a:cubicBezTo>
                  <a:pt x="225" y="261"/>
                  <a:pt x="261" y="256"/>
                  <a:pt x="296" y="251"/>
                </a:cubicBezTo>
                <a:cubicBezTo>
                  <a:pt x="318" y="248"/>
                  <a:pt x="341" y="245"/>
                  <a:pt x="361" y="242"/>
                </a:cubicBezTo>
                <a:cubicBezTo>
                  <a:pt x="361" y="286"/>
                  <a:pt x="361" y="286"/>
                  <a:pt x="361" y="286"/>
                </a:cubicBezTo>
                <a:cubicBezTo>
                  <a:pt x="361" y="292"/>
                  <a:pt x="365" y="298"/>
                  <a:pt x="371" y="299"/>
                </a:cubicBezTo>
                <a:cubicBezTo>
                  <a:pt x="404" y="309"/>
                  <a:pt x="420" y="322"/>
                  <a:pt x="420" y="331"/>
                </a:cubicBezTo>
                <a:cubicBezTo>
                  <a:pt x="420" y="337"/>
                  <a:pt x="410" y="348"/>
                  <a:pt x="384" y="35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8" name="Freeform 485"/>
          <p:cNvSpPr>
            <a:spLocks/>
          </p:cNvSpPr>
          <p:nvPr userDrawn="1"/>
        </p:nvSpPr>
        <p:spPr bwMode="auto">
          <a:xfrm>
            <a:off x="4261396" y="2861412"/>
            <a:ext cx="385863" cy="182166"/>
          </a:xfrm>
          <a:custGeom>
            <a:avLst/>
            <a:gdLst/>
            <a:ahLst/>
            <a:cxnLst>
              <a:cxn ang="0">
                <a:pos x="109" y="12"/>
              </a:cxn>
              <a:cxn ang="0">
                <a:pos x="51" y="53"/>
              </a:cxn>
              <a:cxn ang="0">
                <a:pos x="109" y="93"/>
              </a:cxn>
              <a:cxn ang="0">
                <a:pos x="227" y="105"/>
              </a:cxn>
              <a:cxn ang="0">
                <a:pos x="227" y="105"/>
              </a:cxn>
              <a:cxn ang="0">
                <a:pos x="346" y="93"/>
              </a:cxn>
              <a:cxn ang="0">
                <a:pos x="388" y="77"/>
              </a:cxn>
              <a:cxn ang="0">
                <a:pos x="427" y="152"/>
              </a:cxn>
              <a:cxn ang="0">
                <a:pos x="227" y="188"/>
              </a:cxn>
              <a:cxn ang="0">
                <a:pos x="28" y="152"/>
              </a:cxn>
              <a:cxn ang="0">
                <a:pos x="56" y="94"/>
              </a:cxn>
              <a:cxn ang="0">
                <a:pos x="58" y="88"/>
              </a:cxn>
              <a:cxn ang="0">
                <a:pos x="50" y="76"/>
              </a:cxn>
              <a:cxn ang="0">
                <a:pos x="32" y="82"/>
              </a:cxn>
              <a:cxn ang="0">
                <a:pos x="1" y="146"/>
              </a:cxn>
              <a:cxn ang="0">
                <a:pos x="0" y="152"/>
              </a:cxn>
              <a:cxn ang="0">
                <a:pos x="34" y="189"/>
              </a:cxn>
              <a:cxn ang="0">
                <a:pos x="227" y="215"/>
              </a:cxn>
              <a:cxn ang="0">
                <a:pos x="420" y="189"/>
              </a:cxn>
              <a:cxn ang="0">
                <a:pos x="455" y="152"/>
              </a:cxn>
              <a:cxn ang="0">
                <a:pos x="454" y="146"/>
              </a:cxn>
              <a:cxn ang="0">
                <a:pos x="402" y="46"/>
              </a:cxn>
              <a:cxn ang="0">
                <a:pos x="387" y="40"/>
              </a:cxn>
              <a:cxn ang="0">
                <a:pos x="377" y="52"/>
              </a:cxn>
              <a:cxn ang="0">
                <a:pos x="333" y="69"/>
              </a:cxn>
              <a:cxn ang="0">
                <a:pos x="227" y="79"/>
              </a:cxn>
              <a:cxn ang="0">
                <a:pos x="122" y="69"/>
              </a:cxn>
              <a:cxn ang="0">
                <a:pos x="79" y="53"/>
              </a:cxn>
              <a:cxn ang="0">
                <a:pos x="122" y="36"/>
              </a:cxn>
              <a:cxn ang="0">
                <a:pos x="227" y="27"/>
              </a:cxn>
              <a:cxn ang="0">
                <a:pos x="241" y="13"/>
              </a:cxn>
              <a:cxn ang="0">
                <a:pos x="227" y="0"/>
              </a:cxn>
              <a:cxn ang="0">
                <a:pos x="109" y="12"/>
              </a:cxn>
            </a:cxnLst>
            <a:rect l="0" t="0" r="r" b="b"/>
            <a:pathLst>
              <a:path w="455" h="215">
                <a:moveTo>
                  <a:pt x="109" y="12"/>
                </a:moveTo>
                <a:cubicBezTo>
                  <a:pt x="70" y="21"/>
                  <a:pt x="51" y="35"/>
                  <a:pt x="51" y="53"/>
                </a:cubicBezTo>
                <a:cubicBezTo>
                  <a:pt x="51" y="71"/>
                  <a:pt x="70" y="84"/>
                  <a:pt x="109" y="93"/>
                </a:cubicBezTo>
                <a:cubicBezTo>
                  <a:pt x="141" y="101"/>
                  <a:pt x="183" y="105"/>
                  <a:pt x="227" y="105"/>
                </a:cubicBezTo>
                <a:cubicBezTo>
                  <a:pt x="227" y="105"/>
                  <a:pt x="227" y="105"/>
                  <a:pt x="227" y="105"/>
                </a:cubicBezTo>
                <a:cubicBezTo>
                  <a:pt x="272" y="105"/>
                  <a:pt x="314" y="101"/>
                  <a:pt x="346" y="93"/>
                </a:cubicBezTo>
                <a:cubicBezTo>
                  <a:pt x="365" y="89"/>
                  <a:pt x="379" y="83"/>
                  <a:pt x="388" y="77"/>
                </a:cubicBezTo>
                <a:cubicBezTo>
                  <a:pt x="400" y="99"/>
                  <a:pt x="419" y="135"/>
                  <a:pt x="427" y="152"/>
                </a:cubicBezTo>
                <a:cubicBezTo>
                  <a:pt x="421" y="160"/>
                  <a:pt x="388" y="188"/>
                  <a:pt x="227" y="188"/>
                </a:cubicBezTo>
                <a:cubicBezTo>
                  <a:pt x="67" y="188"/>
                  <a:pt x="34" y="160"/>
                  <a:pt x="28" y="152"/>
                </a:cubicBezTo>
                <a:cubicBezTo>
                  <a:pt x="37" y="131"/>
                  <a:pt x="56" y="95"/>
                  <a:pt x="56" y="94"/>
                </a:cubicBezTo>
                <a:cubicBezTo>
                  <a:pt x="57" y="92"/>
                  <a:pt x="58" y="90"/>
                  <a:pt x="58" y="88"/>
                </a:cubicBezTo>
                <a:cubicBezTo>
                  <a:pt x="58" y="83"/>
                  <a:pt x="55" y="79"/>
                  <a:pt x="50" y="76"/>
                </a:cubicBezTo>
                <a:cubicBezTo>
                  <a:pt x="44" y="73"/>
                  <a:pt x="36" y="75"/>
                  <a:pt x="32" y="82"/>
                </a:cubicBezTo>
                <a:cubicBezTo>
                  <a:pt x="32" y="84"/>
                  <a:pt x="9" y="127"/>
                  <a:pt x="1" y="146"/>
                </a:cubicBezTo>
                <a:cubicBezTo>
                  <a:pt x="0" y="148"/>
                  <a:pt x="0" y="150"/>
                  <a:pt x="0" y="152"/>
                </a:cubicBezTo>
                <a:cubicBezTo>
                  <a:pt x="0" y="157"/>
                  <a:pt x="2" y="174"/>
                  <a:pt x="34" y="189"/>
                </a:cubicBezTo>
                <a:cubicBezTo>
                  <a:pt x="72" y="206"/>
                  <a:pt x="137" y="215"/>
                  <a:pt x="227" y="215"/>
                </a:cubicBezTo>
                <a:cubicBezTo>
                  <a:pt x="318" y="215"/>
                  <a:pt x="383" y="206"/>
                  <a:pt x="420" y="189"/>
                </a:cubicBezTo>
                <a:cubicBezTo>
                  <a:pt x="452" y="174"/>
                  <a:pt x="455" y="157"/>
                  <a:pt x="455" y="152"/>
                </a:cubicBezTo>
                <a:cubicBezTo>
                  <a:pt x="455" y="150"/>
                  <a:pt x="455" y="148"/>
                  <a:pt x="454" y="146"/>
                </a:cubicBezTo>
                <a:cubicBezTo>
                  <a:pt x="445" y="127"/>
                  <a:pt x="404" y="50"/>
                  <a:pt x="402" y="46"/>
                </a:cubicBezTo>
                <a:cubicBezTo>
                  <a:pt x="399" y="41"/>
                  <a:pt x="393" y="38"/>
                  <a:pt x="387" y="40"/>
                </a:cubicBezTo>
                <a:cubicBezTo>
                  <a:pt x="381" y="41"/>
                  <a:pt x="378" y="46"/>
                  <a:pt x="377" y="52"/>
                </a:cubicBezTo>
                <a:cubicBezTo>
                  <a:pt x="375" y="54"/>
                  <a:pt x="365" y="62"/>
                  <a:pt x="333" y="69"/>
                </a:cubicBezTo>
                <a:cubicBezTo>
                  <a:pt x="304" y="75"/>
                  <a:pt x="266" y="79"/>
                  <a:pt x="227" y="79"/>
                </a:cubicBezTo>
                <a:cubicBezTo>
                  <a:pt x="188" y="79"/>
                  <a:pt x="151" y="75"/>
                  <a:pt x="122" y="69"/>
                </a:cubicBezTo>
                <a:cubicBezTo>
                  <a:pt x="94" y="63"/>
                  <a:pt x="82" y="56"/>
                  <a:pt x="79" y="53"/>
                </a:cubicBezTo>
                <a:cubicBezTo>
                  <a:pt x="82" y="49"/>
                  <a:pt x="94" y="42"/>
                  <a:pt x="122" y="36"/>
                </a:cubicBezTo>
                <a:cubicBezTo>
                  <a:pt x="151" y="30"/>
                  <a:pt x="188" y="27"/>
                  <a:pt x="227" y="27"/>
                </a:cubicBezTo>
                <a:cubicBezTo>
                  <a:pt x="235" y="27"/>
                  <a:pt x="241" y="21"/>
                  <a:pt x="241" y="13"/>
                </a:cubicBezTo>
                <a:cubicBezTo>
                  <a:pt x="241" y="6"/>
                  <a:pt x="235" y="0"/>
                  <a:pt x="227" y="0"/>
                </a:cubicBezTo>
                <a:cubicBezTo>
                  <a:pt x="183" y="0"/>
                  <a:pt x="141" y="4"/>
                  <a:pt x="109" y="1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9" name="Freeform 505"/>
          <p:cNvSpPr>
            <a:spLocks/>
          </p:cNvSpPr>
          <p:nvPr userDrawn="1"/>
        </p:nvSpPr>
        <p:spPr bwMode="auto">
          <a:xfrm>
            <a:off x="4267351" y="3825035"/>
            <a:ext cx="373953" cy="334566"/>
          </a:xfrm>
          <a:custGeom>
            <a:avLst/>
            <a:gdLst/>
            <a:ahLst/>
            <a:cxnLst>
              <a:cxn ang="0">
                <a:pos x="273" y="396"/>
              </a:cxn>
              <a:cxn ang="0">
                <a:pos x="15" y="396"/>
              </a:cxn>
              <a:cxn ang="0">
                <a:pos x="5" y="374"/>
              </a:cxn>
              <a:cxn ang="0">
                <a:pos x="91" y="278"/>
              </a:cxn>
              <a:cxn ang="0">
                <a:pos x="224" y="283"/>
              </a:cxn>
              <a:cxn ang="0">
                <a:pos x="341" y="240"/>
              </a:cxn>
              <a:cxn ang="0">
                <a:pos x="248" y="270"/>
              </a:cxn>
              <a:cxn ang="0">
                <a:pos x="109" y="274"/>
              </a:cxn>
              <a:cxn ang="0">
                <a:pos x="99" y="252"/>
              </a:cxn>
              <a:cxn ang="0">
                <a:pos x="182" y="167"/>
              </a:cxn>
              <a:cxn ang="0">
                <a:pos x="282" y="181"/>
              </a:cxn>
              <a:cxn ang="0">
                <a:pos x="188" y="194"/>
              </a:cxn>
              <a:cxn ang="0">
                <a:pos x="233" y="248"/>
              </a:cxn>
              <a:cxn ang="0">
                <a:pos x="306" y="172"/>
              </a:cxn>
              <a:cxn ang="0">
                <a:pos x="369" y="231"/>
              </a:cxn>
              <a:cxn ang="0">
                <a:pos x="272" y="352"/>
              </a:cxn>
              <a:cxn ang="0">
                <a:pos x="262" y="356"/>
              </a:cxn>
              <a:cxn ang="0">
                <a:pos x="209" y="305"/>
              </a:cxn>
              <a:cxn ang="0">
                <a:pos x="43" y="369"/>
              </a:cxn>
              <a:cxn ang="0">
                <a:pos x="361" y="337"/>
              </a:cxn>
              <a:cxn ang="0">
                <a:pos x="412" y="66"/>
              </a:cxn>
              <a:cxn ang="0">
                <a:pos x="343" y="51"/>
              </a:cxn>
              <a:cxn ang="0">
                <a:pos x="262" y="51"/>
              </a:cxn>
              <a:cxn ang="0">
                <a:pos x="181" y="51"/>
              </a:cxn>
              <a:cxn ang="0">
                <a:pos x="101" y="51"/>
              </a:cxn>
              <a:cxn ang="0">
                <a:pos x="6" y="17"/>
              </a:cxn>
              <a:cxn ang="0">
                <a:pos x="32" y="12"/>
              </a:cxn>
              <a:cxn ang="0">
                <a:pos x="87" y="13"/>
              </a:cxn>
              <a:cxn ang="0">
                <a:pos x="113" y="11"/>
              </a:cxn>
              <a:cxn ang="0">
                <a:pos x="168" y="12"/>
              </a:cxn>
              <a:cxn ang="0">
                <a:pos x="194" y="11"/>
              </a:cxn>
              <a:cxn ang="0">
                <a:pos x="249" y="12"/>
              </a:cxn>
              <a:cxn ang="0">
                <a:pos x="262" y="1"/>
              </a:cxn>
              <a:cxn ang="0">
                <a:pos x="303" y="51"/>
              </a:cxn>
              <a:cxn ang="0">
                <a:pos x="343" y="1"/>
              </a:cxn>
              <a:cxn ang="0">
                <a:pos x="356" y="11"/>
              </a:cxn>
              <a:cxn ang="0">
                <a:pos x="411" y="12"/>
              </a:cxn>
              <a:cxn ang="0">
                <a:pos x="437" y="14"/>
              </a:cxn>
              <a:cxn ang="0">
                <a:pos x="379" y="357"/>
              </a:cxn>
              <a:cxn ang="0">
                <a:pos x="290" y="396"/>
              </a:cxn>
            </a:cxnLst>
            <a:rect l="0" t="0" r="r" b="b"/>
            <a:pathLst>
              <a:path w="441" h="396">
                <a:moveTo>
                  <a:pt x="279" y="396"/>
                </a:moveTo>
                <a:cubicBezTo>
                  <a:pt x="275" y="396"/>
                  <a:pt x="273" y="396"/>
                  <a:pt x="273" y="396"/>
                </a:cubicBezTo>
                <a:cubicBezTo>
                  <a:pt x="272" y="396"/>
                  <a:pt x="271" y="396"/>
                  <a:pt x="271" y="396"/>
                </a:cubicBezTo>
                <a:cubicBezTo>
                  <a:pt x="15" y="396"/>
                  <a:pt x="15" y="396"/>
                  <a:pt x="15" y="396"/>
                </a:cubicBezTo>
                <a:cubicBezTo>
                  <a:pt x="10" y="396"/>
                  <a:pt x="5" y="393"/>
                  <a:pt x="3" y="388"/>
                </a:cubicBezTo>
                <a:cubicBezTo>
                  <a:pt x="0" y="383"/>
                  <a:pt x="1" y="378"/>
                  <a:pt x="5" y="374"/>
                </a:cubicBezTo>
                <a:cubicBezTo>
                  <a:pt x="81" y="283"/>
                  <a:pt x="81" y="283"/>
                  <a:pt x="81" y="283"/>
                </a:cubicBezTo>
                <a:cubicBezTo>
                  <a:pt x="83" y="280"/>
                  <a:pt x="87" y="278"/>
                  <a:pt x="91" y="278"/>
                </a:cubicBezTo>
                <a:cubicBezTo>
                  <a:pt x="214" y="278"/>
                  <a:pt x="214" y="278"/>
                  <a:pt x="214" y="278"/>
                </a:cubicBezTo>
                <a:cubicBezTo>
                  <a:pt x="218" y="278"/>
                  <a:pt x="222" y="280"/>
                  <a:pt x="224" y="283"/>
                </a:cubicBezTo>
                <a:cubicBezTo>
                  <a:pt x="263" y="323"/>
                  <a:pt x="263" y="323"/>
                  <a:pt x="263" y="323"/>
                </a:cubicBezTo>
                <a:cubicBezTo>
                  <a:pt x="341" y="240"/>
                  <a:pt x="341" y="240"/>
                  <a:pt x="341" y="240"/>
                </a:cubicBezTo>
                <a:cubicBezTo>
                  <a:pt x="307" y="205"/>
                  <a:pt x="307" y="205"/>
                  <a:pt x="307" y="205"/>
                </a:cubicBezTo>
                <a:cubicBezTo>
                  <a:pt x="248" y="270"/>
                  <a:pt x="248" y="270"/>
                  <a:pt x="248" y="270"/>
                </a:cubicBezTo>
                <a:cubicBezTo>
                  <a:pt x="246" y="273"/>
                  <a:pt x="242" y="274"/>
                  <a:pt x="238" y="274"/>
                </a:cubicBezTo>
                <a:cubicBezTo>
                  <a:pt x="109" y="274"/>
                  <a:pt x="109" y="274"/>
                  <a:pt x="109" y="274"/>
                </a:cubicBezTo>
                <a:cubicBezTo>
                  <a:pt x="104" y="274"/>
                  <a:pt x="99" y="271"/>
                  <a:pt x="97" y="266"/>
                </a:cubicBezTo>
                <a:cubicBezTo>
                  <a:pt x="95" y="262"/>
                  <a:pt x="96" y="256"/>
                  <a:pt x="99" y="252"/>
                </a:cubicBezTo>
                <a:cubicBezTo>
                  <a:pt x="172" y="172"/>
                  <a:pt x="172" y="172"/>
                  <a:pt x="172" y="172"/>
                </a:cubicBezTo>
                <a:cubicBezTo>
                  <a:pt x="175" y="169"/>
                  <a:pt x="178" y="167"/>
                  <a:pt x="182" y="167"/>
                </a:cubicBezTo>
                <a:cubicBezTo>
                  <a:pt x="268" y="167"/>
                  <a:pt x="268" y="167"/>
                  <a:pt x="268" y="167"/>
                </a:cubicBezTo>
                <a:cubicBezTo>
                  <a:pt x="276" y="167"/>
                  <a:pt x="282" y="173"/>
                  <a:pt x="282" y="181"/>
                </a:cubicBezTo>
                <a:cubicBezTo>
                  <a:pt x="282" y="188"/>
                  <a:pt x="276" y="194"/>
                  <a:pt x="268" y="194"/>
                </a:cubicBezTo>
                <a:cubicBezTo>
                  <a:pt x="188" y="194"/>
                  <a:pt x="188" y="194"/>
                  <a:pt x="188" y="194"/>
                </a:cubicBezTo>
                <a:cubicBezTo>
                  <a:pt x="139" y="248"/>
                  <a:pt x="139" y="248"/>
                  <a:pt x="139" y="248"/>
                </a:cubicBezTo>
                <a:cubicBezTo>
                  <a:pt x="233" y="248"/>
                  <a:pt x="233" y="248"/>
                  <a:pt x="233" y="248"/>
                </a:cubicBezTo>
                <a:cubicBezTo>
                  <a:pt x="297" y="176"/>
                  <a:pt x="297" y="176"/>
                  <a:pt x="297" y="176"/>
                </a:cubicBezTo>
                <a:cubicBezTo>
                  <a:pt x="299" y="174"/>
                  <a:pt x="302" y="172"/>
                  <a:pt x="306" y="172"/>
                </a:cubicBezTo>
                <a:cubicBezTo>
                  <a:pt x="310" y="172"/>
                  <a:pt x="313" y="173"/>
                  <a:pt x="316" y="176"/>
                </a:cubicBezTo>
                <a:cubicBezTo>
                  <a:pt x="369" y="231"/>
                  <a:pt x="369" y="231"/>
                  <a:pt x="369" y="231"/>
                </a:cubicBezTo>
                <a:cubicBezTo>
                  <a:pt x="374" y="236"/>
                  <a:pt x="374" y="244"/>
                  <a:pt x="369" y="250"/>
                </a:cubicBezTo>
                <a:cubicBezTo>
                  <a:pt x="272" y="352"/>
                  <a:pt x="272" y="352"/>
                  <a:pt x="272" y="352"/>
                </a:cubicBezTo>
                <a:cubicBezTo>
                  <a:pt x="270" y="355"/>
                  <a:pt x="266" y="356"/>
                  <a:pt x="262" y="356"/>
                </a:cubicBezTo>
                <a:cubicBezTo>
                  <a:pt x="262" y="356"/>
                  <a:pt x="262" y="356"/>
                  <a:pt x="262" y="356"/>
                </a:cubicBezTo>
                <a:cubicBezTo>
                  <a:pt x="259" y="356"/>
                  <a:pt x="255" y="355"/>
                  <a:pt x="253" y="352"/>
                </a:cubicBezTo>
                <a:cubicBezTo>
                  <a:pt x="209" y="305"/>
                  <a:pt x="209" y="305"/>
                  <a:pt x="209" y="305"/>
                </a:cubicBezTo>
                <a:cubicBezTo>
                  <a:pt x="97" y="305"/>
                  <a:pt x="97" y="305"/>
                  <a:pt x="97" y="305"/>
                </a:cubicBezTo>
                <a:cubicBezTo>
                  <a:pt x="43" y="369"/>
                  <a:pt x="43" y="369"/>
                  <a:pt x="43" y="369"/>
                </a:cubicBezTo>
                <a:cubicBezTo>
                  <a:pt x="288" y="369"/>
                  <a:pt x="288" y="369"/>
                  <a:pt x="288" y="369"/>
                </a:cubicBezTo>
                <a:cubicBezTo>
                  <a:pt x="305" y="368"/>
                  <a:pt x="335" y="361"/>
                  <a:pt x="361" y="337"/>
                </a:cubicBezTo>
                <a:cubicBezTo>
                  <a:pt x="396" y="306"/>
                  <a:pt x="413" y="253"/>
                  <a:pt x="414" y="181"/>
                </a:cubicBezTo>
                <a:cubicBezTo>
                  <a:pt x="414" y="141"/>
                  <a:pt x="413" y="98"/>
                  <a:pt x="412" y="66"/>
                </a:cubicBezTo>
                <a:cubicBezTo>
                  <a:pt x="405" y="73"/>
                  <a:pt x="395" y="78"/>
                  <a:pt x="384" y="78"/>
                </a:cubicBezTo>
                <a:cubicBezTo>
                  <a:pt x="366" y="78"/>
                  <a:pt x="352" y="65"/>
                  <a:pt x="343" y="51"/>
                </a:cubicBezTo>
                <a:cubicBezTo>
                  <a:pt x="335" y="65"/>
                  <a:pt x="321" y="78"/>
                  <a:pt x="303" y="78"/>
                </a:cubicBezTo>
                <a:cubicBezTo>
                  <a:pt x="285" y="78"/>
                  <a:pt x="271" y="65"/>
                  <a:pt x="262" y="51"/>
                </a:cubicBezTo>
                <a:cubicBezTo>
                  <a:pt x="254" y="65"/>
                  <a:pt x="240" y="78"/>
                  <a:pt x="222" y="78"/>
                </a:cubicBezTo>
                <a:cubicBezTo>
                  <a:pt x="204" y="78"/>
                  <a:pt x="190" y="65"/>
                  <a:pt x="181" y="51"/>
                </a:cubicBezTo>
                <a:cubicBezTo>
                  <a:pt x="173" y="65"/>
                  <a:pt x="160" y="78"/>
                  <a:pt x="141" y="78"/>
                </a:cubicBezTo>
                <a:cubicBezTo>
                  <a:pt x="123" y="78"/>
                  <a:pt x="110" y="65"/>
                  <a:pt x="101" y="51"/>
                </a:cubicBezTo>
                <a:cubicBezTo>
                  <a:pt x="92" y="66"/>
                  <a:pt x="79" y="78"/>
                  <a:pt x="60" y="78"/>
                </a:cubicBezTo>
                <a:cubicBezTo>
                  <a:pt x="28" y="78"/>
                  <a:pt x="11" y="40"/>
                  <a:pt x="6" y="17"/>
                </a:cubicBezTo>
                <a:cubicBezTo>
                  <a:pt x="5" y="10"/>
                  <a:pt x="9" y="3"/>
                  <a:pt x="16" y="2"/>
                </a:cubicBezTo>
                <a:cubicBezTo>
                  <a:pt x="24" y="0"/>
                  <a:pt x="31" y="5"/>
                  <a:pt x="32" y="12"/>
                </a:cubicBezTo>
                <a:cubicBezTo>
                  <a:pt x="35" y="25"/>
                  <a:pt x="46" y="51"/>
                  <a:pt x="60" y="51"/>
                </a:cubicBezTo>
                <a:cubicBezTo>
                  <a:pt x="76" y="51"/>
                  <a:pt x="85" y="22"/>
                  <a:pt x="87" y="13"/>
                </a:cubicBezTo>
                <a:cubicBezTo>
                  <a:pt x="88" y="7"/>
                  <a:pt x="92" y="2"/>
                  <a:pt x="99" y="1"/>
                </a:cubicBezTo>
                <a:cubicBezTo>
                  <a:pt x="105" y="0"/>
                  <a:pt x="112" y="5"/>
                  <a:pt x="113" y="11"/>
                </a:cubicBezTo>
                <a:cubicBezTo>
                  <a:pt x="116" y="24"/>
                  <a:pt x="127" y="51"/>
                  <a:pt x="141" y="51"/>
                </a:cubicBezTo>
                <a:cubicBezTo>
                  <a:pt x="157" y="51"/>
                  <a:pt x="166" y="20"/>
                  <a:pt x="168" y="12"/>
                </a:cubicBezTo>
                <a:cubicBezTo>
                  <a:pt x="169" y="6"/>
                  <a:pt x="175" y="1"/>
                  <a:pt x="181" y="1"/>
                </a:cubicBezTo>
                <a:cubicBezTo>
                  <a:pt x="187" y="1"/>
                  <a:pt x="193" y="5"/>
                  <a:pt x="194" y="11"/>
                </a:cubicBezTo>
                <a:cubicBezTo>
                  <a:pt x="197" y="24"/>
                  <a:pt x="208" y="51"/>
                  <a:pt x="222" y="51"/>
                </a:cubicBezTo>
                <a:cubicBezTo>
                  <a:pt x="238" y="51"/>
                  <a:pt x="247" y="20"/>
                  <a:pt x="249" y="12"/>
                </a:cubicBezTo>
                <a:cubicBezTo>
                  <a:pt x="250" y="6"/>
                  <a:pt x="255" y="1"/>
                  <a:pt x="262" y="1"/>
                </a:cubicBezTo>
                <a:cubicBezTo>
                  <a:pt x="262" y="1"/>
                  <a:pt x="262" y="1"/>
                  <a:pt x="262" y="1"/>
                </a:cubicBezTo>
                <a:cubicBezTo>
                  <a:pt x="268" y="1"/>
                  <a:pt x="274" y="5"/>
                  <a:pt x="275" y="11"/>
                </a:cubicBezTo>
                <a:cubicBezTo>
                  <a:pt x="278" y="24"/>
                  <a:pt x="289" y="51"/>
                  <a:pt x="303" y="51"/>
                </a:cubicBezTo>
                <a:cubicBezTo>
                  <a:pt x="319" y="51"/>
                  <a:pt x="328" y="20"/>
                  <a:pt x="330" y="12"/>
                </a:cubicBezTo>
                <a:cubicBezTo>
                  <a:pt x="331" y="6"/>
                  <a:pt x="336" y="1"/>
                  <a:pt x="343" y="1"/>
                </a:cubicBezTo>
                <a:cubicBezTo>
                  <a:pt x="343" y="1"/>
                  <a:pt x="343" y="1"/>
                  <a:pt x="343" y="1"/>
                </a:cubicBezTo>
                <a:cubicBezTo>
                  <a:pt x="349" y="1"/>
                  <a:pt x="355" y="5"/>
                  <a:pt x="356" y="11"/>
                </a:cubicBezTo>
                <a:cubicBezTo>
                  <a:pt x="359" y="24"/>
                  <a:pt x="369" y="51"/>
                  <a:pt x="384" y="51"/>
                </a:cubicBezTo>
                <a:cubicBezTo>
                  <a:pt x="400" y="51"/>
                  <a:pt x="409" y="20"/>
                  <a:pt x="411" y="12"/>
                </a:cubicBezTo>
                <a:cubicBezTo>
                  <a:pt x="412" y="5"/>
                  <a:pt x="418" y="1"/>
                  <a:pt x="425" y="1"/>
                </a:cubicBezTo>
                <a:cubicBezTo>
                  <a:pt x="432" y="2"/>
                  <a:pt x="437" y="7"/>
                  <a:pt x="437" y="14"/>
                </a:cubicBezTo>
                <a:cubicBezTo>
                  <a:pt x="437" y="15"/>
                  <a:pt x="441" y="103"/>
                  <a:pt x="441" y="181"/>
                </a:cubicBezTo>
                <a:cubicBezTo>
                  <a:pt x="440" y="261"/>
                  <a:pt x="419" y="320"/>
                  <a:pt x="379" y="357"/>
                </a:cubicBezTo>
                <a:cubicBezTo>
                  <a:pt x="348" y="386"/>
                  <a:pt x="313" y="394"/>
                  <a:pt x="292" y="396"/>
                </a:cubicBezTo>
                <a:cubicBezTo>
                  <a:pt x="291" y="396"/>
                  <a:pt x="291" y="396"/>
                  <a:pt x="290" y="396"/>
                </a:cubicBezTo>
                <a:cubicBezTo>
                  <a:pt x="285" y="396"/>
                  <a:pt x="282" y="396"/>
                  <a:pt x="279" y="39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0" name="Freeform 167"/>
          <p:cNvSpPr>
            <a:spLocks/>
          </p:cNvSpPr>
          <p:nvPr userDrawn="1"/>
        </p:nvSpPr>
        <p:spPr bwMode="auto">
          <a:xfrm>
            <a:off x="4728805" y="872433"/>
            <a:ext cx="367999" cy="388144"/>
          </a:xfrm>
          <a:custGeom>
            <a:avLst/>
            <a:gdLst/>
            <a:ahLst/>
            <a:cxnLst>
              <a:cxn ang="0">
                <a:pos x="114" y="13"/>
              </a:cxn>
              <a:cxn ang="0">
                <a:pos x="128" y="71"/>
              </a:cxn>
              <a:cxn ang="0">
                <a:pos x="150" y="112"/>
              </a:cxn>
              <a:cxn ang="0">
                <a:pos x="153" y="123"/>
              </a:cxn>
              <a:cxn ang="0">
                <a:pos x="160" y="137"/>
              </a:cxn>
              <a:cxn ang="0">
                <a:pos x="141" y="181"/>
              </a:cxn>
              <a:cxn ang="0">
                <a:pos x="145" y="193"/>
              </a:cxn>
              <a:cxn ang="0">
                <a:pos x="146" y="217"/>
              </a:cxn>
              <a:cxn ang="0">
                <a:pos x="118" y="299"/>
              </a:cxn>
              <a:cxn ang="0">
                <a:pos x="129" y="314"/>
              </a:cxn>
              <a:cxn ang="0">
                <a:pos x="157" y="244"/>
              </a:cxn>
              <a:cxn ang="0">
                <a:pos x="220" y="236"/>
              </a:cxn>
              <a:cxn ang="0">
                <a:pos x="216" y="221"/>
              </a:cxn>
              <a:cxn ang="0">
                <a:pos x="171" y="163"/>
              </a:cxn>
              <a:cxn ang="0">
                <a:pos x="209" y="156"/>
              </a:cxn>
              <a:cxn ang="0">
                <a:pos x="206" y="141"/>
              </a:cxn>
              <a:cxn ang="0">
                <a:pos x="186" y="60"/>
              </a:cxn>
              <a:cxn ang="0">
                <a:pos x="183" y="49"/>
              </a:cxn>
              <a:cxn ang="0">
                <a:pos x="141" y="44"/>
              </a:cxn>
              <a:cxn ang="0">
                <a:pos x="244" y="26"/>
              </a:cxn>
              <a:cxn ang="0">
                <a:pos x="214" y="44"/>
              </a:cxn>
              <a:cxn ang="0">
                <a:pos x="201" y="57"/>
              </a:cxn>
              <a:cxn ang="0">
                <a:pos x="246" y="321"/>
              </a:cxn>
              <a:cxn ang="0">
                <a:pos x="0" y="334"/>
              </a:cxn>
              <a:cxn ang="0">
                <a:pos x="13" y="411"/>
              </a:cxn>
              <a:cxn ang="0">
                <a:pos x="145" y="445"/>
              </a:cxn>
              <a:cxn ang="0">
                <a:pos x="213" y="459"/>
              </a:cxn>
              <a:cxn ang="0">
                <a:pos x="254" y="423"/>
              </a:cxn>
              <a:cxn ang="0">
                <a:pos x="295" y="459"/>
              </a:cxn>
              <a:cxn ang="0">
                <a:pos x="337" y="423"/>
              </a:cxn>
              <a:cxn ang="0">
                <a:pos x="378" y="459"/>
              </a:cxn>
              <a:cxn ang="0">
                <a:pos x="432" y="397"/>
              </a:cxn>
              <a:cxn ang="0">
                <a:pos x="407" y="388"/>
              </a:cxn>
              <a:cxn ang="0">
                <a:pos x="349" y="388"/>
              </a:cxn>
              <a:cxn ang="0">
                <a:pos x="324" y="388"/>
              </a:cxn>
              <a:cxn ang="0">
                <a:pos x="267" y="387"/>
              </a:cxn>
              <a:cxn ang="0">
                <a:pos x="242" y="387"/>
              </a:cxn>
              <a:cxn ang="0">
                <a:pos x="172" y="432"/>
              </a:cxn>
              <a:cxn ang="0">
                <a:pos x="158" y="384"/>
              </a:cxn>
              <a:cxn ang="0">
                <a:pos x="26" y="347"/>
              </a:cxn>
              <a:cxn ang="0">
                <a:pos x="272" y="343"/>
              </a:cxn>
              <a:cxn ang="0">
                <a:pos x="275" y="332"/>
              </a:cxn>
              <a:cxn ang="0">
                <a:pos x="258" y="71"/>
              </a:cxn>
              <a:cxn ang="0">
                <a:pos x="271" y="13"/>
              </a:cxn>
              <a:cxn ang="0">
                <a:pos x="128" y="0"/>
              </a:cxn>
            </a:cxnLst>
            <a:rect l="0" t="0" r="r" b="b"/>
            <a:pathLst>
              <a:path w="435" h="459">
                <a:moveTo>
                  <a:pt x="128" y="0"/>
                </a:moveTo>
                <a:cubicBezTo>
                  <a:pt x="120" y="0"/>
                  <a:pt x="114" y="6"/>
                  <a:pt x="114" y="13"/>
                </a:cubicBezTo>
                <a:cubicBezTo>
                  <a:pt x="114" y="57"/>
                  <a:pt x="114" y="57"/>
                  <a:pt x="114" y="57"/>
                </a:cubicBezTo>
                <a:cubicBezTo>
                  <a:pt x="114" y="65"/>
                  <a:pt x="120" y="71"/>
                  <a:pt x="128" y="71"/>
                </a:cubicBezTo>
                <a:cubicBezTo>
                  <a:pt x="128" y="71"/>
                  <a:pt x="144" y="71"/>
                  <a:pt x="157" y="71"/>
                </a:cubicBezTo>
                <a:cubicBezTo>
                  <a:pt x="154" y="87"/>
                  <a:pt x="150" y="112"/>
                  <a:pt x="150" y="112"/>
                </a:cubicBezTo>
                <a:cubicBezTo>
                  <a:pt x="150" y="113"/>
                  <a:pt x="150" y="113"/>
                  <a:pt x="150" y="114"/>
                </a:cubicBezTo>
                <a:cubicBezTo>
                  <a:pt x="150" y="117"/>
                  <a:pt x="151" y="121"/>
                  <a:pt x="153" y="123"/>
                </a:cubicBezTo>
                <a:cubicBezTo>
                  <a:pt x="153" y="123"/>
                  <a:pt x="160" y="130"/>
                  <a:pt x="166" y="137"/>
                </a:cubicBezTo>
                <a:cubicBezTo>
                  <a:pt x="164" y="137"/>
                  <a:pt x="160" y="137"/>
                  <a:pt x="160" y="137"/>
                </a:cubicBezTo>
                <a:cubicBezTo>
                  <a:pt x="153" y="137"/>
                  <a:pt x="147" y="141"/>
                  <a:pt x="146" y="148"/>
                </a:cubicBezTo>
                <a:cubicBezTo>
                  <a:pt x="141" y="181"/>
                  <a:pt x="141" y="181"/>
                  <a:pt x="141" y="181"/>
                </a:cubicBezTo>
                <a:cubicBezTo>
                  <a:pt x="141" y="181"/>
                  <a:pt x="141" y="182"/>
                  <a:pt x="141" y="183"/>
                </a:cubicBezTo>
                <a:cubicBezTo>
                  <a:pt x="141" y="186"/>
                  <a:pt x="142" y="190"/>
                  <a:pt x="145" y="193"/>
                </a:cubicBezTo>
                <a:cubicBezTo>
                  <a:pt x="145" y="193"/>
                  <a:pt x="159" y="205"/>
                  <a:pt x="173" y="217"/>
                </a:cubicBezTo>
                <a:cubicBezTo>
                  <a:pt x="160" y="217"/>
                  <a:pt x="146" y="217"/>
                  <a:pt x="146" y="217"/>
                </a:cubicBezTo>
                <a:cubicBezTo>
                  <a:pt x="140" y="217"/>
                  <a:pt x="134" y="222"/>
                  <a:pt x="133" y="228"/>
                </a:cubicBezTo>
                <a:cubicBezTo>
                  <a:pt x="118" y="299"/>
                  <a:pt x="118" y="299"/>
                  <a:pt x="118" y="299"/>
                </a:cubicBezTo>
                <a:cubicBezTo>
                  <a:pt x="118" y="300"/>
                  <a:pt x="118" y="300"/>
                  <a:pt x="118" y="301"/>
                </a:cubicBezTo>
                <a:cubicBezTo>
                  <a:pt x="118" y="308"/>
                  <a:pt x="122" y="313"/>
                  <a:pt x="129" y="314"/>
                </a:cubicBezTo>
                <a:cubicBezTo>
                  <a:pt x="136" y="316"/>
                  <a:pt x="143" y="311"/>
                  <a:pt x="145" y="304"/>
                </a:cubicBezTo>
                <a:cubicBezTo>
                  <a:pt x="145" y="304"/>
                  <a:pt x="154" y="260"/>
                  <a:pt x="157" y="244"/>
                </a:cubicBezTo>
                <a:cubicBezTo>
                  <a:pt x="171" y="244"/>
                  <a:pt x="207" y="244"/>
                  <a:pt x="207" y="244"/>
                </a:cubicBezTo>
                <a:cubicBezTo>
                  <a:pt x="213" y="244"/>
                  <a:pt x="218" y="241"/>
                  <a:pt x="220" y="236"/>
                </a:cubicBezTo>
                <a:cubicBezTo>
                  <a:pt x="221" y="234"/>
                  <a:pt x="221" y="232"/>
                  <a:pt x="221" y="231"/>
                </a:cubicBezTo>
                <a:cubicBezTo>
                  <a:pt x="221" y="227"/>
                  <a:pt x="219" y="224"/>
                  <a:pt x="216" y="221"/>
                </a:cubicBezTo>
                <a:cubicBezTo>
                  <a:pt x="216" y="221"/>
                  <a:pt x="177" y="186"/>
                  <a:pt x="168" y="178"/>
                </a:cubicBezTo>
                <a:cubicBezTo>
                  <a:pt x="169" y="173"/>
                  <a:pt x="170" y="170"/>
                  <a:pt x="171" y="163"/>
                </a:cubicBezTo>
                <a:cubicBezTo>
                  <a:pt x="182" y="163"/>
                  <a:pt x="197" y="163"/>
                  <a:pt x="197" y="163"/>
                </a:cubicBezTo>
                <a:cubicBezTo>
                  <a:pt x="202" y="164"/>
                  <a:pt x="207" y="160"/>
                  <a:pt x="209" y="156"/>
                </a:cubicBezTo>
                <a:cubicBezTo>
                  <a:pt x="210" y="154"/>
                  <a:pt x="210" y="152"/>
                  <a:pt x="210" y="150"/>
                </a:cubicBezTo>
                <a:cubicBezTo>
                  <a:pt x="210" y="147"/>
                  <a:pt x="209" y="144"/>
                  <a:pt x="206" y="141"/>
                </a:cubicBezTo>
                <a:cubicBezTo>
                  <a:pt x="206" y="141"/>
                  <a:pt x="184" y="117"/>
                  <a:pt x="177" y="110"/>
                </a:cubicBezTo>
                <a:cubicBezTo>
                  <a:pt x="179" y="100"/>
                  <a:pt x="186" y="60"/>
                  <a:pt x="186" y="60"/>
                </a:cubicBezTo>
                <a:cubicBezTo>
                  <a:pt x="186" y="59"/>
                  <a:pt x="186" y="58"/>
                  <a:pt x="186" y="57"/>
                </a:cubicBezTo>
                <a:cubicBezTo>
                  <a:pt x="186" y="54"/>
                  <a:pt x="185" y="51"/>
                  <a:pt x="183" y="49"/>
                </a:cubicBezTo>
                <a:cubicBezTo>
                  <a:pt x="181" y="46"/>
                  <a:pt x="177" y="44"/>
                  <a:pt x="173" y="44"/>
                </a:cubicBezTo>
                <a:cubicBezTo>
                  <a:pt x="173" y="44"/>
                  <a:pt x="154" y="44"/>
                  <a:pt x="141" y="44"/>
                </a:cubicBezTo>
                <a:cubicBezTo>
                  <a:pt x="141" y="37"/>
                  <a:pt x="141" y="34"/>
                  <a:pt x="141" y="26"/>
                </a:cubicBezTo>
                <a:cubicBezTo>
                  <a:pt x="160" y="26"/>
                  <a:pt x="225" y="26"/>
                  <a:pt x="244" y="26"/>
                </a:cubicBezTo>
                <a:cubicBezTo>
                  <a:pt x="244" y="34"/>
                  <a:pt x="244" y="37"/>
                  <a:pt x="244" y="44"/>
                </a:cubicBezTo>
                <a:cubicBezTo>
                  <a:pt x="232" y="44"/>
                  <a:pt x="214" y="44"/>
                  <a:pt x="214" y="44"/>
                </a:cubicBezTo>
                <a:cubicBezTo>
                  <a:pt x="210" y="44"/>
                  <a:pt x="207" y="46"/>
                  <a:pt x="204" y="49"/>
                </a:cubicBezTo>
                <a:cubicBezTo>
                  <a:pt x="202" y="51"/>
                  <a:pt x="201" y="54"/>
                  <a:pt x="201" y="57"/>
                </a:cubicBezTo>
                <a:cubicBezTo>
                  <a:pt x="201" y="58"/>
                  <a:pt x="201" y="59"/>
                  <a:pt x="201" y="60"/>
                </a:cubicBezTo>
                <a:cubicBezTo>
                  <a:pt x="201" y="60"/>
                  <a:pt x="241" y="293"/>
                  <a:pt x="246" y="321"/>
                </a:cubicBezTo>
                <a:cubicBezTo>
                  <a:pt x="218" y="321"/>
                  <a:pt x="13" y="321"/>
                  <a:pt x="13" y="321"/>
                </a:cubicBezTo>
                <a:cubicBezTo>
                  <a:pt x="6" y="321"/>
                  <a:pt x="0" y="327"/>
                  <a:pt x="0" y="334"/>
                </a:cubicBezTo>
                <a:cubicBezTo>
                  <a:pt x="0" y="397"/>
                  <a:pt x="0" y="397"/>
                  <a:pt x="0" y="397"/>
                </a:cubicBezTo>
                <a:cubicBezTo>
                  <a:pt x="0" y="405"/>
                  <a:pt x="6" y="411"/>
                  <a:pt x="13" y="411"/>
                </a:cubicBezTo>
                <a:cubicBezTo>
                  <a:pt x="13" y="411"/>
                  <a:pt x="123" y="411"/>
                  <a:pt x="145" y="411"/>
                </a:cubicBezTo>
                <a:cubicBezTo>
                  <a:pt x="145" y="425"/>
                  <a:pt x="145" y="445"/>
                  <a:pt x="145" y="445"/>
                </a:cubicBezTo>
                <a:cubicBezTo>
                  <a:pt x="145" y="453"/>
                  <a:pt x="151" y="459"/>
                  <a:pt x="158" y="459"/>
                </a:cubicBezTo>
                <a:cubicBezTo>
                  <a:pt x="213" y="459"/>
                  <a:pt x="213" y="459"/>
                  <a:pt x="213" y="459"/>
                </a:cubicBezTo>
                <a:cubicBezTo>
                  <a:pt x="226" y="459"/>
                  <a:pt x="240" y="448"/>
                  <a:pt x="253" y="426"/>
                </a:cubicBezTo>
                <a:cubicBezTo>
                  <a:pt x="253" y="425"/>
                  <a:pt x="254" y="424"/>
                  <a:pt x="254" y="423"/>
                </a:cubicBezTo>
                <a:cubicBezTo>
                  <a:pt x="254" y="424"/>
                  <a:pt x="255" y="425"/>
                  <a:pt x="255" y="426"/>
                </a:cubicBezTo>
                <a:cubicBezTo>
                  <a:pt x="268" y="448"/>
                  <a:pt x="281" y="459"/>
                  <a:pt x="295" y="459"/>
                </a:cubicBezTo>
                <a:cubicBezTo>
                  <a:pt x="309" y="459"/>
                  <a:pt x="322" y="448"/>
                  <a:pt x="335" y="426"/>
                </a:cubicBezTo>
                <a:cubicBezTo>
                  <a:pt x="336" y="425"/>
                  <a:pt x="336" y="424"/>
                  <a:pt x="337" y="423"/>
                </a:cubicBezTo>
                <a:cubicBezTo>
                  <a:pt x="337" y="424"/>
                  <a:pt x="338" y="425"/>
                  <a:pt x="338" y="426"/>
                </a:cubicBezTo>
                <a:cubicBezTo>
                  <a:pt x="351" y="448"/>
                  <a:pt x="364" y="459"/>
                  <a:pt x="378" y="459"/>
                </a:cubicBezTo>
                <a:cubicBezTo>
                  <a:pt x="392" y="459"/>
                  <a:pt x="405" y="448"/>
                  <a:pt x="418" y="426"/>
                </a:cubicBezTo>
                <a:cubicBezTo>
                  <a:pt x="426" y="412"/>
                  <a:pt x="432" y="398"/>
                  <a:pt x="432" y="397"/>
                </a:cubicBezTo>
                <a:cubicBezTo>
                  <a:pt x="435" y="391"/>
                  <a:pt x="431" y="383"/>
                  <a:pt x="424" y="380"/>
                </a:cubicBezTo>
                <a:cubicBezTo>
                  <a:pt x="418" y="378"/>
                  <a:pt x="410" y="381"/>
                  <a:pt x="407" y="388"/>
                </a:cubicBezTo>
                <a:cubicBezTo>
                  <a:pt x="398" y="411"/>
                  <a:pt x="384" y="431"/>
                  <a:pt x="378" y="432"/>
                </a:cubicBezTo>
                <a:cubicBezTo>
                  <a:pt x="372" y="431"/>
                  <a:pt x="358" y="411"/>
                  <a:pt x="349" y="388"/>
                </a:cubicBezTo>
                <a:cubicBezTo>
                  <a:pt x="347" y="383"/>
                  <a:pt x="342" y="379"/>
                  <a:pt x="337" y="379"/>
                </a:cubicBezTo>
                <a:cubicBezTo>
                  <a:pt x="331" y="379"/>
                  <a:pt x="326" y="382"/>
                  <a:pt x="324" y="388"/>
                </a:cubicBezTo>
                <a:cubicBezTo>
                  <a:pt x="315" y="411"/>
                  <a:pt x="301" y="431"/>
                  <a:pt x="295" y="432"/>
                </a:cubicBezTo>
                <a:cubicBezTo>
                  <a:pt x="290" y="431"/>
                  <a:pt x="276" y="411"/>
                  <a:pt x="267" y="387"/>
                </a:cubicBezTo>
                <a:cubicBezTo>
                  <a:pt x="265" y="382"/>
                  <a:pt x="260" y="379"/>
                  <a:pt x="254" y="379"/>
                </a:cubicBezTo>
                <a:cubicBezTo>
                  <a:pt x="249" y="379"/>
                  <a:pt x="244" y="382"/>
                  <a:pt x="242" y="387"/>
                </a:cubicBezTo>
                <a:cubicBezTo>
                  <a:pt x="232" y="411"/>
                  <a:pt x="218" y="431"/>
                  <a:pt x="213" y="432"/>
                </a:cubicBezTo>
                <a:cubicBezTo>
                  <a:pt x="213" y="432"/>
                  <a:pt x="187" y="432"/>
                  <a:pt x="172" y="432"/>
                </a:cubicBezTo>
                <a:cubicBezTo>
                  <a:pt x="172" y="418"/>
                  <a:pt x="172" y="397"/>
                  <a:pt x="172" y="397"/>
                </a:cubicBezTo>
                <a:cubicBezTo>
                  <a:pt x="172" y="390"/>
                  <a:pt x="166" y="384"/>
                  <a:pt x="158" y="384"/>
                </a:cubicBezTo>
                <a:cubicBezTo>
                  <a:pt x="158" y="384"/>
                  <a:pt x="48" y="384"/>
                  <a:pt x="26" y="384"/>
                </a:cubicBezTo>
                <a:cubicBezTo>
                  <a:pt x="26" y="372"/>
                  <a:pt x="26" y="359"/>
                  <a:pt x="26" y="347"/>
                </a:cubicBezTo>
                <a:cubicBezTo>
                  <a:pt x="50" y="347"/>
                  <a:pt x="261" y="347"/>
                  <a:pt x="261" y="347"/>
                </a:cubicBezTo>
                <a:cubicBezTo>
                  <a:pt x="265" y="347"/>
                  <a:pt x="269" y="346"/>
                  <a:pt x="272" y="343"/>
                </a:cubicBezTo>
                <a:cubicBezTo>
                  <a:pt x="274" y="340"/>
                  <a:pt x="275" y="337"/>
                  <a:pt x="275" y="334"/>
                </a:cubicBezTo>
                <a:cubicBezTo>
                  <a:pt x="275" y="333"/>
                  <a:pt x="275" y="332"/>
                  <a:pt x="275" y="332"/>
                </a:cubicBezTo>
                <a:cubicBezTo>
                  <a:pt x="275" y="332"/>
                  <a:pt x="235" y="99"/>
                  <a:pt x="230" y="71"/>
                </a:cubicBezTo>
                <a:cubicBezTo>
                  <a:pt x="243" y="71"/>
                  <a:pt x="258" y="71"/>
                  <a:pt x="258" y="71"/>
                </a:cubicBezTo>
                <a:cubicBezTo>
                  <a:pt x="265" y="71"/>
                  <a:pt x="271" y="65"/>
                  <a:pt x="271" y="57"/>
                </a:cubicBezTo>
                <a:cubicBezTo>
                  <a:pt x="271" y="13"/>
                  <a:pt x="271" y="13"/>
                  <a:pt x="271" y="13"/>
                </a:cubicBezTo>
                <a:cubicBezTo>
                  <a:pt x="271" y="6"/>
                  <a:pt x="265" y="0"/>
                  <a:pt x="258" y="0"/>
                </a:cubicBezTo>
                <a:lnTo>
                  <a:pt x="128"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1" name="Freeform 385"/>
          <p:cNvSpPr>
            <a:spLocks noEditPoints="1"/>
          </p:cNvSpPr>
          <p:nvPr userDrawn="1"/>
        </p:nvSpPr>
        <p:spPr bwMode="auto">
          <a:xfrm>
            <a:off x="4720469" y="3320272"/>
            <a:ext cx="384672" cy="351234"/>
          </a:xfrm>
          <a:custGeom>
            <a:avLst/>
            <a:gdLst/>
            <a:ahLst/>
            <a:cxnLst>
              <a:cxn ang="0">
                <a:pos x="67" y="59"/>
              </a:cxn>
              <a:cxn ang="0">
                <a:pos x="67" y="61"/>
              </a:cxn>
              <a:cxn ang="0">
                <a:pos x="79" y="147"/>
              </a:cxn>
              <a:cxn ang="0">
                <a:pos x="23" y="157"/>
              </a:cxn>
              <a:cxn ang="0">
                <a:pos x="0" y="192"/>
              </a:cxn>
              <a:cxn ang="0">
                <a:pos x="0" y="202"/>
              </a:cxn>
              <a:cxn ang="0">
                <a:pos x="53" y="280"/>
              </a:cxn>
              <a:cxn ang="0">
                <a:pos x="103" y="308"/>
              </a:cxn>
              <a:cxn ang="0">
                <a:pos x="108" y="347"/>
              </a:cxn>
              <a:cxn ang="0">
                <a:pos x="157" y="398"/>
              </a:cxn>
              <a:cxn ang="0">
                <a:pos x="261" y="415"/>
              </a:cxn>
              <a:cxn ang="0">
                <a:pos x="365" y="398"/>
              </a:cxn>
              <a:cxn ang="0">
                <a:pos x="415" y="347"/>
              </a:cxn>
              <a:cxn ang="0">
                <a:pos x="455" y="64"/>
              </a:cxn>
              <a:cxn ang="0">
                <a:pos x="455" y="62"/>
              </a:cxn>
              <a:cxn ang="0">
                <a:pos x="449" y="51"/>
              </a:cxn>
              <a:cxn ang="0">
                <a:pos x="434" y="51"/>
              </a:cxn>
              <a:cxn ang="0">
                <a:pos x="261" y="92"/>
              </a:cxn>
              <a:cxn ang="0">
                <a:pos x="141" y="80"/>
              </a:cxn>
              <a:cxn ang="0">
                <a:pos x="93" y="59"/>
              </a:cxn>
              <a:cxn ang="0">
                <a:pos x="93" y="59"/>
              </a:cxn>
              <a:cxn ang="0">
                <a:pos x="141" y="39"/>
              </a:cxn>
              <a:cxn ang="0">
                <a:pos x="261" y="27"/>
              </a:cxn>
              <a:cxn ang="0">
                <a:pos x="367" y="36"/>
              </a:cxn>
              <a:cxn ang="0">
                <a:pos x="383" y="25"/>
              </a:cxn>
              <a:cxn ang="0">
                <a:pos x="372" y="9"/>
              </a:cxn>
              <a:cxn ang="0">
                <a:pos x="261" y="0"/>
              </a:cxn>
              <a:cxn ang="0">
                <a:pos x="67" y="59"/>
              </a:cxn>
              <a:cxn ang="0">
                <a:pos x="425" y="86"/>
              </a:cxn>
              <a:cxn ang="0">
                <a:pos x="388" y="344"/>
              </a:cxn>
              <a:cxn ang="0">
                <a:pos x="388" y="346"/>
              </a:cxn>
              <a:cxn ang="0">
                <a:pos x="261" y="388"/>
              </a:cxn>
              <a:cxn ang="0">
                <a:pos x="134" y="346"/>
              </a:cxn>
              <a:cxn ang="0">
                <a:pos x="134" y="344"/>
              </a:cxn>
              <a:cxn ang="0">
                <a:pos x="128" y="297"/>
              </a:cxn>
              <a:cxn ang="0">
                <a:pos x="120" y="287"/>
              </a:cxn>
              <a:cxn ang="0">
                <a:pos x="27" y="196"/>
              </a:cxn>
              <a:cxn ang="0">
                <a:pos x="37" y="179"/>
              </a:cxn>
              <a:cxn ang="0">
                <a:pos x="91" y="176"/>
              </a:cxn>
              <a:cxn ang="0">
                <a:pos x="104" y="173"/>
              </a:cxn>
              <a:cxn ang="0">
                <a:pos x="108" y="163"/>
              </a:cxn>
              <a:cxn ang="0">
                <a:pos x="108" y="161"/>
              </a:cxn>
              <a:cxn ang="0">
                <a:pos x="98" y="94"/>
              </a:cxn>
              <a:cxn ang="0">
                <a:pos x="261" y="119"/>
              </a:cxn>
              <a:cxn ang="0">
                <a:pos x="425" y="86"/>
              </a:cxn>
            </a:cxnLst>
            <a:rect l="0" t="0" r="r" b="b"/>
            <a:pathLst>
              <a:path w="455" h="415">
                <a:moveTo>
                  <a:pt x="67" y="59"/>
                </a:moveTo>
                <a:cubicBezTo>
                  <a:pt x="67" y="60"/>
                  <a:pt x="67" y="61"/>
                  <a:pt x="67" y="61"/>
                </a:cubicBezTo>
                <a:cubicBezTo>
                  <a:pt x="67" y="61"/>
                  <a:pt x="75" y="122"/>
                  <a:pt x="79" y="147"/>
                </a:cubicBezTo>
                <a:cubicBezTo>
                  <a:pt x="63" y="145"/>
                  <a:pt x="40" y="146"/>
                  <a:pt x="23" y="157"/>
                </a:cubicBezTo>
                <a:cubicBezTo>
                  <a:pt x="11" y="165"/>
                  <a:pt x="3" y="177"/>
                  <a:pt x="0" y="192"/>
                </a:cubicBezTo>
                <a:cubicBezTo>
                  <a:pt x="0" y="195"/>
                  <a:pt x="0" y="198"/>
                  <a:pt x="0" y="202"/>
                </a:cubicBezTo>
                <a:cubicBezTo>
                  <a:pt x="0" y="222"/>
                  <a:pt x="10" y="250"/>
                  <a:pt x="53" y="280"/>
                </a:cubicBezTo>
                <a:cubicBezTo>
                  <a:pt x="72" y="294"/>
                  <a:pt x="92" y="304"/>
                  <a:pt x="103" y="308"/>
                </a:cubicBezTo>
                <a:cubicBezTo>
                  <a:pt x="104" y="319"/>
                  <a:pt x="108" y="347"/>
                  <a:pt x="108" y="347"/>
                </a:cubicBezTo>
                <a:cubicBezTo>
                  <a:pt x="108" y="367"/>
                  <a:pt x="126" y="385"/>
                  <a:pt x="157" y="398"/>
                </a:cubicBezTo>
                <a:cubicBezTo>
                  <a:pt x="185" y="409"/>
                  <a:pt x="222" y="415"/>
                  <a:pt x="261" y="415"/>
                </a:cubicBezTo>
                <a:cubicBezTo>
                  <a:pt x="300" y="415"/>
                  <a:pt x="337" y="409"/>
                  <a:pt x="365" y="398"/>
                </a:cubicBezTo>
                <a:cubicBezTo>
                  <a:pt x="396" y="385"/>
                  <a:pt x="414" y="367"/>
                  <a:pt x="415" y="347"/>
                </a:cubicBezTo>
                <a:cubicBezTo>
                  <a:pt x="415" y="347"/>
                  <a:pt x="455" y="64"/>
                  <a:pt x="455" y="64"/>
                </a:cubicBezTo>
                <a:cubicBezTo>
                  <a:pt x="455" y="64"/>
                  <a:pt x="455" y="63"/>
                  <a:pt x="455" y="62"/>
                </a:cubicBezTo>
                <a:cubicBezTo>
                  <a:pt x="455" y="58"/>
                  <a:pt x="453" y="53"/>
                  <a:pt x="449" y="51"/>
                </a:cubicBezTo>
                <a:cubicBezTo>
                  <a:pt x="445" y="48"/>
                  <a:pt x="439" y="48"/>
                  <a:pt x="434" y="51"/>
                </a:cubicBezTo>
                <a:cubicBezTo>
                  <a:pt x="434" y="52"/>
                  <a:pt x="372" y="92"/>
                  <a:pt x="261" y="92"/>
                </a:cubicBezTo>
                <a:cubicBezTo>
                  <a:pt x="216" y="92"/>
                  <a:pt x="173" y="88"/>
                  <a:pt x="141" y="80"/>
                </a:cubicBezTo>
                <a:cubicBezTo>
                  <a:pt x="106" y="72"/>
                  <a:pt x="95" y="62"/>
                  <a:pt x="93" y="59"/>
                </a:cubicBezTo>
                <a:cubicBezTo>
                  <a:pt x="93" y="59"/>
                  <a:pt x="93" y="59"/>
                  <a:pt x="93" y="59"/>
                </a:cubicBezTo>
                <a:cubicBezTo>
                  <a:pt x="95" y="56"/>
                  <a:pt x="106" y="47"/>
                  <a:pt x="141" y="39"/>
                </a:cubicBezTo>
                <a:cubicBezTo>
                  <a:pt x="173" y="31"/>
                  <a:pt x="216" y="27"/>
                  <a:pt x="261" y="27"/>
                </a:cubicBezTo>
                <a:cubicBezTo>
                  <a:pt x="300" y="27"/>
                  <a:pt x="337" y="30"/>
                  <a:pt x="367" y="36"/>
                </a:cubicBezTo>
                <a:cubicBezTo>
                  <a:pt x="375" y="37"/>
                  <a:pt x="382" y="32"/>
                  <a:pt x="383" y="25"/>
                </a:cubicBezTo>
                <a:cubicBezTo>
                  <a:pt x="384" y="18"/>
                  <a:pt x="380" y="11"/>
                  <a:pt x="372" y="9"/>
                </a:cubicBezTo>
                <a:cubicBezTo>
                  <a:pt x="340" y="3"/>
                  <a:pt x="302" y="0"/>
                  <a:pt x="261" y="0"/>
                </a:cubicBezTo>
                <a:cubicBezTo>
                  <a:pt x="189" y="0"/>
                  <a:pt x="67" y="12"/>
                  <a:pt x="67" y="59"/>
                </a:cubicBezTo>
                <a:close/>
                <a:moveTo>
                  <a:pt x="425" y="86"/>
                </a:moveTo>
                <a:cubicBezTo>
                  <a:pt x="419" y="129"/>
                  <a:pt x="388" y="344"/>
                  <a:pt x="388" y="344"/>
                </a:cubicBezTo>
                <a:cubicBezTo>
                  <a:pt x="388" y="345"/>
                  <a:pt x="388" y="345"/>
                  <a:pt x="388" y="346"/>
                </a:cubicBezTo>
                <a:cubicBezTo>
                  <a:pt x="388" y="363"/>
                  <a:pt x="339" y="388"/>
                  <a:pt x="261" y="388"/>
                </a:cubicBezTo>
                <a:cubicBezTo>
                  <a:pt x="184" y="388"/>
                  <a:pt x="134" y="363"/>
                  <a:pt x="134" y="346"/>
                </a:cubicBezTo>
                <a:cubicBezTo>
                  <a:pt x="134" y="345"/>
                  <a:pt x="134" y="345"/>
                  <a:pt x="134" y="344"/>
                </a:cubicBezTo>
                <a:cubicBezTo>
                  <a:pt x="128" y="297"/>
                  <a:pt x="128" y="297"/>
                  <a:pt x="128" y="297"/>
                </a:cubicBezTo>
                <a:cubicBezTo>
                  <a:pt x="128" y="293"/>
                  <a:pt x="125" y="289"/>
                  <a:pt x="120" y="287"/>
                </a:cubicBezTo>
                <a:cubicBezTo>
                  <a:pt x="92" y="275"/>
                  <a:pt x="20" y="236"/>
                  <a:pt x="27" y="196"/>
                </a:cubicBezTo>
                <a:cubicBezTo>
                  <a:pt x="28" y="189"/>
                  <a:pt x="31" y="183"/>
                  <a:pt x="37" y="179"/>
                </a:cubicBezTo>
                <a:cubicBezTo>
                  <a:pt x="53" y="169"/>
                  <a:pt x="82" y="173"/>
                  <a:pt x="91" y="176"/>
                </a:cubicBezTo>
                <a:cubicBezTo>
                  <a:pt x="96" y="177"/>
                  <a:pt x="100" y="175"/>
                  <a:pt x="104" y="173"/>
                </a:cubicBezTo>
                <a:cubicBezTo>
                  <a:pt x="106" y="170"/>
                  <a:pt x="108" y="166"/>
                  <a:pt x="108" y="163"/>
                </a:cubicBezTo>
                <a:cubicBezTo>
                  <a:pt x="108" y="162"/>
                  <a:pt x="108" y="161"/>
                  <a:pt x="108" y="161"/>
                </a:cubicBezTo>
                <a:cubicBezTo>
                  <a:pt x="108" y="161"/>
                  <a:pt x="103" y="124"/>
                  <a:pt x="98" y="94"/>
                </a:cubicBezTo>
                <a:cubicBezTo>
                  <a:pt x="140" y="113"/>
                  <a:pt x="213" y="119"/>
                  <a:pt x="261" y="119"/>
                </a:cubicBezTo>
                <a:cubicBezTo>
                  <a:pt x="340" y="119"/>
                  <a:pt x="395" y="100"/>
                  <a:pt x="425" y="8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2" name="Freeform 437"/>
          <p:cNvSpPr>
            <a:spLocks/>
          </p:cNvSpPr>
          <p:nvPr userDrawn="1"/>
        </p:nvSpPr>
        <p:spPr bwMode="auto">
          <a:xfrm>
            <a:off x="4757388" y="1793840"/>
            <a:ext cx="310834" cy="375047"/>
          </a:xfrm>
          <a:custGeom>
            <a:avLst/>
            <a:gdLst/>
            <a:ahLst/>
            <a:cxnLst>
              <a:cxn ang="0">
                <a:pos x="0" y="183"/>
              </a:cxn>
              <a:cxn ang="0">
                <a:pos x="0" y="183"/>
              </a:cxn>
              <a:cxn ang="0">
                <a:pos x="0" y="199"/>
              </a:cxn>
              <a:cxn ang="0">
                <a:pos x="14" y="212"/>
              </a:cxn>
              <a:cxn ang="0">
                <a:pos x="27" y="199"/>
              </a:cxn>
              <a:cxn ang="0">
                <a:pos x="55" y="170"/>
              </a:cxn>
              <a:cxn ang="0">
                <a:pos x="84" y="199"/>
              </a:cxn>
              <a:cxn ang="0">
                <a:pos x="97" y="212"/>
              </a:cxn>
              <a:cxn ang="0">
                <a:pos x="110" y="199"/>
              </a:cxn>
              <a:cxn ang="0">
                <a:pos x="55" y="144"/>
              </a:cxn>
              <a:cxn ang="0">
                <a:pos x="30" y="150"/>
              </a:cxn>
              <a:cxn ang="0">
                <a:pos x="183" y="26"/>
              </a:cxn>
              <a:cxn ang="0">
                <a:pos x="335" y="149"/>
              </a:cxn>
              <a:cxn ang="0">
                <a:pos x="312" y="144"/>
              </a:cxn>
              <a:cxn ang="0">
                <a:pos x="271" y="163"/>
              </a:cxn>
              <a:cxn ang="0">
                <a:pos x="229" y="144"/>
              </a:cxn>
              <a:cxn ang="0">
                <a:pos x="174" y="199"/>
              </a:cxn>
              <a:cxn ang="0">
                <a:pos x="174" y="388"/>
              </a:cxn>
              <a:cxn ang="0">
                <a:pos x="146" y="416"/>
              </a:cxn>
              <a:cxn ang="0">
                <a:pos x="132" y="430"/>
              </a:cxn>
              <a:cxn ang="0">
                <a:pos x="146" y="443"/>
              </a:cxn>
              <a:cxn ang="0">
                <a:pos x="201" y="388"/>
              </a:cxn>
              <a:cxn ang="0">
                <a:pos x="201" y="199"/>
              </a:cxn>
              <a:cxn ang="0">
                <a:pos x="229" y="170"/>
              </a:cxn>
              <a:cxn ang="0">
                <a:pos x="257" y="199"/>
              </a:cxn>
              <a:cxn ang="0">
                <a:pos x="271" y="212"/>
              </a:cxn>
              <a:cxn ang="0">
                <a:pos x="284" y="199"/>
              </a:cxn>
              <a:cxn ang="0">
                <a:pos x="312" y="170"/>
              </a:cxn>
              <a:cxn ang="0">
                <a:pos x="340" y="198"/>
              </a:cxn>
              <a:cxn ang="0">
                <a:pos x="340" y="199"/>
              </a:cxn>
              <a:cxn ang="0">
                <a:pos x="354" y="212"/>
              </a:cxn>
              <a:cxn ang="0">
                <a:pos x="367" y="199"/>
              </a:cxn>
              <a:cxn ang="0">
                <a:pos x="367" y="197"/>
              </a:cxn>
              <a:cxn ang="0">
                <a:pos x="367" y="198"/>
              </a:cxn>
              <a:cxn ang="0">
                <a:pos x="367" y="197"/>
              </a:cxn>
              <a:cxn ang="0">
                <a:pos x="367" y="192"/>
              </a:cxn>
              <a:cxn ang="0">
                <a:pos x="366" y="182"/>
              </a:cxn>
              <a:cxn ang="0">
                <a:pos x="183" y="0"/>
              </a:cxn>
              <a:cxn ang="0">
                <a:pos x="0" y="183"/>
              </a:cxn>
            </a:cxnLst>
            <a:rect l="0" t="0" r="r" b="b"/>
            <a:pathLst>
              <a:path w="367" h="443">
                <a:moveTo>
                  <a:pt x="0" y="183"/>
                </a:moveTo>
                <a:cubicBezTo>
                  <a:pt x="0" y="183"/>
                  <a:pt x="0" y="183"/>
                  <a:pt x="0" y="183"/>
                </a:cubicBezTo>
                <a:cubicBezTo>
                  <a:pt x="0" y="199"/>
                  <a:pt x="0" y="199"/>
                  <a:pt x="0" y="199"/>
                </a:cubicBezTo>
                <a:cubicBezTo>
                  <a:pt x="1" y="206"/>
                  <a:pt x="7" y="212"/>
                  <a:pt x="14" y="212"/>
                </a:cubicBezTo>
                <a:cubicBezTo>
                  <a:pt x="21" y="212"/>
                  <a:pt x="27" y="206"/>
                  <a:pt x="27" y="199"/>
                </a:cubicBezTo>
                <a:cubicBezTo>
                  <a:pt x="27" y="183"/>
                  <a:pt x="40" y="170"/>
                  <a:pt x="55" y="170"/>
                </a:cubicBezTo>
                <a:cubicBezTo>
                  <a:pt x="71" y="170"/>
                  <a:pt x="84" y="183"/>
                  <a:pt x="84" y="199"/>
                </a:cubicBezTo>
                <a:cubicBezTo>
                  <a:pt x="84" y="206"/>
                  <a:pt x="90" y="212"/>
                  <a:pt x="97" y="212"/>
                </a:cubicBezTo>
                <a:cubicBezTo>
                  <a:pt x="104" y="212"/>
                  <a:pt x="110" y="206"/>
                  <a:pt x="110" y="199"/>
                </a:cubicBezTo>
                <a:cubicBezTo>
                  <a:pt x="110" y="168"/>
                  <a:pt x="86" y="144"/>
                  <a:pt x="55" y="144"/>
                </a:cubicBezTo>
                <a:cubicBezTo>
                  <a:pt x="46" y="144"/>
                  <a:pt x="38" y="146"/>
                  <a:pt x="30" y="150"/>
                </a:cubicBezTo>
                <a:cubicBezTo>
                  <a:pt x="45" y="79"/>
                  <a:pt x="108" y="26"/>
                  <a:pt x="183" y="26"/>
                </a:cubicBezTo>
                <a:cubicBezTo>
                  <a:pt x="257" y="26"/>
                  <a:pt x="320" y="79"/>
                  <a:pt x="335" y="149"/>
                </a:cubicBezTo>
                <a:cubicBezTo>
                  <a:pt x="328" y="145"/>
                  <a:pt x="320" y="144"/>
                  <a:pt x="312" y="144"/>
                </a:cubicBezTo>
                <a:cubicBezTo>
                  <a:pt x="295" y="144"/>
                  <a:pt x="281" y="151"/>
                  <a:pt x="271" y="163"/>
                </a:cubicBezTo>
                <a:cubicBezTo>
                  <a:pt x="261" y="151"/>
                  <a:pt x="246" y="144"/>
                  <a:pt x="229" y="144"/>
                </a:cubicBezTo>
                <a:cubicBezTo>
                  <a:pt x="199" y="144"/>
                  <a:pt x="174" y="168"/>
                  <a:pt x="174" y="199"/>
                </a:cubicBezTo>
                <a:cubicBezTo>
                  <a:pt x="174" y="388"/>
                  <a:pt x="174" y="388"/>
                  <a:pt x="174" y="388"/>
                </a:cubicBezTo>
                <a:cubicBezTo>
                  <a:pt x="174" y="404"/>
                  <a:pt x="161" y="416"/>
                  <a:pt x="146" y="416"/>
                </a:cubicBezTo>
                <a:cubicBezTo>
                  <a:pt x="138" y="416"/>
                  <a:pt x="132" y="422"/>
                  <a:pt x="132" y="430"/>
                </a:cubicBezTo>
                <a:cubicBezTo>
                  <a:pt x="132" y="437"/>
                  <a:pt x="138" y="443"/>
                  <a:pt x="146" y="443"/>
                </a:cubicBezTo>
                <a:cubicBezTo>
                  <a:pt x="176" y="443"/>
                  <a:pt x="201" y="418"/>
                  <a:pt x="201" y="388"/>
                </a:cubicBezTo>
                <a:cubicBezTo>
                  <a:pt x="201" y="199"/>
                  <a:pt x="201" y="199"/>
                  <a:pt x="201" y="199"/>
                </a:cubicBezTo>
                <a:cubicBezTo>
                  <a:pt x="201" y="183"/>
                  <a:pt x="213" y="170"/>
                  <a:pt x="229" y="170"/>
                </a:cubicBezTo>
                <a:cubicBezTo>
                  <a:pt x="245" y="170"/>
                  <a:pt x="257" y="183"/>
                  <a:pt x="257" y="199"/>
                </a:cubicBezTo>
                <a:cubicBezTo>
                  <a:pt x="257" y="206"/>
                  <a:pt x="263" y="212"/>
                  <a:pt x="271" y="212"/>
                </a:cubicBezTo>
                <a:cubicBezTo>
                  <a:pt x="278" y="212"/>
                  <a:pt x="284" y="206"/>
                  <a:pt x="284" y="199"/>
                </a:cubicBezTo>
                <a:cubicBezTo>
                  <a:pt x="284" y="183"/>
                  <a:pt x="296" y="170"/>
                  <a:pt x="312" y="170"/>
                </a:cubicBezTo>
                <a:cubicBezTo>
                  <a:pt x="327" y="170"/>
                  <a:pt x="340" y="182"/>
                  <a:pt x="340" y="198"/>
                </a:cubicBezTo>
                <a:cubicBezTo>
                  <a:pt x="340" y="198"/>
                  <a:pt x="340" y="199"/>
                  <a:pt x="340" y="199"/>
                </a:cubicBezTo>
                <a:cubicBezTo>
                  <a:pt x="341" y="207"/>
                  <a:pt x="347" y="212"/>
                  <a:pt x="354" y="212"/>
                </a:cubicBezTo>
                <a:cubicBezTo>
                  <a:pt x="361" y="212"/>
                  <a:pt x="367" y="206"/>
                  <a:pt x="367" y="199"/>
                </a:cubicBezTo>
                <a:cubicBezTo>
                  <a:pt x="367" y="198"/>
                  <a:pt x="367" y="198"/>
                  <a:pt x="367" y="197"/>
                </a:cubicBezTo>
                <a:cubicBezTo>
                  <a:pt x="367" y="198"/>
                  <a:pt x="367" y="198"/>
                  <a:pt x="367" y="198"/>
                </a:cubicBezTo>
                <a:cubicBezTo>
                  <a:pt x="367" y="198"/>
                  <a:pt x="367" y="197"/>
                  <a:pt x="367" y="197"/>
                </a:cubicBezTo>
                <a:cubicBezTo>
                  <a:pt x="367" y="195"/>
                  <a:pt x="367" y="194"/>
                  <a:pt x="367" y="192"/>
                </a:cubicBezTo>
                <a:cubicBezTo>
                  <a:pt x="366" y="188"/>
                  <a:pt x="366" y="182"/>
                  <a:pt x="366" y="182"/>
                </a:cubicBezTo>
                <a:cubicBezTo>
                  <a:pt x="365" y="81"/>
                  <a:pt x="284" y="0"/>
                  <a:pt x="183" y="0"/>
                </a:cubicBezTo>
                <a:cubicBezTo>
                  <a:pt x="82" y="0"/>
                  <a:pt x="0" y="82"/>
                  <a:pt x="0" y="18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3" name="Freeform 453"/>
          <p:cNvSpPr>
            <a:spLocks/>
          </p:cNvSpPr>
          <p:nvPr userDrawn="1"/>
        </p:nvSpPr>
        <p:spPr bwMode="auto">
          <a:xfrm>
            <a:off x="4718683" y="1376292"/>
            <a:ext cx="388245" cy="253603"/>
          </a:xfrm>
          <a:custGeom>
            <a:avLst/>
            <a:gdLst/>
            <a:ahLst/>
            <a:cxnLst>
              <a:cxn ang="0">
                <a:pos x="10" y="68"/>
              </a:cxn>
              <a:cxn ang="0">
                <a:pos x="0" y="165"/>
              </a:cxn>
              <a:cxn ang="0">
                <a:pos x="48" y="198"/>
              </a:cxn>
              <a:cxn ang="0">
                <a:pos x="68" y="186"/>
              </a:cxn>
              <a:cxn ang="0">
                <a:pos x="73" y="136"/>
              </a:cxn>
              <a:cxn ang="0">
                <a:pos x="79" y="215"/>
              </a:cxn>
              <a:cxn ang="0">
                <a:pos x="125" y="234"/>
              </a:cxn>
              <a:cxn ang="0">
                <a:pos x="132" y="168"/>
              </a:cxn>
              <a:cxn ang="0">
                <a:pos x="137" y="240"/>
              </a:cxn>
              <a:cxn ang="0">
                <a:pos x="226" y="297"/>
              </a:cxn>
              <a:cxn ang="0">
                <a:pos x="375" y="219"/>
              </a:cxn>
              <a:cxn ang="0">
                <a:pos x="382" y="196"/>
              </a:cxn>
              <a:cxn ang="0">
                <a:pos x="404" y="144"/>
              </a:cxn>
              <a:cxn ang="0">
                <a:pos x="331" y="145"/>
              </a:cxn>
              <a:cxn ang="0">
                <a:pos x="346" y="171"/>
              </a:cxn>
              <a:cxn ang="0">
                <a:pos x="358" y="147"/>
              </a:cxn>
              <a:cxn ang="0">
                <a:pos x="377" y="144"/>
              </a:cxn>
              <a:cxn ang="0">
                <a:pos x="366" y="174"/>
              </a:cxn>
              <a:cxn ang="0">
                <a:pos x="355" y="200"/>
              </a:cxn>
              <a:cxn ang="0">
                <a:pos x="164" y="232"/>
              </a:cxn>
              <a:cxn ang="0">
                <a:pos x="157" y="151"/>
              </a:cxn>
              <a:cxn ang="0">
                <a:pos x="112" y="135"/>
              </a:cxn>
              <a:cxn ang="0">
                <a:pos x="105" y="199"/>
              </a:cxn>
              <a:cxn ang="0">
                <a:pos x="99" y="128"/>
              </a:cxn>
              <a:cxn ang="0">
                <a:pos x="60" y="100"/>
              </a:cxn>
              <a:cxn ang="0">
                <a:pos x="41" y="112"/>
              </a:cxn>
              <a:cxn ang="0">
                <a:pos x="27" y="157"/>
              </a:cxn>
              <a:cxn ang="0">
                <a:pos x="242" y="27"/>
              </a:cxn>
              <a:cxn ang="0">
                <a:pos x="432" y="163"/>
              </a:cxn>
              <a:cxn ang="0">
                <a:pos x="459" y="163"/>
              </a:cxn>
              <a:cxn ang="0">
                <a:pos x="449" y="61"/>
              </a:cxn>
              <a:cxn ang="0">
                <a:pos x="238" y="0"/>
              </a:cxn>
            </a:cxnLst>
            <a:rect l="0" t="0" r="r" b="b"/>
            <a:pathLst>
              <a:path w="459" h="299">
                <a:moveTo>
                  <a:pt x="238" y="0"/>
                </a:moveTo>
                <a:cubicBezTo>
                  <a:pt x="10" y="68"/>
                  <a:pt x="10" y="68"/>
                  <a:pt x="10" y="68"/>
                </a:cubicBezTo>
                <a:cubicBezTo>
                  <a:pt x="4" y="70"/>
                  <a:pt x="0" y="75"/>
                  <a:pt x="0" y="81"/>
                </a:cubicBezTo>
                <a:cubicBezTo>
                  <a:pt x="0" y="165"/>
                  <a:pt x="0" y="165"/>
                  <a:pt x="0" y="165"/>
                </a:cubicBezTo>
                <a:cubicBezTo>
                  <a:pt x="0" y="170"/>
                  <a:pt x="3" y="175"/>
                  <a:pt x="7" y="177"/>
                </a:cubicBezTo>
                <a:cubicBezTo>
                  <a:pt x="48" y="198"/>
                  <a:pt x="48" y="198"/>
                  <a:pt x="48" y="198"/>
                </a:cubicBezTo>
                <a:cubicBezTo>
                  <a:pt x="52" y="200"/>
                  <a:pt x="57" y="200"/>
                  <a:pt x="61" y="198"/>
                </a:cubicBezTo>
                <a:cubicBezTo>
                  <a:pt x="65" y="195"/>
                  <a:pt x="68" y="191"/>
                  <a:pt x="68" y="186"/>
                </a:cubicBezTo>
                <a:cubicBezTo>
                  <a:pt x="68" y="186"/>
                  <a:pt x="68" y="155"/>
                  <a:pt x="68" y="133"/>
                </a:cubicBezTo>
                <a:cubicBezTo>
                  <a:pt x="70" y="135"/>
                  <a:pt x="71" y="135"/>
                  <a:pt x="73" y="136"/>
                </a:cubicBezTo>
                <a:cubicBezTo>
                  <a:pt x="73" y="149"/>
                  <a:pt x="73" y="203"/>
                  <a:pt x="73" y="203"/>
                </a:cubicBezTo>
                <a:cubicBezTo>
                  <a:pt x="73" y="208"/>
                  <a:pt x="75" y="212"/>
                  <a:pt x="79" y="215"/>
                </a:cubicBezTo>
                <a:cubicBezTo>
                  <a:pt x="112" y="234"/>
                  <a:pt x="112" y="234"/>
                  <a:pt x="112" y="234"/>
                </a:cubicBezTo>
                <a:cubicBezTo>
                  <a:pt x="116" y="236"/>
                  <a:pt x="121" y="236"/>
                  <a:pt x="125" y="234"/>
                </a:cubicBezTo>
                <a:cubicBezTo>
                  <a:pt x="129" y="231"/>
                  <a:pt x="132" y="227"/>
                  <a:pt x="132" y="222"/>
                </a:cubicBezTo>
                <a:cubicBezTo>
                  <a:pt x="132" y="222"/>
                  <a:pt x="132" y="190"/>
                  <a:pt x="132" y="168"/>
                </a:cubicBezTo>
                <a:cubicBezTo>
                  <a:pt x="134" y="170"/>
                  <a:pt x="135" y="170"/>
                  <a:pt x="137" y="171"/>
                </a:cubicBezTo>
                <a:cubicBezTo>
                  <a:pt x="137" y="184"/>
                  <a:pt x="137" y="240"/>
                  <a:pt x="137" y="240"/>
                </a:cubicBezTo>
                <a:cubicBezTo>
                  <a:pt x="137" y="245"/>
                  <a:pt x="140" y="249"/>
                  <a:pt x="144" y="252"/>
                </a:cubicBezTo>
                <a:cubicBezTo>
                  <a:pt x="226" y="297"/>
                  <a:pt x="226" y="297"/>
                  <a:pt x="226" y="297"/>
                </a:cubicBezTo>
                <a:cubicBezTo>
                  <a:pt x="230" y="299"/>
                  <a:pt x="235" y="299"/>
                  <a:pt x="239" y="297"/>
                </a:cubicBezTo>
                <a:cubicBezTo>
                  <a:pt x="375" y="219"/>
                  <a:pt x="375" y="219"/>
                  <a:pt x="375" y="219"/>
                </a:cubicBezTo>
                <a:cubicBezTo>
                  <a:pt x="380" y="217"/>
                  <a:pt x="382" y="213"/>
                  <a:pt x="382" y="208"/>
                </a:cubicBezTo>
                <a:cubicBezTo>
                  <a:pt x="382" y="208"/>
                  <a:pt x="382" y="202"/>
                  <a:pt x="382" y="196"/>
                </a:cubicBezTo>
                <a:cubicBezTo>
                  <a:pt x="394" y="187"/>
                  <a:pt x="402" y="171"/>
                  <a:pt x="404" y="150"/>
                </a:cubicBezTo>
                <a:cubicBezTo>
                  <a:pt x="404" y="148"/>
                  <a:pt x="404" y="146"/>
                  <a:pt x="404" y="144"/>
                </a:cubicBezTo>
                <a:cubicBezTo>
                  <a:pt x="404" y="117"/>
                  <a:pt x="390" y="96"/>
                  <a:pt x="371" y="94"/>
                </a:cubicBezTo>
                <a:cubicBezTo>
                  <a:pt x="350" y="93"/>
                  <a:pt x="333" y="115"/>
                  <a:pt x="331" y="145"/>
                </a:cubicBezTo>
                <a:cubicBezTo>
                  <a:pt x="331" y="150"/>
                  <a:pt x="331" y="155"/>
                  <a:pt x="331" y="159"/>
                </a:cubicBezTo>
                <a:cubicBezTo>
                  <a:pt x="332" y="166"/>
                  <a:pt x="338" y="172"/>
                  <a:pt x="346" y="171"/>
                </a:cubicBezTo>
                <a:cubicBezTo>
                  <a:pt x="353" y="170"/>
                  <a:pt x="358" y="164"/>
                  <a:pt x="358" y="156"/>
                </a:cubicBezTo>
                <a:cubicBezTo>
                  <a:pt x="357" y="153"/>
                  <a:pt x="357" y="150"/>
                  <a:pt x="358" y="147"/>
                </a:cubicBezTo>
                <a:cubicBezTo>
                  <a:pt x="359" y="129"/>
                  <a:pt x="367" y="121"/>
                  <a:pt x="369" y="121"/>
                </a:cubicBezTo>
                <a:cubicBezTo>
                  <a:pt x="371" y="121"/>
                  <a:pt x="377" y="129"/>
                  <a:pt x="377" y="144"/>
                </a:cubicBezTo>
                <a:cubicBezTo>
                  <a:pt x="377" y="146"/>
                  <a:pt x="377" y="147"/>
                  <a:pt x="377" y="148"/>
                </a:cubicBezTo>
                <a:cubicBezTo>
                  <a:pt x="376" y="164"/>
                  <a:pt x="369" y="174"/>
                  <a:pt x="366" y="174"/>
                </a:cubicBezTo>
                <a:cubicBezTo>
                  <a:pt x="360" y="176"/>
                  <a:pt x="355" y="181"/>
                  <a:pt x="355" y="187"/>
                </a:cubicBezTo>
                <a:cubicBezTo>
                  <a:pt x="355" y="187"/>
                  <a:pt x="355" y="194"/>
                  <a:pt x="355" y="200"/>
                </a:cubicBezTo>
                <a:cubicBezTo>
                  <a:pt x="344" y="207"/>
                  <a:pt x="243" y="264"/>
                  <a:pt x="232" y="270"/>
                </a:cubicBezTo>
                <a:cubicBezTo>
                  <a:pt x="222" y="265"/>
                  <a:pt x="175" y="238"/>
                  <a:pt x="164" y="232"/>
                </a:cubicBezTo>
                <a:cubicBezTo>
                  <a:pt x="164" y="220"/>
                  <a:pt x="164" y="163"/>
                  <a:pt x="164" y="163"/>
                </a:cubicBezTo>
                <a:cubicBezTo>
                  <a:pt x="164" y="158"/>
                  <a:pt x="161" y="154"/>
                  <a:pt x="157" y="151"/>
                </a:cubicBezTo>
                <a:cubicBezTo>
                  <a:pt x="125" y="134"/>
                  <a:pt x="125" y="134"/>
                  <a:pt x="125" y="134"/>
                </a:cubicBezTo>
                <a:cubicBezTo>
                  <a:pt x="121" y="132"/>
                  <a:pt x="116" y="132"/>
                  <a:pt x="112" y="135"/>
                </a:cubicBezTo>
                <a:cubicBezTo>
                  <a:pt x="108" y="137"/>
                  <a:pt x="105" y="142"/>
                  <a:pt x="105" y="146"/>
                </a:cubicBezTo>
                <a:cubicBezTo>
                  <a:pt x="105" y="146"/>
                  <a:pt x="105" y="177"/>
                  <a:pt x="105" y="199"/>
                </a:cubicBezTo>
                <a:cubicBezTo>
                  <a:pt x="102" y="197"/>
                  <a:pt x="101" y="197"/>
                  <a:pt x="99" y="196"/>
                </a:cubicBezTo>
                <a:cubicBezTo>
                  <a:pt x="99" y="183"/>
                  <a:pt x="99" y="128"/>
                  <a:pt x="99" y="128"/>
                </a:cubicBezTo>
                <a:cubicBezTo>
                  <a:pt x="99" y="123"/>
                  <a:pt x="96" y="118"/>
                  <a:pt x="92" y="116"/>
                </a:cubicBezTo>
                <a:cubicBezTo>
                  <a:pt x="60" y="100"/>
                  <a:pt x="60" y="100"/>
                  <a:pt x="60" y="100"/>
                </a:cubicBezTo>
                <a:cubicBezTo>
                  <a:pt x="56" y="98"/>
                  <a:pt x="51" y="98"/>
                  <a:pt x="47" y="101"/>
                </a:cubicBezTo>
                <a:cubicBezTo>
                  <a:pt x="44" y="103"/>
                  <a:pt x="41" y="107"/>
                  <a:pt x="41" y="112"/>
                </a:cubicBezTo>
                <a:cubicBezTo>
                  <a:pt x="41" y="112"/>
                  <a:pt x="41" y="143"/>
                  <a:pt x="41" y="164"/>
                </a:cubicBezTo>
                <a:cubicBezTo>
                  <a:pt x="34" y="161"/>
                  <a:pt x="31" y="159"/>
                  <a:pt x="27" y="157"/>
                </a:cubicBezTo>
                <a:cubicBezTo>
                  <a:pt x="27" y="145"/>
                  <a:pt x="27" y="105"/>
                  <a:pt x="27" y="91"/>
                </a:cubicBezTo>
                <a:cubicBezTo>
                  <a:pt x="44" y="86"/>
                  <a:pt x="235" y="29"/>
                  <a:pt x="242" y="27"/>
                </a:cubicBezTo>
                <a:cubicBezTo>
                  <a:pt x="249" y="29"/>
                  <a:pt x="415" y="78"/>
                  <a:pt x="432" y="83"/>
                </a:cubicBezTo>
                <a:cubicBezTo>
                  <a:pt x="432" y="99"/>
                  <a:pt x="432" y="163"/>
                  <a:pt x="432" y="163"/>
                </a:cubicBezTo>
                <a:cubicBezTo>
                  <a:pt x="432" y="171"/>
                  <a:pt x="438" y="176"/>
                  <a:pt x="445" y="176"/>
                </a:cubicBezTo>
                <a:cubicBezTo>
                  <a:pt x="453" y="176"/>
                  <a:pt x="459" y="171"/>
                  <a:pt x="459" y="163"/>
                </a:cubicBezTo>
                <a:cubicBezTo>
                  <a:pt x="459" y="73"/>
                  <a:pt x="459" y="73"/>
                  <a:pt x="459" y="73"/>
                </a:cubicBezTo>
                <a:cubicBezTo>
                  <a:pt x="459" y="68"/>
                  <a:pt x="455" y="62"/>
                  <a:pt x="449" y="61"/>
                </a:cubicBezTo>
                <a:cubicBezTo>
                  <a:pt x="246" y="0"/>
                  <a:pt x="246" y="0"/>
                  <a:pt x="246" y="0"/>
                </a:cubicBezTo>
                <a:cubicBezTo>
                  <a:pt x="243" y="0"/>
                  <a:pt x="240" y="0"/>
                  <a:pt x="238" y="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4" name="Freeform 461"/>
          <p:cNvSpPr>
            <a:spLocks noEditPoints="1"/>
          </p:cNvSpPr>
          <p:nvPr userDrawn="1"/>
        </p:nvSpPr>
        <p:spPr bwMode="auto">
          <a:xfrm>
            <a:off x="4795497" y="2246791"/>
            <a:ext cx="234615" cy="378619"/>
          </a:xfrm>
          <a:custGeom>
            <a:avLst/>
            <a:gdLst/>
            <a:ahLst/>
            <a:cxnLst>
              <a:cxn ang="0">
                <a:pos x="85" y="1"/>
              </a:cxn>
              <a:cxn ang="0">
                <a:pos x="71" y="7"/>
              </a:cxn>
              <a:cxn ang="0">
                <a:pos x="64" y="24"/>
              </a:cxn>
              <a:cxn ang="0">
                <a:pos x="81" y="31"/>
              </a:cxn>
              <a:cxn ang="0">
                <a:pos x="92" y="27"/>
              </a:cxn>
              <a:cxn ang="0">
                <a:pos x="220" y="43"/>
              </a:cxn>
              <a:cxn ang="0">
                <a:pos x="180" y="63"/>
              </a:cxn>
              <a:cxn ang="0">
                <a:pos x="15" y="40"/>
              </a:cxn>
              <a:cxn ang="0">
                <a:pos x="5" y="43"/>
              </a:cxn>
              <a:cxn ang="0">
                <a:pos x="0" y="53"/>
              </a:cxn>
              <a:cxn ang="0">
                <a:pos x="0" y="385"/>
              </a:cxn>
              <a:cxn ang="0">
                <a:pos x="10" y="397"/>
              </a:cxn>
              <a:cxn ang="0">
                <a:pos x="121" y="432"/>
              </a:cxn>
              <a:cxn ang="0">
                <a:pos x="137" y="423"/>
              </a:cxn>
              <a:cxn ang="0">
                <a:pos x="138" y="419"/>
              </a:cxn>
              <a:cxn ang="0">
                <a:pos x="129" y="407"/>
              </a:cxn>
              <a:cxn ang="0">
                <a:pos x="27" y="375"/>
              </a:cxn>
              <a:cxn ang="0">
                <a:pos x="27" y="68"/>
              </a:cxn>
              <a:cxn ang="0">
                <a:pos x="169" y="88"/>
              </a:cxn>
              <a:cxn ang="0">
                <a:pos x="170" y="435"/>
              </a:cxn>
              <a:cxn ang="0">
                <a:pos x="177" y="447"/>
              </a:cxn>
              <a:cxn ang="0">
                <a:pos x="191" y="446"/>
              </a:cxn>
              <a:cxn ang="0">
                <a:pos x="273" y="391"/>
              </a:cxn>
              <a:cxn ang="0">
                <a:pos x="278" y="380"/>
              </a:cxn>
              <a:cxn ang="0">
                <a:pos x="278" y="35"/>
              </a:cxn>
              <a:cxn ang="0">
                <a:pos x="278" y="35"/>
              </a:cxn>
              <a:cxn ang="0">
                <a:pos x="278" y="33"/>
              </a:cxn>
              <a:cxn ang="0">
                <a:pos x="278" y="32"/>
              </a:cxn>
              <a:cxn ang="0">
                <a:pos x="277" y="30"/>
              </a:cxn>
              <a:cxn ang="0">
                <a:pos x="277" y="29"/>
              </a:cxn>
              <a:cxn ang="0">
                <a:pos x="276" y="28"/>
              </a:cxn>
              <a:cxn ang="0">
                <a:pos x="276" y="27"/>
              </a:cxn>
              <a:cxn ang="0">
                <a:pos x="274" y="26"/>
              </a:cxn>
              <a:cxn ang="0">
                <a:pos x="274" y="25"/>
              </a:cxn>
              <a:cxn ang="0">
                <a:pos x="274" y="25"/>
              </a:cxn>
              <a:cxn ang="0">
                <a:pos x="273" y="24"/>
              </a:cxn>
              <a:cxn ang="0">
                <a:pos x="272" y="24"/>
              </a:cxn>
              <a:cxn ang="0">
                <a:pos x="271" y="23"/>
              </a:cxn>
              <a:cxn ang="0">
                <a:pos x="270" y="23"/>
              </a:cxn>
              <a:cxn ang="0">
                <a:pos x="268" y="22"/>
              </a:cxn>
              <a:cxn ang="0">
                <a:pos x="267" y="22"/>
              </a:cxn>
              <a:cxn ang="0">
                <a:pos x="267" y="22"/>
              </a:cxn>
              <a:cxn ang="0">
                <a:pos x="91" y="0"/>
              </a:cxn>
              <a:cxn ang="0">
                <a:pos x="85" y="1"/>
              </a:cxn>
              <a:cxn ang="0">
                <a:pos x="240" y="63"/>
              </a:cxn>
              <a:cxn ang="0">
                <a:pos x="225" y="102"/>
              </a:cxn>
              <a:cxn ang="0">
                <a:pos x="204" y="80"/>
              </a:cxn>
              <a:cxn ang="0">
                <a:pos x="240" y="63"/>
              </a:cxn>
              <a:cxn ang="0">
                <a:pos x="232" y="140"/>
              </a:cxn>
              <a:cxn ang="0">
                <a:pos x="242" y="132"/>
              </a:cxn>
              <a:cxn ang="0">
                <a:pos x="252" y="106"/>
              </a:cxn>
              <a:cxn ang="0">
                <a:pos x="252" y="373"/>
              </a:cxn>
              <a:cxn ang="0">
                <a:pos x="196" y="410"/>
              </a:cxn>
              <a:cxn ang="0">
                <a:pos x="196" y="110"/>
              </a:cxn>
              <a:cxn ang="0">
                <a:pos x="219" y="136"/>
              </a:cxn>
              <a:cxn ang="0">
                <a:pos x="232" y="140"/>
              </a:cxn>
            </a:cxnLst>
            <a:rect l="0" t="0" r="r" b="b"/>
            <a:pathLst>
              <a:path w="278" h="449">
                <a:moveTo>
                  <a:pt x="85" y="1"/>
                </a:moveTo>
                <a:cubicBezTo>
                  <a:pt x="71" y="7"/>
                  <a:pt x="71" y="7"/>
                  <a:pt x="71" y="7"/>
                </a:cubicBezTo>
                <a:cubicBezTo>
                  <a:pt x="64" y="10"/>
                  <a:pt x="61" y="18"/>
                  <a:pt x="64" y="24"/>
                </a:cubicBezTo>
                <a:cubicBezTo>
                  <a:pt x="67" y="31"/>
                  <a:pt x="74" y="34"/>
                  <a:pt x="81" y="31"/>
                </a:cubicBezTo>
                <a:cubicBezTo>
                  <a:pt x="81" y="31"/>
                  <a:pt x="88" y="29"/>
                  <a:pt x="92" y="27"/>
                </a:cubicBezTo>
                <a:cubicBezTo>
                  <a:pt x="97" y="28"/>
                  <a:pt x="172" y="37"/>
                  <a:pt x="220" y="43"/>
                </a:cubicBezTo>
                <a:cubicBezTo>
                  <a:pt x="200" y="53"/>
                  <a:pt x="184" y="61"/>
                  <a:pt x="180" y="63"/>
                </a:cubicBezTo>
                <a:cubicBezTo>
                  <a:pt x="173" y="62"/>
                  <a:pt x="15" y="40"/>
                  <a:pt x="15" y="40"/>
                </a:cubicBezTo>
                <a:cubicBezTo>
                  <a:pt x="12" y="39"/>
                  <a:pt x="8" y="40"/>
                  <a:pt x="5" y="43"/>
                </a:cubicBezTo>
                <a:cubicBezTo>
                  <a:pt x="2" y="45"/>
                  <a:pt x="0" y="49"/>
                  <a:pt x="0" y="53"/>
                </a:cubicBezTo>
                <a:cubicBezTo>
                  <a:pt x="0" y="385"/>
                  <a:pt x="0" y="385"/>
                  <a:pt x="0" y="385"/>
                </a:cubicBezTo>
                <a:cubicBezTo>
                  <a:pt x="0" y="390"/>
                  <a:pt x="4" y="396"/>
                  <a:pt x="10" y="397"/>
                </a:cubicBezTo>
                <a:cubicBezTo>
                  <a:pt x="121" y="432"/>
                  <a:pt x="121" y="432"/>
                  <a:pt x="121" y="432"/>
                </a:cubicBezTo>
                <a:cubicBezTo>
                  <a:pt x="128" y="434"/>
                  <a:pt x="135" y="430"/>
                  <a:pt x="137" y="423"/>
                </a:cubicBezTo>
                <a:cubicBezTo>
                  <a:pt x="138" y="422"/>
                  <a:pt x="138" y="421"/>
                  <a:pt x="138" y="419"/>
                </a:cubicBezTo>
                <a:cubicBezTo>
                  <a:pt x="138" y="414"/>
                  <a:pt x="134" y="408"/>
                  <a:pt x="129" y="407"/>
                </a:cubicBezTo>
                <a:cubicBezTo>
                  <a:pt x="129" y="407"/>
                  <a:pt x="43" y="380"/>
                  <a:pt x="27" y="375"/>
                </a:cubicBezTo>
                <a:cubicBezTo>
                  <a:pt x="27" y="357"/>
                  <a:pt x="27" y="95"/>
                  <a:pt x="27" y="68"/>
                </a:cubicBezTo>
                <a:cubicBezTo>
                  <a:pt x="50" y="71"/>
                  <a:pt x="151" y="85"/>
                  <a:pt x="169" y="88"/>
                </a:cubicBezTo>
                <a:cubicBezTo>
                  <a:pt x="169" y="110"/>
                  <a:pt x="170" y="435"/>
                  <a:pt x="170" y="435"/>
                </a:cubicBezTo>
                <a:cubicBezTo>
                  <a:pt x="170" y="440"/>
                  <a:pt x="173" y="445"/>
                  <a:pt x="177" y="447"/>
                </a:cubicBezTo>
                <a:cubicBezTo>
                  <a:pt x="181" y="449"/>
                  <a:pt x="187" y="449"/>
                  <a:pt x="191" y="446"/>
                </a:cubicBezTo>
                <a:cubicBezTo>
                  <a:pt x="273" y="391"/>
                  <a:pt x="273" y="391"/>
                  <a:pt x="273" y="391"/>
                </a:cubicBezTo>
                <a:cubicBezTo>
                  <a:pt x="276" y="389"/>
                  <a:pt x="278" y="384"/>
                  <a:pt x="278" y="380"/>
                </a:cubicBezTo>
                <a:cubicBezTo>
                  <a:pt x="278" y="380"/>
                  <a:pt x="278" y="35"/>
                  <a:pt x="278" y="35"/>
                </a:cubicBezTo>
                <a:cubicBezTo>
                  <a:pt x="278" y="35"/>
                  <a:pt x="278" y="35"/>
                  <a:pt x="278" y="35"/>
                </a:cubicBezTo>
                <a:cubicBezTo>
                  <a:pt x="278" y="34"/>
                  <a:pt x="278" y="33"/>
                  <a:pt x="278" y="33"/>
                </a:cubicBezTo>
                <a:cubicBezTo>
                  <a:pt x="278" y="32"/>
                  <a:pt x="278" y="32"/>
                  <a:pt x="278" y="32"/>
                </a:cubicBezTo>
                <a:cubicBezTo>
                  <a:pt x="278" y="31"/>
                  <a:pt x="278" y="31"/>
                  <a:pt x="277" y="30"/>
                </a:cubicBezTo>
                <a:cubicBezTo>
                  <a:pt x="277" y="30"/>
                  <a:pt x="277" y="29"/>
                  <a:pt x="277" y="29"/>
                </a:cubicBezTo>
                <a:cubicBezTo>
                  <a:pt x="277" y="29"/>
                  <a:pt x="276" y="28"/>
                  <a:pt x="276" y="28"/>
                </a:cubicBezTo>
                <a:cubicBezTo>
                  <a:pt x="276" y="27"/>
                  <a:pt x="276" y="27"/>
                  <a:pt x="276" y="27"/>
                </a:cubicBezTo>
                <a:cubicBezTo>
                  <a:pt x="275" y="27"/>
                  <a:pt x="275" y="26"/>
                  <a:pt x="274" y="26"/>
                </a:cubicBezTo>
                <a:cubicBezTo>
                  <a:pt x="274" y="26"/>
                  <a:pt x="274" y="25"/>
                  <a:pt x="274" y="25"/>
                </a:cubicBezTo>
                <a:cubicBezTo>
                  <a:pt x="274" y="25"/>
                  <a:pt x="274" y="25"/>
                  <a:pt x="274" y="25"/>
                </a:cubicBezTo>
                <a:cubicBezTo>
                  <a:pt x="273" y="25"/>
                  <a:pt x="273" y="24"/>
                  <a:pt x="273" y="24"/>
                </a:cubicBezTo>
                <a:cubicBezTo>
                  <a:pt x="272" y="24"/>
                  <a:pt x="272" y="24"/>
                  <a:pt x="272" y="24"/>
                </a:cubicBezTo>
                <a:cubicBezTo>
                  <a:pt x="271" y="23"/>
                  <a:pt x="271" y="23"/>
                  <a:pt x="271" y="23"/>
                </a:cubicBezTo>
                <a:cubicBezTo>
                  <a:pt x="270" y="23"/>
                  <a:pt x="270" y="23"/>
                  <a:pt x="270" y="23"/>
                </a:cubicBezTo>
                <a:cubicBezTo>
                  <a:pt x="269" y="22"/>
                  <a:pt x="269" y="22"/>
                  <a:pt x="268" y="22"/>
                </a:cubicBezTo>
                <a:cubicBezTo>
                  <a:pt x="268" y="22"/>
                  <a:pt x="268" y="22"/>
                  <a:pt x="267" y="22"/>
                </a:cubicBezTo>
                <a:cubicBezTo>
                  <a:pt x="267" y="22"/>
                  <a:pt x="267" y="22"/>
                  <a:pt x="267" y="22"/>
                </a:cubicBezTo>
                <a:cubicBezTo>
                  <a:pt x="91" y="0"/>
                  <a:pt x="91" y="0"/>
                  <a:pt x="91" y="0"/>
                </a:cubicBezTo>
                <a:cubicBezTo>
                  <a:pt x="89" y="0"/>
                  <a:pt x="87" y="0"/>
                  <a:pt x="85" y="1"/>
                </a:cubicBezTo>
                <a:close/>
                <a:moveTo>
                  <a:pt x="240" y="63"/>
                </a:moveTo>
                <a:cubicBezTo>
                  <a:pt x="233" y="81"/>
                  <a:pt x="230" y="89"/>
                  <a:pt x="225" y="102"/>
                </a:cubicBezTo>
                <a:cubicBezTo>
                  <a:pt x="216" y="93"/>
                  <a:pt x="212" y="89"/>
                  <a:pt x="204" y="80"/>
                </a:cubicBezTo>
                <a:cubicBezTo>
                  <a:pt x="216" y="75"/>
                  <a:pt x="223" y="71"/>
                  <a:pt x="240" y="63"/>
                </a:cubicBezTo>
                <a:close/>
                <a:moveTo>
                  <a:pt x="232" y="140"/>
                </a:moveTo>
                <a:cubicBezTo>
                  <a:pt x="236" y="139"/>
                  <a:pt x="240" y="136"/>
                  <a:pt x="242" y="132"/>
                </a:cubicBezTo>
                <a:cubicBezTo>
                  <a:pt x="242" y="132"/>
                  <a:pt x="248" y="116"/>
                  <a:pt x="252" y="106"/>
                </a:cubicBezTo>
                <a:cubicBezTo>
                  <a:pt x="252" y="193"/>
                  <a:pt x="252" y="362"/>
                  <a:pt x="252" y="373"/>
                </a:cubicBezTo>
                <a:cubicBezTo>
                  <a:pt x="244" y="378"/>
                  <a:pt x="217" y="396"/>
                  <a:pt x="196" y="410"/>
                </a:cubicBezTo>
                <a:cubicBezTo>
                  <a:pt x="196" y="371"/>
                  <a:pt x="196" y="162"/>
                  <a:pt x="196" y="110"/>
                </a:cubicBezTo>
                <a:cubicBezTo>
                  <a:pt x="208" y="123"/>
                  <a:pt x="219" y="136"/>
                  <a:pt x="219" y="136"/>
                </a:cubicBezTo>
                <a:cubicBezTo>
                  <a:pt x="223" y="139"/>
                  <a:pt x="227" y="141"/>
                  <a:pt x="232" y="14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5" name="Freeform 489"/>
          <p:cNvSpPr>
            <a:spLocks/>
          </p:cNvSpPr>
          <p:nvPr userDrawn="1"/>
        </p:nvSpPr>
        <p:spPr bwMode="auto">
          <a:xfrm>
            <a:off x="4718683" y="2823907"/>
            <a:ext cx="388245" cy="257175"/>
          </a:xfrm>
          <a:custGeom>
            <a:avLst/>
            <a:gdLst/>
            <a:ahLst/>
            <a:cxnLst>
              <a:cxn ang="0">
                <a:pos x="223" y="2"/>
              </a:cxn>
              <a:cxn ang="0">
                <a:pos x="115" y="55"/>
              </a:cxn>
              <a:cxn ang="0">
                <a:pos x="26" y="68"/>
              </a:cxn>
              <a:cxn ang="0">
                <a:pos x="13" y="112"/>
              </a:cxn>
              <a:cxn ang="0">
                <a:pos x="13" y="139"/>
              </a:cxn>
              <a:cxn ang="0">
                <a:pos x="53" y="126"/>
              </a:cxn>
              <a:cxn ang="0">
                <a:pos x="102" y="82"/>
              </a:cxn>
              <a:cxn ang="0">
                <a:pos x="109" y="103"/>
              </a:cxn>
              <a:cxn ang="0">
                <a:pos x="234" y="26"/>
              </a:cxn>
              <a:cxn ang="0">
                <a:pos x="315" y="51"/>
              </a:cxn>
              <a:cxn ang="0">
                <a:pos x="432" y="64"/>
              </a:cxn>
              <a:cxn ang="0">
                <a:pos x="328" y="87"/>
              </a:cxn>
              <a:cxn ang="0">
                <a:pos x="315" y="101"/>
              </a:cxn>
              <a:cxn ang="0">
                <a:pos x="328" y="214"/>
              </a:cxn>
              <a:cxn ang="0">
                <a:pos x="432" y="237"/>
              </a:cxn>
              <a:cxn ang="0">
                <a:pos x="315" y="250"/>
              </a:cxn>
              <a:cxn ang="0">
                <a:pos x="234" y="278"/>
              </a:cxn>
              <a:cxn ang="0">
                <a:pos x="109" y="197"/>
              </a:cxn>
              <a:cxn ang="0">
                <a:pos x="102" y="219"/>
              </a:cxn>
              <a:cxn ang="0">
                <a:pos x="53" y="177"/>
              </a:cxn>
              <a:cxn ang="0">
                <a:pos x="39" y="164"/>
              </a:cxn>
              <a:cxn ang="0">
                <a:pos x="0" y="177"/>
              </a:cxn>
              <a:cxn ang="0">
                <a:pos x="26" y="190"/>
              </a:cxn>
              <a:cxn ang="0">
                <a:pos x="30" y="242"/>
              </a:cxn>
              <a:cxn ang="0">
                <a:pos x="115" y="246"/>
              </a:cxn>
              <a:cxn ang="0">
                <a:pos x="222" y="302"/>
              </a:cxn>
              <a:cxn ang="0">
                <a:pos x="328" y="305"/>
              </a:cxn>
              <a:cxn ang="0">
                <a:pos x="342" y="263"/>
              </a:cxn>
              <a:cxn ang="0">
                <a:pos x="459" y="250"/>
              </a:cxn>
              <a:cxn ang="0">
                <a:pos x="445" y="187"/>
              </a:cxn>
              <a:cxn ang="0">
                <a:pos x="342" y="114"/>
              </a:cxn>
              <a:cxn ang="0">
                <a:pos x="455" y="110"/>
              </a:cxn>
              <a:cxn ang="0">
                <a:pos x="459" y="51"/>
              </a:cxn>
              <a:cxn ang="0">
                <a:pos x="342" y="37"/>
              </a:cxn>
              <a:cxn ang="0">
                <a:pos x="328" y="0"/>
              </a:cxn>
            </a:cxnLst>
            <a:rect l="0" t="0" r="r" b="b"/>
            <a:pathLst>
              <a:path w="459" h="305">
                <a:moveTo>
                  <a:pt x="230" y="0"/>
                </a:moveTo>
                <a:cubicBezTo>
                  <a:pt x="227" y="0"/>
                  <a:pt x="225" y="1"/>
                  <a:pt x="223" y="2"/>
                </a:cubicBezTo>
                <a:cubicBezTo>
                  <a:pt x="223" y="2"/>
                  <a:pt x="156" y="47"/>
                  <a:pt x="128" y="66"/>
                </a:cubicBezTo>
                <a:cubicBezTo>
                  <a:pt x="127" y="60"/>
                  <a:pt x="122" y="55"/>
                  <a:pt x="115" y="55"/>
                </a:cubicBezTo>
                <a:cubicBezTo>
                  <a:pt x="39" y="55"/>
                  <a:pt x="39" y="55"/>
                  <a:pt x="39" y="55"/>
                </a:cubicBezTo>
                <a:cubicBezTo>
                  <a:pt x="32" y="55"/>
                  <a:pt x="26" y="61"/>
                  <a:pt x="26" y="68"/>
                </a:cubicBezTo>
                <a:cubicBezTo>
                  <a:pt x="26" y="68"/>
                  <a:pt x="26" y="97"/>
                  <a:pt x="26" y="112"/>
                </a:cubicBezTo>
                <a:cubicBezTo>
                  <a:pt x="20" y="112"/>
                  <a:pt x="13" y="112"/>
                  <a:pt x="13" y="112"/>
                </a:cubicBezTo>
                <a:cubicBezTo>
                  <a:pt x="6" y="112"/>
                  <a:pt x="0" y="118"/>
                  <a:pt x="0" y="126"/>
                </a:cubicBezTo>
                <a:cubicBezTo>
                  <a:pt x="0" y="133"/>
                  <a:pt x="6" y="139"/>
                  <a:pt x="13" y="139"/>
                </a:cubicBezTo>
                <a:cubicBezTo>
                  <a:pt x="39" y="139"/>
                  <a:pt x="39" y="139"/>
                  <a:pt x="39" y="139"/>
                </a:cubicBezTo>
                <a:cubicBezTo>
                  <a:pt x="47" y="139"/>
                  <a:pt x="53" y="133"/>
                  <a:pt x="53" y="126"/>
                </a:cubicBezTo>
                <a:cubicBezTo>
                  <a:pt x="53" y="126"/>
                  <a:pt x="53" y="97"/>
                  <a:pt x="53" y="82"/>
                </a:cubicBezTo>
                <a:cubicBezTo>
                  <a:pt x="67" y="82"/>
                  <a:pt x="88" y="82"/>
                  <a:pt x="102" y="82"/>
                </a:cubicBezTo>
                <a:cubicBezTo>
                  <a:pt x="102" y="86"/>
                  <a:pt x="102" y="91"/>
                  <a:pt x="102" y="91"/>
                </a:cubicBezTo>
                <a:cubicBezTo>
                  <a:pt x="102" y="96"/>
                  <a:pt x="105" y="101"/>
                  <a:pt x="109" y="103"/>
                </a:cubicBezTo>
                <a:cubicBezTo>
                  <a:pt x="113" y="105"/>
                  <a:pt x="119" y="105"/>
                  <a:pt x="123" y="102"/>
                </a:cubicBezTo>
                <a:cubicBezTo>
                  <a:pt x="123" y="102"/>
                  <a:pt x="228" y="31"/>
                  <a:pt x="234" y="26"/>
                </a:cubicBezTo>
                <a:cubicBezTo>
                  <a:pt x="241" y="26"/>
                  <a:pt x="296" y="26"/>
                  <a:pt x="315" y="26"/>
                </a:cubicBezTo>
                <a:cubicBezTo>
                  <a:pt x="315" y="38"/>
                  <a:pt x="315" y="51"/>
                  <a:pt x="315" y="51"/>
                </a:cubicBezTo>
                <a:cubicBezTo>
                  <a:pt x="315" y="58"/>
                  <a:pt x="321" y="64"/>
                  <a:pt x="328" y="64"/>
                </a:cubicBezTo>
                <a:cubicBezTo>
                  <a:pt x="328" y="64"/>
                  <a:pt x="411" y="64"/>
                  <a:pt x="432" y="64"/>
                </a:cubicBezTo>
                <a:cubicBezTo>
                  <a:pt x="432" y="73"/>
                  <a:pt x="432" y="78"/>
                  <a:pt x="432" y="87"/>
                </a:cubicBezTo>
                <a:cubicBezTo>
                  <a:pt x="411" y="87"/>
                  <a:pt x="328" y="87"/>
                  <a:pt x="328" y="87"/>
                </a:cubicBezTo>
                <a:cubicBezTo>
                  <a:pt x="325" y="87"/>
                  <a:pt x="321" y="89"/>
                  <a:pt x="319" y="91"/>
                </a:cubicBezTo>
                <a:cubicBezTo>
                  <a:pt x="316" y="94"/>
                  <a:pt x="315" y="97"/>
                  <a:pt x="315" y="101"/>
                </a:cubicBezTo>
                <a:cubicBezTo>
                  <a:pt x="315" y="200"/>
                  <a:pt x="315" y="200"/>
                  <a:pt x="315" y="200"/>
                </a:cubicBezTo>
                <a:cubicBezTo>
                  <a:pt x="315" y="208"/>
                  <a:pt x="321" y="214"/>
                  <a:pt x="328" y="214"/>
                </a:cubicBezTo>
                <a:cubicBezTo>
                  <a:pt x="328" y="214"/>
                  <a:pt x="411" y="214"/>
                  <a:pt x="432" y="214"/>
                </a:cubicBezTo>
                <a:cubicBezTo>
                  <a:pt x="432" y="223"/>
                  <a:pt x="432" y="228"/>
                  <a:pt x="432" y="237"/>
                </a:cubicBezTo>
                <a:cubicBezTo>
                  <a:pt x="411" y="237"/>
                  <a:pt x="328" y="237"/>
                  <a:pt x="328" y="237"/>
                </a:cubicBezTo>
                <a:cubicBezTo>
                  <a:pt x="321" y="237"/>
                  <a:pt x="315" y="243"/>
                  <a:pt x="315" y="250"/>
                </a:cubicBezTo>
                <a:cubicBezTo>
                  <a:pt x="315" y="250"/>
                  <a:pt x="315" y="266"/>
                  <a:pt x="315" y="278"/>
                </a:cubicBezTo>
                <a:cubicBezTo>
                  <a:pt x="296" y="278"/>
                  <a:pt x="241" y="278"/>
                  <a:pt x="234" y="278"/>
                </a:cubicBezTo>
                <a:cubicBezTo>
                  <a:pt x="228" y="274"/>
                  <a:pt x="123" y="198"/>
                  <a:pt x="123" y="198"/>
                </a:cubicBezTo>
                <a:cubicBezTo>
                  <a:pt x="119" y="195"/>
                  <a:pt x="114" y="195"/>
                  <a:pt x="109" y="197"/>
                </a:cubicBezTo>
                <a:cubicBezTo>
                  <a:pt x="105" y="200"/>
                  <a:pt x="102" y="204"/>
                  <a:pt x="102" y="209"/>
                </a:cubicBezTo>
                <a:cubicBezTo>
                  <a:pt x="102" y="209"/>
                  <a:pt x="102" y="214"/>
                  <a:pt x="102" y="219"/>
                </a:cubicBezTo>
                <a:cubicBezTo>
                  <a:pt x="88" y="219"/>
                  <a:pt x="67" y="219"/>
                  <a:pt x="53" y="219"/>
                </a:cubicBezTo>
                <a:cubicBezTo>
                  <a:pt x="53" y="204"/>
                  <a:pt x="53" y="177"/>
                  <a:pt x="53" y="177"/>
                </a:cubicBezTo>
                <a:cubicBezTo>
                  <a:pt x="53" y="174"/>
                  <a:pt x="51" y="170"/>
                  <a:pt x="49" y="168"/>
                </a:cubicBezTo>
                <a:cubicBezTo>
                  <a:pt x="46" y="165"/>
                  <a:pt x="43" y="164"/>
                  <a:pt x="39" y="164"/>
                </a:cubicBezTo>
                <a:cubicBezTo>
                  <a:pt x="13" y="164"/>
                  <a:pt x="13" y="164"/>
                  <a:pt x="13" y="164"/>
                </a:cubicBezTo>
                <a:cubicBezTo>
                  <a:pt x="6" y="164"/>
                  <a:pt x="0" y="170"/>
                  <a:pt x="0" y="177"/>
                </a:cubicBezTo>
                <a:cubicBezTo>
                  <a:pt x="0" y="185"/>
                  <a:pt x="6" y="191"/>
                  <a:pt x="13" y="190"/>
                </a:cubicBezTo>
                <a:cubicBezTo>
                  <a:pt x="13" y="190"/>
                  <a:pt x="20" y="190"/>
                  <a:pt x="26" y="190"/>
                </a:cubicBezTo>
                <a:cubicBezTo>
                  <a:pt x="26" y="206"/>
                  <a:pt x="26" y="233"/>
                  <a:pt x="26" y="233"/>
                </a:cubicBezTo>
                <a:cubicBezTo>
                  <a:pt x="26" y="236"/>
                  <a:pt x="27" y="240"/>
                  <a:pt x="30" y="242"/>
                </a:cubicBezTo>
                <a:cubicBezTo>
                  <a:pt x="32" y="245"/>
                  <a:pt x="36" y="246"/>
                  <a:pt x="39" y="246"/>
                </a:cubicBezTo>
                <a:cubicBezTo>
                  <a:pt x="115" y="246"/>
                  <a:pt x="115" y="246"/>
                  <a:pt x="115" y="246"/>
                </a:cubicBezTo>
                <a:cubicBezTo>
                  <a:pt x="122" y="246"/>
                  <a:pt x="127" y="241"/>
                  <a:pt x="128" y="235"/>
                </a:cubicBezTo>
                <a:cubicBezTo>
                  <a:pt x="156" y="255"/>
                  <a:pt x="222" y="302"/>
                  <a:pt x="222" y="302"/>
                </a:cubicBezTo>
                <a:cubicBezTo>
                  <a:pt x="225" y="304"/>
                  <a:pt x="227" y="305"/>
                  <a:pt x="230" y="305"/>
                </a:cubicBezTo>
                <a:cubicBezTo>
                  <a:pt x="328" y="305"/>
                  <a:pt x="328" y="305"/>
                  <a:pt x="328" y="305"/>
                </a:cubicBezTo>
                <a:cubicBezTo>
                  <a:pt x="336" y="305"/>
                  <a:pt x="342" y="299"/>
                  <a:pt x="342" y="292"/>
                </a:cubicBezTo>
                <a:cubicBezTo>
                  <a:pt x="342" y="292"/>
                  <a:pt x="342" y="276"/>
                  <a:pt x="342" y="263"/>
                </a:cubicBezTo>
                <a:cubicBezTo>
                  <a:pt x="363" y="263"/>
                  <a:pt x="445" y="263"/>
                  <a:pt x="445" y="263"/>
                </a:cubicBezTo>
                <a:cubicBezTo>
                  <a:pt x="453" y="263"/>
                  <a:pt x="459" y="257"/>
                  <a:pt x="459" y="250"/>
                </a:cubicBezTo>
                <a:cubicBezTo>
                  <a:pt x="459" y="200"/>
                  <a:pt x="459" y="200"/>
                  <a:pt x="459" y="200"/>
                </a:cubicBezTo>
                <a:cubicBezTo>
                  <a:pt x="459" y="193"/>
                  <a:pt x="453" y="187"/>
                  <a:pt x="445" y="187"/>
                </a:cubicBezTo>
                <a:cubicBezTo>
                  <a:pt x="445" y="187"/>
                  <a:pt x="363" y="187"/>
                  <a:pt x="342" y="187"/>
                </a:cubicBezTo>
                <a:cubicBezTo>
                  <a:pt x="342" y="170"/>
                  <a:pt x="342" y="131"/>
                  <a:pt x="342" y="114"/>
                </a:cubicBezTo>
                <a:cubicBezTo>
                  <a:pt x="363" y="114"/>
                  <a:pt x="445" y="114"/>
                  <a:pt x="445" y="114"/>
                </a:cubicBezTo>
                <a:cubicBezTo>
                  <a:pt x="449" y="114"/>
                  <a:pt x="452" y="113"/>
                  <a:pt x="455" y="110"/>
                </a:cubicBezTo>
                <a:cubicBezTo>
                  <a:pt x="457" y="108"/>
                  <a:pt x="459" y="104"/>
                  <a:pt x="459" y="101"/>
                </a:cubicBezTo>
                <a:cubicBezTo>
                  <a:pt x="459" y="51"/>
                  <a:pt x="459" y="51"/>
                  <a:pt x="459" y="51"/>
                </a:cubicBezTo>
                <a:cubicBezTo>
                  <a:pt x="459" y="43"/>
                  <a:pt x="453" y="37"/>
                  <a:pt x="445" y="37"/>
                </a:cubicBezTo>
                <a:cubicBezTo>
                  <a:pt x="445" y="37"/>
                  <a:pt x="363" y="37"/>
                  <a:pt x="342" y="37"/>
                </a:cubicBezTo>
                <a:cubicBezTo>
                  <a:pt x="342" y="26"/>
                  <a:pt x="342" y="13"/>
                  <a:pt x="342" y="13"/>
                </a:cubicBezTo>
                <a:cubicBezTo>
                  <a:pt x="342" y="6"/>
                  <a:pt x="336" y="0"/>
                  <a:pt x="328" y="0"/>
                </a:cubicBezTo>
                <a:lnTo>
                  <a:pt x="230"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6" name="Freeform 509"/>
          <p:cNvSpPr>
            <a:spLocks/>
          </p:cNvSpPr>
          <p:nvPr userDrawn="1"/>
        </p:nvSpPr>
        <p:spPr bwMode="auto">
          <a:xfrm>
            <a:off x="4747265" y="3900640"/>
            <a:ext cx="331080" cy="183356"/>
          </a:xfrm>
          <a:custGeom>
            <a:avLst/>
            <a:gdLst/>
            <a:ahLst/>
            <a:cxnLst>
              <a:cxn ang="0">
                <a:pos x="278" y="38"/>
              </a:cxn>
              <a:cxn ang="0">
                <a:pos x="278" y="154"/>
              </a:cxn>
              <a:cxn ang="0">
                <a:pos x="0" y="154"/>
              </a:cxn>
              <a:cxn ang="0">
                <a:pos x="0" y="0"/>
              </a:cxn>
              <a:cxn ang="0">
                <a:pos x="275" y="0"/>
              </a:cxn>
              <a:cxn ang="0">
                <a:pos x="146" y="115"/>
              </a:cxn>
              <a:cxn ang="0">
                <a:pos x="29" y="28"/>
              </a:cxn>
            </a:cxnLst>
            <a:rect l="0" t="0" r="r" b="b"/>
            <a:pathLst>
              <a:path w="278" h="154">
                <a:moveTo>
                  <a:pt x="278" y="38"/>
                </a:moveTo>
                <a:lnTo>
                  <a:pt x="278" y="154"/>
                </a:lnTo>
                <a:lnTo>
                  <a:pt x="0" y="154"/>
                </a:lnTo>
                <a:lnTo>
                  <a:pt x="0" y="0"/>
                </a:lnTo>
                <a:lnTo>
                  <a:pt x="275" y="0"/>
                </a:lnTo>
                <a:lnTo>
                  <a:pt x="146" y="115"/>
                </a:lnTo>
                <a:lnTo>
                  <a:pt x="29" y="28"/>
                </a:lnTo>
              </a:path>
            </a:pathLst>
          </a:custGeom>
          <a:noFill/>
          <a:ln w="30163"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7" name="Freeform 296"/>
          <p:cNvSpPr>
            <a:spLocks/>
          </p:cNvSpPr>
          <p:nvPr userDrawn="1"/>
        </p:nvSpPr>
        <p:spPr bwMode="auto">
          <a:xfrm>
            <a:off x="5171205" y="870647"/>
            <a:ext cx="394200" cy="391716"/>
          </a:xfrm>
          <a:custGeom>
            <a:avLst/>
            <a:gdLst/>
            <a:ahLst/>
            <a:cxnLst>
              <a:cxn ang="0">
                <a:pos x="28" y="139"/>
              </a:cxn>
              <a:cxn ang="0">
                <a:pos x="97" y="174"/>
              </a:cxn>
              <a:cxn ang="0">
                <a:pos x="159" y="111"/>
              </a:cxn>
              <a:cxn ang="0">
                <a:pos x="181" y="104"/>
              </a:cxn>
              <a:cxn ang="0">
                <a:pos x="236" y="147"/>
              </a:cxn>
              <a:cxn ang="0">
                <a:pos x="263" y="100"/>
              </a:cxn>
              <a:cxn ang="0">
                <a:pos x="289" y="156"/>
              </a:cxn>
              <a:cxn ang="0">
                <a:pos x="303" y="239"/>
              </a:cxn>
              <a:cxn ang="0">
                <a:pos x="265" y="309"/>
              </a:cxn>
              <a:cxn ang="0">
                <a:pos x="230" y="305"/>
              </a:cxn>
              <a:cxn ang="0">
                <a:pos x="219" y="276"/>
              </a:cxn>
              <a:cxn ang="0">
                <a:pos x="119" y="263"/>
              </a:cxn>
              <a:cxn ang="0">
                <a:pos x="60" y="198"/>
              </a:cxn>
              <a:cxn ang="0">
                <a:pos x="10" y="287"/>
              </a:cxn>
              <a:cxn ang="0">
                <a:pos x="321" y="444"/>
              </a:cxn>
              <a:cxn ang="0">
                <a:pos x="164" y="379"/>
              </a:cxn>
              <a:cxn ang="0">
                <a:pos x="293" y="402"/>
              </a:cxn>
              <a:cxn ang="0">
                <a:pos x="306" y="421"/>
              </a:cxn>
              <a:cxn ang="0">
                <a:pos x="36" y="281"/>
              </a:cxn>
              <a:cxn ang="0">
                <a:pos x="37" y="212"/>
              </a:cxn>
              <a:cxn ang="0">
                <a:pos x="132" y="287"/>
              </a:cxn>
              <a:cxn ang="0">
                <a:pos x="196" y="289"/>
              </a:cxn>
              <a:cxn ang="0">
                <a:pos x="206" y="317"/>
              </a:cxn>
              <a:cxn ang="0">
                <a:pos x="250" y="332"/>
              </a:cxn>
              <a:cxn ang="0">
                <a:pos x="315" y="276"/>
              </a:cxn>
              <a:cxn ang="0">
                <a:pos x="305" y="133"/>
              </a:cxn>
              <a:cxn ang="0">
                <a:pos x="283" y="73"/>
              </a:cxn>
              <a:cxn ang="0">
                <a:pos x="221" y="118"/>
              </a:cxn>
              <a:cxn ang="0">
                <a:pos x="197" y="78"/>
              </a:cxn>
              <a:cxn ang="0">
                <a:pos x="124" y="109"/>
              </a:cxn>
              <a:cxn ang="0">
                <a:pos x="64" y="152"/>
              </a:cxn>
              <a:cxn ang="0">
                <a:pos x="177" y="45"/>
              </a:cxn>
              <a:cxn ang="0">
                <a:pos x="435" y="207"/>
              </a:cxn>
              <a:cxn ang="0">
                <a:pos x="421" y="243"/>
              </a:cxn>
              <a:cxn ang="0">
                <a:pos x="355" y="228"/>
              </a:cxn>
              <a:cxn ang="0">
                <a:pos x="334" y="277"/>
              </a:cxn>
              <a:cxn ang="0">
                <a:pos x="344" y="348"/>
              </a:cxn>
              <a:cxn ang="0">
                <a:pos x="407" y="308"/>
              </a:cxn>
              <a:cxn ang="0">
                <a:pos x="395" y="358"/>
              </a:cxn>
              <a:cxn ang="0">
                <a:pos x="353" y="416"/>
              </a:cxn>
              <a:cxn ang="0">
                <a:pos x="446" y="325"/>
              </a:cxn>
              <a:cxn ang="0">
                <a:pos x="405" y="281"/>
              </a:cxn>
              <a:cxn ang="0">
                <a:pos x="348" y="321"/>
              </a:cxn>
              <a:cxn ang="0">
                <a:pos x="368" y="282"/>
              </a:cxn>
              <a:cxn ang="0">
                <a:pos x="378" y="243"/>
              </a:cxn>
              <a:cxn ang="0">
                <a:pos x="402" y="263"/>
              </a:cxn>
              <a:cxn ang="0">
                <a:pos x="462" y="203"/>
              </a:cxn>
              <a:cxn ang="0">
                <a:pos x="168" y="19"/>
              </a:cxn>
            </a:cxnLst>
            <a:rect l="0" t="0" r="r" b="b"/>
            <a:pathLst>
              <a:path w="465" h="463">
                <a:moveTo>
                  <a:pt x="168" y="19"/>
                </a:moveTo>
                <a:cubicBezTo>
                  <a:pt x="158" y="22"/>
                  <a:pt x="75" y="46"/>
                  <a:pt x="30" y="133"/>
                </a:cubicBezTo>
                <a:cubicBezTo>
                  <a:pt x="29" y="135"/>
                  <a:pt x="28" y="137"/>
                  <a:pt x="28" y="139"/>
                </a:cubicBezTo>
                <a:cubicBezTo>
                  <a:pt x="28" y="141"/>
                  <a:pt x="29" y="157"/>
                  <a:pt x="46" y="172"/>
                </a:cubicBezTo>
                <a:cubicBezTo>
                  <a:pt x="62" y="186"/>
                  <a:pt x="84" y="181"/>
                  <a:pt x="94" y="175"/>
                </a:cubicBezTo>
                <a:cubicBezTo>
                  <a:pt x="95" y="175"/>
                  <a:pt x="96" y="174"/>
                  <a:pt x="97" y="174"/>
                </a:cubicBezTo>
                <a:cubicBezTo>
                  <a:pt x="105" y="168"/>
                  <a:pt x="110" y="160"/>
                  <a:pt x="116" y="152"/>
                </a:cubicBezTo>
                <a:cubicBezTo>
                  <a:pt x="121" y="145"/>
                  <a:pt x="127" y="136"/>
                  <a:pt x="131" y="135"/>
                </a:cubicBezTo>
                <a:cubicBezTo>
                  <a:pt x="146" y="132"/>
                  <a:pt x="153" y="120"/>
                  <a:pt x="159" y="111"/>
                </a:cubicBezTo>
                <a:cubicBezTo>
                  <a:pt x="161" y="108"/>
                  <a:pt x="163" y="104"/>
                  <a:pt x="164" y="103"/>
                </a:cubicBezTo>
                <a:cubicBezTo>
                  <a:pt x="168" y="100"/>
                  <a:pt x="175" y="100"/>
                  <a:pt x="181" y="101"/>
                </a:cubicBezTo>
                <a:cubicBezTo>
                  <a:pt x="181" y="102"/>
                  <a:pt x="181" y="103"/>
                  <a:pt x="181" y="104"/>
                </a:cubicBezTo>
                <a:cubicBezTo>
                  <a:pt x="184" y="117"/>
                  <a:pt x="188" y="134"/>
                  <a:pt x="202" y="138"/>
                </a:cubicBezTo>
                <a:cubicBezTo>
                  <a:pt x="203" y="139"/>
                  <a:pt x="206" y="141"/>
                  <a:pt x="209" y="142"/>
                </a:cubicBezTo>
                <a:cubicBezTo>
                  <a:pt x="217" y="146"/>
                  <a:pt x="227" y="151"/>
                  <a:pt x="236" y="147"/>
                </a:cubicBezTo>
                <a:cubicBezTo>
                  <a:pt x="239" y="145"/>
                  <a:pt x="244" y="141"/>
                  <a:pt x="246" y="133"/>
                </a:cubicBezTo>
                <a:cubicBezTo>
                  <a:pt x="249" y="112"/>
                  <a:pt x="255" y="93"/>
                  <a:pt x="260" y="86"/>
                </a:cubicBezTo>
                <a:cubicBezTo>
                  <a:pt x="261" y="90"/>
                  <a:pt x="262" y="96"/>
                  <a:pt x="263" y="100"/>
                </a:cubicBezTo>
                <a:cubicBezTo>
                  <a:pt x="264" y="105"/>
                  <a:pt x="265" y="110"/>
                  <a:pt x="266" y="114"/>
                </a:cubicBezTo>
                <a:cubicBezTo>
                  <a:pt x="272" y="131"/>
                  <a:pt x="277" y="142"/>
                  <a:pt x="285" y="151"/>
                </a:cubicBezTo>
                <a:cubicBezTo>
                  <a:pt x="285" y="151"/>
                  <a:pt x="289" y="156"/>
                  <a:pt x="289" y="156"/>
                </a:cubicBezTo>
                <a:cubicBezTo>
                  <a:pt x="301" y="169"/>
                  <a:pt x="311" y="180"/>
                  <a:pt x="314" y="191"/>
                </a:cubicBezTo>
                <a:cubicBezTo>
                  <a:pt x="315" y="194"/>
                  <a:pt x="315" y="197"/>
                  <a:pt x="315" y="200"/>
                </a:cubicBezTo>
                <a:cubicBezTo>
                  <a:pt x="315" y="209"/>
                  <a:pt x="312" y="220"/>
                  <a:pt x="303" y="239"/>
                </a:cubicBezTo>
                <a:cubicBezTo>
                  <a:pt x="299" y="246"/>
                  <a:pt x="295" y="255"/>
                  <a:pt x="290" y="265"/>
                </a:cubicBezTo>
                <a:cubicBezTo>
                  <a:pt x="284" y="278"/>
                  <a:pt x="274" y="301"/>
                  <a:pt x="267" y="310"/>
                </a:cubicBezTo>
                <a:cubicBezTo>
                  <a:pt x="266" y="310"/>
                  <a:pt x="266" y="310"/>
                  <a:pt x="265" y="309"/>
                </a:cubicBezTo>
                <a:cubicBezTo>
                  <a:pt x="261" y="307"/>
                  <a:pt x="257" y="305"/>
                  <a:pt x="250" y="305"/>
                </a:cubicBezTo>
                <a:cubicBezTo>
                  <a:pt x="244" y="305"/>
                  <a:pt x="244" y="305"/>
                  <a:pt x="244" y="305"/>
                </a:cubicBezTo>
                <a:cubicBezTo>
                  <a:pt x="241" y="305"/>
                  <a:pt x="234" y="306"/>
                  <a:pt x="230" y="305"/>
                </a:cubicBezTo>
                <a:cubicBezTo>
                  <a:pt x="230" y="303"/>
                  <a:pt x="229" y="301"/>
                  <a:pt x="229" y="300"/>
                </a:cubicBezTo>
                <a:cubicBezTo>
                  <a:pt x="228" y="294"/>
                  <a:pt x="227" y="288"/>
                  <a:pt x="223" y="282"/>
                </a:cubicBezTo>
                <a:cubicBezTo>
                  <a:pt x="223" y="282"/>
                  <a:pt x="219" y="276"/>
                  <a:pt x="219" y="276"/>
                </a:cubicBezTo>
                <a:cubicBezTo>
                  <a:pt x="216" y="270"/>
                  <a:pt x="213" y="265"/>
                  <a:pt x="204" y="258"/>
                </a:cubicBezTo>
                <a:cubicBezTo>
                  <a:pt x="189" y="243"/>
                  <a:pt x="167" y="246"/>
                  <a:pt x="148" y="250"/>
                </a:cubicBezTo>
                <a:cubicBezTo>
                  <a:pt x="141" y="252"/>
                  <a:pt x="132" y="256"/>
                  <a:pt x="119" y="263"/>
                </a:cubicBezTo>
                <a:cubicBezTo>
                  <a:pt x="111" y="268"/>
                  <a:pt x="94" y="277"/>
                  <a:pt x="87" y="278"/>
                </a:cubicBezTo>
                <a:cubicBezTo>
                  <a:pt x="84" y="275"/>
                  <a:pt x="77" y="264"/>
                  <a:pt x="77" y="255"/>
                </a:cubicBezTo>
                <a:cubicBezTo>
                  <a:pt x="76" y="240"/>
                  <a:pt x="74" y="218"/>
                  <a:pt x="60" y="198"/>
                </a:cubicBezTo>
                <a:cubicBezTo>
                  <a:pt x="49" y="181"/>
                  <a:pt x="36" y="180"/>
                  <a:pt x="24" y="180"/>
                </a:cubicBezTo>
                <a:cubicBezTo>
                  <a:pt x="20" y="180"/>
                  <a:pt x="16" y="182"/>
                  <a:pt x="13" y="185"/>
                </a:cubicBezTo>
                <a:cubicBezTo>
                  <a:pt x="4" y="196"/>
                  <a:pt x="0" y="240"/>
                  <a:pt x="10" y="287"/>
                </a:cubicBezTo>
                <a:cubicBezTo>
                  <a:pt x="15" y="313"/>
                  <a:pt x="29" y="343"/>
                  <a:pt x="48" y="370"/>
                </a:cubicBezTo>
                <a:cubicBezTo>
                  <a:pt x="79" y="412"/>
                  <a:pt x="145" y="463"/>
                  <a:pt x="231" y="463"/>
                </a:cubicBezTo>
                <a:cubicBezTo>
                  <a:pt x="272" y="463"/>
                  <a:pt x="302" y="456"/>
                  <a:pt x="321" y="444"/>
                </a:cubicBezTo>
                <a:cubicBezTo>
                  <a:pt x="330" y="438"/>
                  <a:pt x="334" y="429"/>
                  <a:pt x="333" y="418"/>
                </a:cubicBezTo>
                <a:cubicBezTo>
                  <a:pt x="332" y="400"/>
                  <a:pt x="315" y="383"/>
                  <a:pt x="304" y="378"/>
                </a:cubicBezTo>
                <a:cubicBezTo>
                  <a:pt x="282" y="368"/>
                  <a:pt x="211" y="353"/>
                  <a:pt x="164" y="379"/>
                </a:cubicBezTo>
                <a:cubicBezTo>
                  <a:pt x="157" y="383"/>
                  <a:pt x="155" y="391"/>
                  <a:pt x="159" y="397"/>
                </a:cubicBezTo>
                <a:cubicBezTo>
                  <a:pt x="162" y="404"/>
                  <a:pt x="171" y="406"/>
                  <a:pt x="177" y="403"/>
                </a:cubicBezTo>
                <a:cubicBezTo>
                  <a:pt x="214" y="382"/>
                  <a:pt x="276" y="394"/>
                  <a:pt x="293" y="402"/>
                </a:cubicBezTo>
                <a:cubicBezTo>
                  <a:pt x="298" y="405"/>
                  <a:pt x="306" y="416"/>
                  <a:pt x="306" y="421"/>
                </a:cubicBezTo>
                <a:cubicBezTo>
                  <a:pt x="306" y="421"/>
                  <a:pt x="306" y="421"/>
                  <a:pt x="306" y="421"/>
                </a:cubicBezTo>
                <a:cubicBezTo>
                  <a:pt x="306" y="421"/>
                  <a:pt x="306" y="421"/>
                  <a:pt x="306" y="421"/>
                </a:cubicBezTo>
                <a:cubicBezTo>
                  <a:pt x="298" y="427"/>
                  <a:pt x="278" y="436"/>
                  <a:pt x="231" y="436"/>
                </a:cubicBezTo>
                <a:cubicBezTo>
                  <a:pt x="160" y="435"/>
                  <a:pt x="99" y="394"/>
                  <a:pt x="70" y="354"/>
                </a:cubicBezTo>
                <a:cubicBezTo>
                  <a:pt x="53" y="330"/>
                  <a:pt x="41" y="304"/>
                  <a:pt x="36" y="281"/>
                </a:cubicBezTo>
                <a:cubicBezTo>
                  <a:pt x="33" y="262"/>
                  <a:pt x="31" y="246"/>
                  <a:pt x="31" y="234"/>
                </a:cubicBezTo>
                <a:cubicBezTo>
                  <a:pt x="31" y="222"/>
                  <a:pt x="32" y="214"/>
                  <a:pt x="33" y="208"/>
                </a:cubicBezTo>
                <a:cubicBezTo>
                  <a:pt x="35" y="209"/>
                  <a:pt x="36" y="210"/>
                  <a:pt x="37" y="212"/>
                </a:cubicBezTo>
                <a:cubicBezTo>
                  <a:pt x="47" y="227"/>
                  <a:pt x="49" y="244"/>
                  <a:pt x="50" y="256"/>
                </a:cubicBezTo>
                <a:cubicBezTo>
                  <a:pt x="51" y="272"/>
                  <a:pt x="63" y="303"/>
                  <a:pt x="84" y="305"/>
                </a:cubicBezTo>
                <a:cubicBezTo>
                  <a:pt x="96" y="306"/>
                  <a:pt x="110" y="299"/>
                  <a:pt x="132" y="287"/>
                </a:cubicBezTo>
                <a:cubicBezTo>
                  <a:pt x="140" y="283"/>
                  <a:pt x="150" y="277"/>
                  <a:pt x="154" y="277"/>
                </a:cubicBezTo>
                <a:cubicBezTo>
                  <a:pt x="165" y="274"/>
                  <a:pt x="180" y="272"/>
                  <a:pt x="186" y="277"/>
                </a:cubicBezTo>
                <a:cubicBezTo>
                  <a:pt x="192" y="283"/>
                  <a:pt x="193" y="285"/>
                  <a:pt x="196" y="289"/>
                </a:cubicBezTo>
                <a:cubicBezTo>
                  <a:pt x="200" y="297"/>
                  <a:pt x="200" y="297"/>
                  <a:pt x="200" y="297"/>
                </a:cubicBezTo>
                <a:cubicBezTo>
                  <a:pt x="201" y="298"/>
                  <a:pt x="202" y="302"/>
                  <a:pt x="202" y="305"/>
                </a:cubicBezTo>
                <a:cubicBezTo>
                  <a:pt x="203" y="309"/>
                  <a:pt x="204" y="313"/>
                  <a:pt x="206" y="317"/>
                </a:cubicBezTo>
                <a:cubicBezTo>
                  <a:pt x="213" y="334"/>
                  <a:pt x="234" y="333"/>
                  <a:pt x="246" y="332"/>
                </a:cubicBezTo>
                <a:cubicBezTo>
                  <a:pt x="246" y="332"/>
                  <a:pt x="249" y="332"/>
                  <a:pt x="250" y="332"/>
                </a:cubicBezTo>
                <a:cubicBezTo>
                  <a:pt x="250" y="332"/>
                  <a:pt x="250" y="332"/>
                  <a:pt x="250" y="332"/>
                </a:cubicBezTo>
                <a:cubicBezTo>
                  <a:pt x="253" y="333"/>
                  <a:pt x="256" y="336"/>
                  <a:pt x="261" y="338"/>
                </a:cubicBezTo>
                <a:cubicBezTo>
                  <a:pt x="278" y="346"/>
                  <a:pt x="290" y="325"/>
                  <a:pt x="295" y="317"/>
                </a:cubicBezTo>
                <a:cubicBezTo>
                  <a:pt x="302" y="305"/>
                  <a:pt x="308" y="290"/>
                  <a:pt x="315" y="276"/>
                </a:cubicBezTo>
                <a:cubicBezTo>
                  <a:pt x="319" y="267"/>
                  <a:pt x="323" y="258"/>
                  <a:pt x="327" y="251"/>
                </a:cubicBezTo>
                <a:cubicBezTo>
                  <a:pt x="358" y="192"/>
                  <a:pt x="336" y="168"/>
                  <a:pt x="309" y="138"/>
                </a:cubicBezTo>
                <a:cubicBezTo>
                  <a:pt x="305" y="133"/>
                  <a:pt x="305" y="133"/>
                  <a:pt x="305" y="133"/>
                </a:cubicBezTo>
                <a:cubicBezTo>
                  <a:pt x="300" y="127"/>
                  <a:pt x="296" y="119"/>
                  <a:pt x="292" y="106"/>
                </a:cubicBezTo>
                <a:cubicBezTo>
                  <a:pt x="291" y="103"/>
                  <a:pt x="291" y="99"/>
                  <a:pt x="290" y="95"/>
                </a:cubicBezTo>
                <a:cubicBezTo>
                  <a:pt x="288" y="88"/>
                  <a:pt x="287" y="80"/>
                  <a:pt x="283" y="73"/>
                </a:cubicBezTo>
                <a:cubicBezTo>
                  <a:pt x="278" y="62"/>
                  <a:pt x="268" y="57"/>
                  <a:pt x="257" y="58"/>
                </a:cubicBezTo>
                <a:cubicBezTo>
                  <a:pt x="240" y="59"/>
                  <a:pt x="232" y="79"/>
                  <a:pt x="227" y="93"/>
                </a:cubicBezTo>
                <a:cubicBezTo>
                  <a:pt x="224" y="102"/>
                  <a:pt x="222" y="111"/>
                  <a:pt x="221" y="118"/>
                </a:cubicBezTo>
                <a:cubicBezTo>
                  <a:pt x="218" y="116"/>
                  <a:pt x="215" y="115"/>
                  <a:pt x="213" y="114"/>
                </a:cubicBezTo>
                <a:cubicBezTo>
                  <a:pt x="211" y="111"/>
                  <a:pt x="209" y="102"/>
                  <a:pt x="208" y="98"/>
                </a:cubicBezTo>
                <a:cubicBezTo>
                  <a:pt x="206" y="89"/>
                  <a:pt x="204" y="82"/>
                  <a:pt x="197" y="78"/>
                </a:cubicBezTo>
                <a:cubicBezTo>
                  <a:pt x="190" y="75"/>
                  <a:pt x="164" y="68"/>
                  <a:pt x="147" y="82"/>
                </a:cubicBezTo>
                <a:cubicBezTo>
                  <a:pt x="142" y="86"/>
                  <a:pt x="139" y="92"/>
                  <a:pt x="136" y="97"/>
                </a:cubicBezTo>
                <a:cubicBezTo>
                  <a:pt x="131" y="104"/>
                  <a:pt x="128" y="108"/>
                  <a:pt x="124" y="109"/>
                </a:cubicBezTo>
                <a:cubicBezTo>
                  <a:pt x="111" y="112"/>
                  <a:pt x="102" y="124"/>
                  <a:pt x="94" y="136"/>
                </a:cubicBezTo>
                <a:cubicBezTo>
                  <a:pt x="90" y="142"/>
                  <a:pt x="85" y="148"/>
                  <a:pt x="81" y="152"/>
                </a:cubicBezTo>
                <a:cubicBezTo>
                  <a:pt x="77" y="153"/>
                  <a:pt x="68" y="155"/>
                  <a:pt x="64" y="152"/>
                </a:cubicBezTo>
                <a:cubicBezTo>
                  <a:pt x="59" y="147"/>
                  <a:pt x="57" y="144"/>
                  <a:pt x="56" y="141"/>
                </a:cubicBezTo>
                <a:cubicBezTo>
                  <a:pt x="98" y="65"/>
                  <a:pt x="175" y="46"/>
                  <a:pt x="176" y="46"/>
                </a:cubicBezTo>
                <a:cubicBezTo>
                  <a:pt x="176" y="45"/>
                  <a:pt x="177" y="45"/>
                  <a:pt x="177" y="45"/>
                </a:cubicBezTo>
                <a:cubicBezTo>
                  <a:pt x="178" y="45"/>
                  <a:pt x="223" y="28"/>
                  <a:pt x="288" y="44"/>
                </a:cubicBezTo>
                <a:cubicBezTo>
                  <a:pt x="312" y="50"/>
                  <a:pt x="371" y="71"/>
                  <a:pt x="410" y="136"/>
                </a:cubicBezTo>
                <a:cubicBezTo>
                  <a:pt x="424" y="161"/>
                  <a:pt x="433" y="190"/>
                  <a:pt x="435" y="207"/>
                </a:cubicBezTo>
                <a:cubicBezTo>
                  <a:pt x="437" y="220"/>
                  <a:pt x="437" y="231"/>
                  <a:pt x="437" y="240"/>
                </a:cubicBezTo>
                <a:cubicBezTo>
                  <a:pt x="437" y="243"/>
                  <a:pt x="437" y="245"/>
                  <a:pt x="437" y="247"/>
                </a:cubicBezTo>
                <a:cubicBezTo>
                  <a:pt x="432" y="247"/>
                  <a:pt x="425" y="245"/>
                  <a:pt x="421" y="243"/>
                </a:cubicBezTo>
                <a:cubicBezTo>
                  <a:pt x="421" y="243"/>
                  <a:pt x="421" y="242"/>
                  <a:pt x="421" y="242"/>
                </a:cubicBezTo>
                <a:cubicBezTo>
                  <a:pt x="421" y="230"/>
                  <a:pt x="414" y="219"/>
                  <a:pt x="402" y="214"/>
                </a:cubicBezTo>
                <a:cubicBezTo>
                  <a:pt x="387" y="209"/>
                  <a:pt x="365" y="212"/>
                  <a:pt x="355" y="228"/>
                </a:cubicBezTo>
                <a:cubicBezTo>
                  <a:pt x="351" y="234"/>
                  <a:pt x="350" y="240"/>
                  <a:pt x="350" y="245"/>
                </a:cubicBezTo>
                <a:cubicBezTo>
                  <a:pt x="350" y="250"/>
                  <a:pt x="351" y="255"/>
                  <a:pt x="353" y="260"/>
                </a:cubicBezTo>
                <a:cubicBezTo>
                  <a:pt x="346" y="264"/>
                  <a:pt x="339" y="271"/>
                  <a:pt x="334" y="277"/>
                </a:cubicBezTo>
                <a:cubicBezTo>
                  <a:pt x="329" y="283"/>
                  <a:pt x="316" y="301"/>
                  <a:pt x="316" y="318"/>
                </a:cubicBezTo>
                <a:cubicBezTo>
                  <a:pt x="316" y="322"/>
                  <a:pt x="316" y="326"/>
                  <a:pt x="318" y="329"/>
                </a:cubicBezTo>
                <a:cubicBezTo>
                  <a:pt x="322" y="339"/>
                  <a:pt x="332" y="346"/>
                  <a:pt x="344" y="348"/>
                </a:cubicBezTo>
                <a:cubicBezTo>
                  <a:pt x="361" y="350"/>
                  <a:pt x="378" y="343"/>
                  <a:pt x="390" y="329"/>
                </a:cubicBezTo>
                <a:cubicBezTo>
                  <a:pt x="399" y="317"/>
                  <a:pt x="399" y="317"/>
                  <a:pt x="399" y="317"/>
                </a:cubicBezTo>
                <a:cubicBezTo>
                  <a:pt x="402" y="314"/>
                  <a:pt x="405" y="310"/>
                  <a:pt x="407" y="308"/>
                </a:cubicBezTo>
                <a:cubicBezTo>
                  <a:pt x="413" y="308"/>
                  <a:pt x="420" y="309"/>
                  <a:pt x="423" y="310"/>
                </a:cubicBezTo>
                <a:cubicBezTo>
                  <a:pt x="422" y="311"/>
                  <a:pt x="422" y="312"/>
                  <a:pt x="421" y="314"/>
                </a:cubicBezTo>
                <a:cubicBezTo>
                  <a:pt x="415" y="327"/>
                  <a:pt x="405" y="346"/>
                  <a:pt x="395" y="358"/>
                </a:cubicBezTo>
                <a:cubicBezTo>
                  <a:pt x="381" y="376"/>
                  <a:pt x="361" y="392"/>
                  <a:pt x="355" y="397"/>
                </a:cubicBezTo>
                <a:cubicBezTo>
                  <a:pt x="352" y="400"/>
                  <a:pt x="350" y="404"/>
                  <a:pt x="350" y="408"/>
                </a:cubicBezTo>
                <a:cubicBezTo>
                  <a:pt x="350" y="411"/>
                  <a:pt x="351" y="413"/>
                  <a:pt x="353" y="416"/>
                </a:cubicBezTo>
                <a:cubicBezTo>
                  <a:pt x="357" y="422"/>
                  <a:pt x="366" y="423"/>
                  <a:pt x="372" y="418"/>
                </a:cubicBezTo>
                <a:cubicBezTo>
                  <a:pt x="384" y="408"/>
                  <a:pt x="402" y="393"/>
                  <a:pt x="416" y="375"/>
                </a:cubicBezTo>
                <a:cubicBezTo>
                  <a:pt x="430" y="357"/>
                  <a:pt x="442" y="332"/>
                  <a:pt x="446" y="325"/>
                </a:cubicBezTo>
                <a:cubicBezTo>
                  <a:pt x="453" y="311"/>
                  <a:pt x="450" y="301"/>
                  <a:pt x="446" y="296"/>
                </a:cubicBezTo>
                <a:cubicBezTo>
                  <a:pt x="437" y="281"/>
                  <a:pt x="417" y="281"/>
                  <a:pt x="406" y="281"/>
                </a:cubicBezTo>
                <a:cubicBezTo>
                  <a:pt x="405" y="281"/>
                  <a:pt x="405" y="281"/>
                  <a:pt x="405" y="281"/>
                </a:cubicBezTo>
                <a:cubicBezTo>
                  <a:pt x="393" y="281"/>
                  <a:pt x="387" y="290"/>
                  <a:pt x="378" y="301"/>
                </a:cubicBezTo>
                <a:cubicBezTo>
                  <a:pt x="369" y="312"/>
                  <a:pt x="369" y="312"/>
                  <a:pt x="369" y="312"/>
                </a:cubicBezTo>
                <a:cubicBezTo>
                  <a:pt x="363" y="319"/>
                  <a:pt x="354" y="322"/>
                  <a:pt x="348" y="321"/>
                </a:cubicBezTo>
                <a:cubicBezTo>
                  <a:pt x="347" y="320"/>
                  <a:pt x="344" y="320"/>
                  <a:pt x="343" y="318"/>
                </a:cubicBezTo>
                <a:cubicBezTo>
                  <a:pt x="343" y="318"/>
                  <a:pt x="343" y="318"/>
                  <a:pt x="343" y="318"/>
                </a:cubicBezTo>
                <a:cubicBezTo>
                  <a:pt x="343" y="309"/>
                  <a:pt x="360" y="285"/>
                  <a:pt x="368" y="282"/>
                </a:cubicBezTo>
                <a:cubicBezTo>
                  <a:pt x="373" y="283"/>
                  <a:pt x="378" y="281"/>
                  <a:pt x="381" y="277"/>
                </a:cubicBezTo>
                <a:cubicBezTo>
                  <a:pt x="387" y="270"/>
                  <a:pt x="383" y="262"/>
                  <a:pt x="381" y="257"/>
                </a:cubicBezTo>
                <a:cubicBezTo>
                  <a:pt x="379" y="253"/>
                  <a:pt x="376" y="246"/>
                  <a:pt x="378" y="243"/>
                </a:cubicBezTo>
                <a:cubicBezTo>
                  <a:pt x="380" y="239"/>
                  <a:pt x="387" y="238"/>
                  <a:pt x="392" y="240"/>
                </a:cubicBezTo>
                <a:cubicBezTo>
                  <a:pt x="394" y="241"/>
                  <a:pt x="394" y="241"/>
                  <a:pt x="394" y="243"/>
                </a:cubicBezTo>
                <a:cubicBezTo>
                  <a:pt x="393" y="250"/>
                  <a:pt x="396" y="258"/>
                  <a:pt x="402" y="263"/>
                </a:cubicBezTo>
                <a:cubicBezTo>
                  <a:pt x="414" y="272"/>
                  <a:pt x="440" y="277"/>
                  <a:pt x="453" y="273"/>
                </a:cubicBezTo>
                <a:cubicBezTo>
                  <a:pt x="459" y="270"/>
                  <a:pt x="463" y="265"/>
                  <a:pt x="463" y="259"/>
                </a:cubicBezTo>
                <a:cubicBezTo>
                  <a:pt x="464" y="251"/>
                  <a:pt x="465" y="230"/>
                  <a:pt x="462" y="203"/>
                </a:cubicBezTo>
                <a:cubicBezTo>
                  <a:pt x="459" y="183"/>
                  <a:pt x="450" y="150"/>
                  <a:pt x="433" y="123"/>
                </a:cubicBezTo>
                <a:cubicBezTo>
                  <a:pt x="389" y="48"/>
                  <a:pt x="322" y="24"/>
                  <a:pt x="295" y="18"/>
                </a:cubicBezTo>
                <a:cubicBezTo>
                  <a:pt x="225" y="0"/>
                  <a:pt x="176" y="17"/>
                  <a:pt x="168" y="19"/>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8" name="Freeform 397"/>
          <p:cNvSpPr>
            <a:spLocks noEditPoints="1"/>
          </p:cNvSpPr>
          <p:nvPr userDrawn="1"/>
        </p:nvSpPr>
        <p:spPr bwMode="auto">
          <a:xfrm>
            <a:off x="5224202" y="3300031"/>
            <a:ext cx="288206" cy="391716"/>
          </a:xfrm>
          <a:custGeom>
            <a:avLst/>
            <a:gdLst/>
            <a:ahLst/>
            <a:cxnLst>
              <a:cxn ang="0">
                <a:pos x="58" y="26"/>
              </a:cxn>
              <a:cxn ang="0">
                <a:pos x="35" y="72"/>
              </a:cxn>
              <a:cxn ang="0">
                <a:pos x="39" y="96"/>
              </a:cxn>
              <a:cxn ang="0">
                <a:pos x="130" y="182"/>
              </a:cxn>
              <a:cxn ang="0">
                <a:pos x="15" y="202"/>
              </a:cxn>
              <a:cxn ang="0">
                <a:pos x="4" y="205"/>
              </a:cxn>
              <a:cxn ang="0">
                <a:pos x="0" y="215"/>
              </a:cxn>
              <a:cxn ang="0">
                <a:pos x="0" y="379"/>
              </a:cxn>
              <a:cxn ang="0">
                <a:pos x="8" y="392"/>
              </a:cxn>
              <a:cxn ang="0">
                <a:pos x="170" y="461"/>
              </a:cxn>
              <a:cxn ang="0">
                <a:pos x="183" y="460"/>
              </a:cxn>
              <a:cxn ang="0">
                <a:pos x="189" y="449"/>
              </a:cxn>
              <a:cxn ang="0">
                <a:pos x="189" y="286"/>
              </a:cxn>
              <a:cxn ang="0">
                <a:pos x="175" y="273"/>
              </a:cxn>
              <a:cxn ang="0">
                <a:pos x="162" y="286"/>
              </a:cxn>
              <a:cxn ang="0">
                <a:pos x="162" y="428"/>
              </a:cxn>
              <a:cxn ang="0">
                <a:pos x="27" y="371"/>
              </a:cxn>
              <a:cxn ang="0">
                <a:pos x="27" y="228"/>
              </a:cxn>
              <a:cxn ang="0">
                <a:pos x="163" y="201"/>
              </a:cxn>
              <a:cxn ang="0">
                <a:pos x="171" y="199"/>
              </a:cxn>
              <a:cxn ang="0">
                <a:pos x="312" y="220"/>
              </a:cxn>
              <a:cxn ang="0">
                <a:pos x="312" y="358"/>
              </a:cxn>
              <a:cxn ang="0">
                <a:pos x="218" y="413"/>
              </a:cxn>
              <a:cxn ang="0">
                <a:pos x="211" y="424"/>
              </a:cxn>
              <a:cxn ang="0">
                <a:pos x="213" y="431"/>
              </a:cxn>
              <a:cxn ang="0">
                <a:pos x="231" y="436"/>
              </a:cxn>
              <a:cxn ang="0">
                <a:pos x="332" y="378"/>
              </a:cxn>
              <a:cxn ang="0">
                <a:pos x="339" y="366"/>
              </a:cxn>
              <a:cxn ang="0">
                <a:pos x="339" y="206"/>
              </a:cxn>
              <a:cxn ang="0">
                <a:pos x="335" y="197"/>
              </a:cxn>
              <a:cxn ang="0">
                <a:pos x="325" y="193"/>
              </a:cxn>
              <a:cxn ang="0">
                <a:pos x="216" y="184"/>
              </a:cxn>
              <a:cxn ang="0">
                <a:pos x="304" y="121"/>
              </a:cxn>
              <a:cxn ang="0">
                <a:pos x="307" y="107"/>
              </a:cxn>
              <a:cxn ang="0">
                <a:pos x="285" y="69"/>
              </a:cxn>
              <a:cxn ang="0">
                <a:pos x="225" y="56"/>
              </a:cxn>
              <a:cxn ang="0">
                <a:pos x="187" y="103"/>
              </a:cxn>
              <a:cxn ang="0">
                <a:pos x="131" y="9"/>
              </a:cxn>
              <a:cxn ang="0">
                <a:pos x="58" y="26"/>
              </a:cxn>
              <a:cxn ang="0">
                <a:pos x="64" y="87"/>
              </a:cxn>
              <a:cxn ang="0">
                <a:pos x="61" y="72"/>
              </a:cxn>
              <a:cxn ang="0">
                <a:pos x="74" y="47"/>
              </a:cxn>
              <a:cxn ang="0">
                <a:pos x="120" y="34"/>
              </a:cxn>
              <a:cxn ang="0">
                <a:pos x="170" y="170"/>
              </a:cxn>
              <a:cxn ang="0">
                <a:pos x="64" y="87"/>
              </a:cxn>
              <a:cxn ang="0">
                <a:pos x="236" y="81"/>
              </a:cxn>
              <a:cxn ang="0">
                <a:pos x="268" y="90"/>
              </a:cxn>
              <a:cxn ang="0">
                <a:pos x="281" y="107"/>
              </a:cxn>
              <a:cxn ang="0">
                <a:pos x="280" y="112"/>
              </a:cxn>
              <a:cxn ang="0">
                <a:pos x="199" y="161"/>
              </a:cxn>
              <a:cxn ang="0">
                <a:pos x="236" y="81"/>
              </a:cxn>
            </a:cxnLst>
            <a:rect l="0" t="0" r="r" b="b"/>
            <a:pathLst>
              <a:path w="339" h="463">
                <a:moveTo>
                  <a:pt x="58" y="26"/>
                </a:moveTo>
                <a:cubicBezTo>
                  <a:pt x="43" y="38"/>
                  <a:pt x="35" y="54"/>
                  <a:pt x="35" y="72"/>
                </a:cubicBezTo>
                <a:cubicBezTo>
                  <a:pt x="35" y="79"/>
                  <a:pt x="36" y="88"/>
                  <a:pt x="39" y="96"/>
                </a:cubicBezTo>
                <a:cubicBezTo>
                  <a:pt x="50" y="127"/>
                  <a:pt x="82" y="159"/>
                  <a:pt x="130" y="182"/>
                </a:cubicBezTo>
                <a:cubicBezTo>
                  <a:pt x="77" y="196"/>
                  <a:pt x="29" y="203"/>
                  <a:pt x="15" y="202"/>
                </a:cubicBezTo>
                <a:cubicBezTo>
                  <a:pt x="11" y="201"/>
                  <a:pt x="7" y="203"/>
                  <a:pt x="4" y="205"/>
                </a:cubicBezTo>
                <a:cubicBezTo>
                  <a:pt x="2" y="208"/>
                  <a:pt x="0" y="211"/>
                  <a:pt x="0" y="215"/>
                </a:cubicBezTo>
                <a:cubicBezTo>
                  <a:pt x="0" y="379"/>
                  <a:pt x="0" y="379"/>
                  <a:pt x="0" y="379"/>
                </a:cubicBezTo>
                <a:cubicBezTo>
                  <a:pt x="0" y="385"/>
                  <a:pt x="3" y="390"/>
                  <a:pt x="8" y="392"/>
                </a:cubicBezTo>
                <a:cubicBezTo>
                  <a:pt x="170" y="461"/>
                  <a:pt x="170" y="461"/>
                  <a:pt x="170" y="461"/>
                </a:cubicBezTo>
                <a:cubicBezTo>
                  <a:pt x="174" y="463"/>
                  <a:pt x="179" y="462"/>
                  <a:pt x="183" y="460"/>
                </a:cubicBezTo>
                <a:cubicBezTo>
                  <a:pt x="187" y="457"/>
                  <a:pt x="189" y="453"/>
                  <a:pt x="189" y="449"/>
                </a:cubicBezTo>
                <a:cubicBezTo>
                  <a:pt x="189" y="286"/>
                  <a:pt x="189" y="286"/>
                  <a:pt x="189" y="286"/>
                </a:cubicBezTo>
                <a:cubicBezTo>
                  <a:pt x="189" y="279"/>
                  <a:pt x="183" y="273"/>
                  <a:pt x="175" y="273"/>
                </a:cubicBezTo>
                <a:cubicBezTo>
                  <a:pt x="168" y="273"/>
                  <a:pt x="162" y="279"/>
                  <a:pt x="162" y="286"/>
                </a:cubicBezTo>
                <a:cubicBezTo>
                  <a:pt x="162" y="286"/>
                  <a:pt x="162" y="397"/>
                  <a:pt x="162" y="428"/>
                </a:cubicBezTo>
                <a:cubicBezTo>
                  <a:pt x="135" y="417"/>
                  <a:pt x="40" y="376"/>
                  <a:pt x="27" y="371"/>
                </a:cubicBezTo>
                <a:cubicBezTo>
                  <a:pt x="27" y="356"/>
                  <a:pt x="27" y="249"/>
                  <a:pt x="27" y="228"/>
                </a:cubicBezTo>
                <a:cubicBezTo>
                  <a:pt x="57" y="227"/>
                  <a:pt x="113" y="216"/>
                  <a:pt x="163" y="201"/>
                </a:cubicBezTo>
                <a:cubicBezTo>
                  <a:pt x="166" y="200"/>
                  <a:pt x="168" y="200"/>
                  <a:pt x="171" y="199"/>
                </a:cubicBezTo>
                <a:cubicBezTo>
                  <a:pt x="211" y="212"/>
                  <a:pt x="258" y="220"/>
                  <a:pt x="312" y="220"/>
                </a:cubicBezTo>
                <a:cubicBezTo>
                  <a:pt x="312" y="241"/>
                  <a:pt x="312" y="346"/>
                  <a:pt x="312" y="358"/>
                </a:cubicBezTo>
                <a:cubicBezTo>
                  <a:pt x="300" y="365"/>
                  <a:pt x="218" y="413"/>
                  <a:pt x="218" y="413"/>
                </a:cubicBezTo>
                <a:cubicBezTo>
                  <a:pt x="214" y="415"/>
                  <a:pt x="211" y="420"/>
                  <a:pt x="211" y="424"/>
                </a:cubicBezTo>
                <a:cubicBezTo>
                  <a:pt x="211" y="426"/>
                  <a:pt x="212" y="429"/>
                  <a:pt x="213" y="431"/>
                </a:cubicBezTo>
                <a:cubicBezTo>
                  <a:pt x="217" y="437"/>
                  <a:pt x="225" y="439"/>
                  <a:pt x="231" y="436"/>
                </a:cubicBezTo>
                <a:cubicBezTo>
                  <a:pt x="332" y="378"/>
                  <a:pt x="332" y="378"/>
                  <a:pt x="332" y="378"/>
                </a:cubicBezTo>
                <a:cubicBezTo>
                  <a:pt x="336" y="375"/>
                  <a:pt x="339" y="371"/>
                  <a:pt x="339" y="366"/>
                </a:cubicBezTo>
                <a:cubicBezTo>
                  <a:pt x="339" y="206"/>
                  <a:pt x="339" y="206"/>
                  <a:pt x="339" y="206"/>
                </a:cubicBezTo>
                <a:cubicBezTo>
                  <a:pt x="339" y="203"/>
                  <a:pt x="337" y="199"/>
                  <a:pt x="335" y="197"/>
                </a:cubicBezTo>
                <a:cubicBezTo>
                  <a:pt x="332" y="194"/>
                  <a:pt x="328" y="193"/>
                  <a:pt x="325" y="193"/>
                </a:cubicBezTo>
                <a:cubicBezTo>
                  <a:pt x="284" y="194"/>
                  <a:pt x="247" y="191"/>
                  <a:pt x="216" y="184"/>
                </a:cubicBezTo>
                <a:cubicBezTo>
                  <a:pt x="266" y="164"/>
                  <a:pt x="296" y="143"/>
                  <a:pt x="304" y="121"/>
                </a:cubicBezTo>
                <a:cubicBezTo>
                  <a:pt x="306" y="118"/>
                  <a:pt x="307" y="113"/>
                  <a:pt x="307" y="107"/>
                </a:cubicBezTo>
                <a:cubicBezTo>
                  <a:pt x="307" y="97"/>
                  <a:pt x="302" y="83"/>
                  <a:pt x="285" y="69"/>
                </a:cubicBezTo>
                <a:cubicBezTo>
                  <a:pt x="263" y="53"/>
                  <a:pt x="243" y="48"/>
                  <a:pt x="225" y="56"/>
                </a:cubicBezTo>
                <a:cubicBezTo>
                  <a:pt x="207" y="64"/>
                  <a:pt x="195" y="83"/>
                  <a:pt x="187" y="103"/>
                </a:cubicBezTo>
                <a:cubicBezTo>
                  <a:pt x="177" y="63"/>
                  <a:pt x="161" y="22"/>
                  <a:pt x="131" y="9"/>
                </a:cubicBezTo>
                <a:cubicBezTo>
                  <a:pt x="109" y="0"/>
                  <a:pt x="85" y="5"/>
                  <a:pt x="58" y="26"/>
                </a:cubicBezTo>
                <a:close/>
                <a:moveTo>
                  <a:pt x="64" y="87"/>
                </a:moveTo>
                <a:cubicBezTo>
                  <a:pt x="62" y="81"/>
                  <a:pt x="61" y="76"/>
                  <a:pt x="61" y="72"/>
                </a:cubicBezTo>
                <a:cubicBezTo>
                  <a:pt x="61" y="62"/>
                  <a:pt x="66" y="53"/>
                  <a:pt x="74" y="47"/>
                </a:cubicBezTo>
                <a:cubicBezTo>
                  <a:pt x="93" y="33"/>
                  <a:pt x="108" y="28"/>
                  <a:pt x="120" y="34"/>
                </a:cubicBezTo>
                <a:cubicBezTo>
                  <a:pt x="144" y="45"/>
                  <a:pt x="163" y="97"/>
                  <a:pt x="170" y="170"/>
                </a:cubicBezTo>
                <a:cubicBezTo>
                  <a:pt x="111" y="148"/>
                  <a:pt x="74" y="115"/>
                  <a:pt x="64" y="87"/>
                </a:cubicBezTo>
                <a:close/>
                <a:moveTo>
                  <a:pt x="236" y="81"/>
                </a:moveTo>
                <a:cubicBezTo>
                  <a:pt x="244" y="77"/>
                  <a:pt x="255" y="80"/>
                  <a:pt x="268" y="90"/>
                </a:cubicBezTo>
                <a:cubicBezTo>
                  <a:pt x="278" y="98"/>
                  <a:pt x="281" y="104"/>
                  <a:pt x="281" y="107"/>
                </a:cubicBezTo>
                <a:cubicBezTo>
                  <a:pt x="281" y="109"/>
                  <a:pt x="280" y="111"/>
                  <a:pt x="280" y="112"/>
                </a:cubicBezTo>
                <a:cubicBezTo>
                  <a:pt x="275" y="124"/>
                  <a:pt x="251" y="142"/>
                  <a:pt x="199" y="161"/>
                </a:cubicBezTo>
                <a:cubicBezTo>
                  <a:pt x="204" y="130"/>
                  <a:pt x="216" y="89"/>
                  <a:pt x="236" y="8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9" name="Freeform 449"/>
          <p:cNvSpPr>
            <a:spLocks/>
          </p:cNvSpPr>
          <p:nvPr userDrawn="1"/>
        </p:nvSpPr>
        <p:spPr bwMode="auto">
          <a:xfrm>
            <a:off x="5267075" y="1789672"/>
            <a:ext cx="202459" cy="383381"/>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0" name="Freeform 469"/>
          <p:cNvSpPr>
            <a:spLocks/>
          </p:cNvSpPr>
          <p:nvPr userDrawn="1"/>
        </p:nvSpPr>
        <p:spPr bwMode="auto">
          <a:xfrm>
            <a:off x="5175373" y="1379863"/>
            <a:ext cx="385863" cy="246460"/>
          </a:xfrm>
          <a:custGeom>
            <a:avLst/>
            <a:gdLst/>
            <a:ahLst/>
            <a:cxnLst>
              <a:cxn ang="0">
                <a:pos x="210" y="6"/>
              </a:cxn>
              <a:cxn ang="0">
                <a:pos x="198" y="20"/>
              </a:cxn>
              <a:cxn ang="0">
                <a:pos x="212" y="32"/>
              </a:cxn>
              <a:cxn ang="0">
                <a:pos x="372" y="100"/>
              </a:cxn>
              <a:cxn ang="0">
                <a:pos x="421" y="165"/>
              </a:cxn>
              <a:cxn ang="0">
                <a:pos x="337" y="212"/>
              </a:cxn>
              <a:cxn ang="0">
                <a:pos x="222" y="258"/>
              </a:cxn>
              <a:cxn ang="0">
                <a:pos x="66" y="217"/>
              </a:cxn>
              <a:cxn ang="0">
                <a:pos x="29" y="173"/>
              </a:cxn>
              <a:cxn ang="0">
                <a:pos x="141" y="103"/>
              </a:cxn>
              <a:cxn ang="0">
                <a:pos x="129" y="149"/>
              </a:cxn>
              <a:cxn ang="0">
                <a:pos x="217" y="237"/>
              </a:cxn>
              <a:cxn ang="0">
                <a:pos x="306" y="149"/>
              </a:cxn>
              <a:cxn ang="0">
                <a:pos x="241" y="63"/>
              </a:cxn>
              <a:cxn ang="0">
                <a:pos x="225" y="73"/>
              </a:cxn>
              <a:cxn ang="0">
                <a:pos x="234" y="89"/>
              </a:cxn>
              <a:cxn ang="0">
                <a:pos x="279" y="149"/>
              </a:cxn>
              <a:cxn ang="0">
                <a:pos x="217" y="210"/>
              </a:cxn>
              <a:cxn ang="0">
                <a:pos x="155" y="149"/>
              </a:cxn>
              <a:cxn ang="0">
                <a:pos x="183" y="97"/>
              </a:cxn>
              <a:cxn ang="0">
                <a:pos x="188" y="83"/>
              </a:cxn>
              <a:cxn ang="0">
                <a:pos x="175" y="73"/>
              </a:cxn>
              <a:cxn ang="0">
                <a:pos x="108" y="84"/>
              </a:cxn>
              <a:cxn ang="0">
                <a:pos x="2" y="167"/>
              </a:cxn>
              <a:cxn ang="0">
                <a:pos x="1" y="178"/>
              </a:cxn>
              <a:cxn ang="0">
                <a:pos x="48" y="237"/>
              </a:cxn>
              <a:cxn ang="0">
                <a:pos x="224" y="285"/>
              </a:cxn>
              <a:cxn ang="0">
                <a:pos x="353" y="234"/>
              </a:cxn>
              <a:cxn ang="0">
                <a:pos x="444" y="186"/>
              </a:cxn>
              <a:cxn ang="0">
                <a:pos x="453" y="178"/>
              </a:cxn>
              <a:cxn ang="0">
                <a:pos x="453" y="167"/>
              </a:cxn>
              <a:cxn ang="0">
                <a:pos x="392" y="82"/>
              </a:cxn>
              <a:cxn ang="0">
                <a:pos x="210" y="6"/>
              </a:cxn>
            </a:cxnLst>
            <a:rect l="0" t="0" r="r" b="b"/>
            <a:pathLst>
              <a:path w="455" h="291">
                <a:moveTo>
                  <a:pt x="210" y="6"/>
                </a:moveTo>
                <a:cubicBezTo>
                  <a:pt x="202" y="7"/>
                  <a:pt x="197" y="13"/>
                  <a:pt x="198" y="20"/>
                </a:cubicBezTo>
                <a:cubicBezTo>
                  <a:pt x="198" y="28"/>
                  <a:pt x="205" y="33"/>
                  <a:pt x="212" y="32"/>
                </a:cubicBezTo>
                <a:cubicBezTo>
                  <a:pt x="270" y="27"/>
                  <a:pt x="324" y="50"/>
                  <a:pt x="372" y="100"/>
                </a:cubicBezTo>
                <a:cubicBezTo>
                  <a:pt x="396" y="124"/>
                  <a:pt x="413" y="150"/>
                  <a:pt x="421" y="165"/>
                </a:cubicBezTo>
                <a:cubicBezTo>
                  <a:pt x="383" y="178"/>
                  <a:pt x="359" y="196"/>
                  <a:pt x="337" y="212"/>
                </a:cubicBezTo>
                <a:cubicBezTo>
                  <a:pt x="308" y="235"/>
                  <a:pt x="282" y="254"/>
                  <a:pt x="222" y="258"/>
                </a:cubicBezTo>
                <a:cubicBezTo>
                  <a:pt x="158" y="263"/>
                  <a:pt x="105" y="249"/>
                  <a:pt x="66" y="217"/>
                </a:cubicBezTo>
                <a:cubicBezTo>
                  <a:pt x="45" y="200"/>
                  <a:pt x="34" y="182"/>
                  <a:pt x="29" y="173"/>
                </a:cubicBezTo>
                <a:cubicBezTo>
                  <a:pt x="56" y="126"/>
                  <a:pt x="108" y="109"/>
                  <a:pt x="141" y="103"/>
                </a:cubicBezTo>
                <a:cubicBezTo>
                  <a:pt x="133" y="117"/>
                  <a:pt x="129" y="132"/>
                  <a:pt x="129" y="149"/>
                </a:cubicBezTo>
                <a:cubicBezTo>
                  <a:pt x="129" y="197"/>
                  <a:pt x="168" y="237"/>
                  <a:pt x="217" y="237"/>
                </a:cubicBezTo>
                <a:cubicBezTo>
                  <a:pt x="266" y="237"/>
                  <a:pt x="306" y="197"/>
                  <a:pt x="306" y="149"/>
                </a:cubicBezTo>
                <a:cubicBezTo>
                  <a:pt x="306" y="109"/>
                  <a:pt x="279" y="74"/>
                  <a:pt x="241" y="63"/>
                </a:cubicBezTo>
                <a:cubicBezTo>
                  <a:pt x="234" y="61"/>
                  <a:pt x="226" y="66"/>
                  <a:pt x="225" y="73"/>
                </a:cubicBezTo>
                <a:cubicBezTo>
                  <a:pt x="223" y="80"/>
                  <a:pt x="227" y="87"/>
                  <a:pt x="234" y="89"/>
                </a:cubicBezTo>
                <a:cubicBezTo>
                  <a:pt x="260" y="97"/>
                  <a:pt x="279" y="121"/>
                  <a:pt x="279" y="149"/>
                </a:cubicBezTo>
                <a:cubicBezTo>
                  <a:pt x="279" y="183"/>
                  <a:pt x="251" y="210"/>
                  <a:pt x="217" y="210"/>
                </a:cubicBezTo>
                <a:cubicBezTo>
                  <a:pt x="183" y="210"/>
                  <a:pt x="155" y="183"/>
                  <a:pt x="155" y="149"/>
                </a:cubicBezTo>
                <a:cubicBezTo>
                  <a:pt x="155" y="128"/>
                  <a:pt x="166" y="109"/>
                  <a:pt x="183" y="97"/>
                </a:cubicBezTo>
                <a:cubicBezTo>
                  <a:pt x="188" y="94"/>
                  <a:pt x="190" y="88"/>
                  <a:pt x="188" y="83"/>
                </a:cubicBezTo>
                <a:cubicBezTo>
                  <a:pt x="186" y="77"/>
                  <a:pt x="181" y="73"/>
                  <a:pt x="175" y="73"/>
                </a:cubicBezTo>
                <a:cubicBezTo>
                  <a:pt x="174" y="73"/>
                  <a:pt x="144" y="73"/>
                  <a:pt x="108" y="84"/>
                </a:cubicBezTo>
                <a:cubicBezTo>
                  <a:pt x="59" y="99"/>
                  <a:pt x="22" y="127"/>
                  <a:pt x="2" y="167"/>
                </a:cubicBezTo>
                <a:cubicBezTo>
                  <a:pt x="0" y="170"/>
                  <a:pt x="0" y="174"/>
                  <a:pt x="1" y="178"/>
                </a:cubicBezTo>
                <a:cubicBezTo>
                  <a:pt x="2" y="179"/>
                  <a:pt x="14" y="209"/>
                  <a:pt x="48" y="237"/>
                </a:cubicBezTo>
                <a:cubicBezTo>
                  <a:pt x="79" y="262"/>
                  <a:pt x="134" y="291"/>
                  <a:pt x="224" y="285"/>
                </a:cubicBezTo>
                <a:cubicBezTo>
                  <a:pt x="292" y="280"/>
                  <a:pt x="322" y="258"/>
                  <a:pt x="353" y="234"/>
                </a:cubicBezTo>
                <a:cubicBezTo>
                  <a:pt x="377" y="216"/>
                  <a:pt x="401" y="198"/>
                  <a:pt x="444" y="186"/>
                </a:cubicBezTo>
                <a:cubicBezTo>
                  <a:pt x="448" y="185"/>
                  <a:pt x="451" y="182"/>
                  <a:pt x="453" y="178"/>
                </a:cubicBezTo>
                <a:cubicBezTo>
                  <a:pt x="455" y="175"/>
                  <a:pt x="455" y="171"/>
                  <a:pt x="453" y="167"/>
                </a:cubicBezTo>
                <a:cubicBezTo>
                  <a:pt x="452" y="165"/>
                  <a:pt x="432" y="123"/>
                  <a:pt x="392" y="82"/>
                </a:cubicBezTo>
                <a:cubicBezTo>
                  <a:pt x="338" y="26"/>
                  <a:pt x="275" y="0"/>
                  <a:pt x="210" y="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1" name="Freeform 477"/>
          <p:cNvSpPr>
            <a:spLocks noEditPoints="1"/>
          </p:cNvSpPr>
          <p:nvPr userDrawn="1"/>
        </p:nvSpPr>
        <p:spPr bwMode="auto">
          <a:xfrm>
            <a:off x="5171800" y="2334302"/>
            <a:ext cx="393009" cy="203597"/>
          </a:xfrm>
          <a:custGeom>
            <a:avLst/>
            <a:gdLst/>
            <a:ahLst/>
            <a:cxnLst>
              <a:cxn ang="0">
                <a:pos x="31" y="177"/>
              </a:cxn>
              <a:cxn ang="0">
                <a:pos x="0" y="134"/>
              </a:cxn>
              <a:cxn ang="0">
                <a:pos x="32" y="91"/>
              </a:cxn>
              <a:cxn ang="0">
                <a:pos x="45" y="31"/>
              </a:cxn>
              <a:cxn ang="0">
                <a:pos x="120" y="43"/>
              </a:cxn>
              <a:cxn ang="0">
                <a:pos x="121" y="50"/>
              </a:cxn>
              <a:cxn ang="0">
                <a:pos x="148" y="61"/>
              </a:cxn>
              <a:cxn ang="0">
                <a:pos x="158" y="44"/>
              </a:cxn>
              <a:cxn ang="0">
                <a:pos x="193" y="31"/>
              </a:cxn>
              <a:cxn ang="0">
                <a:pos x="182" y="58"/>
              </a:cxn>
              <a:cxn ang="0">
                <a:pos x="140" y="89"/>
              </a:cxn>
              <a:cxn ang="0">
                <a:pos x="100" y="67"/>
              </a:cxn>
              <a:cxn ang="0">
                <a:pos x="58" y="101"/>
              </a:cxn>
              <a:cxn ang="0">
                <a:pos x="44" y="115"/>
              </a:cxn>
              <a:cxn ang="0">
                <a:pos x="27" y="134"/>
              </a:cxn>
              <a:cxn ang="0">
                <a:pos x="45" y="153"/>
              </a:cxn>
              <a:cxn ang="0">
                <a:pos x="46" y="153"/>
              </a:cxn>
              <a:cxn ang="0">
                <a:pos x="96" y="213"/>
              </a:cxn>
              <a:cxn ang="0">
                <a:pos x="139" y="181"/>
              </a:cxn>
              <a:cxn ang="0">
                <a:pos x="178" y="204"/>
              </a:cxn>
              <a:cxn ang="0">
                <a:pos x="219" y="166"/>
              </a:cxn>
              <a:cxn ang="0">
                <a:pos x="247" y="144"/>
              </a:cxn>
              <a:cxn ang="0">
                <a:pos x="250" y="134"/>
              </a:cxn>
              <a:cxn ang="0">
                <a:pos x="242" y="119"/>
              </a:cxn>
              <a:cxn ang="0">
                <a:pos x="219" y="44"/>
              </a:cxn>
              <a:cxn ang="0">
                <a:pos x="287" y="19"/>
              </a:cxn>
              <a:cxn ang="0">
                <a:pos x="325" y="0"/>
              </a:cxn>
              <a:cxn ang="0">
                <a:pos x="367" y="31"/>
              </a:cxn>
              <a:cxn ang="0">
                <a:pos x="431" y="91"/>
              </a:cxn>
              <a:cxn ang="0">
                <a:pos x="463" y="134"/>
              </a:cxn>
              <a:cxn ang="0">
                <a:pos x="439" y="173"/>
              </a:cxn>
              <a:cxn ang="0">
                <a:pos x="427" y="235"/>
              </a:cxn>
              <a:cxn ang="0">
                <a:pos x="343" y="227"/>
              </a:cxn>
              <a:cxn ang="0">
                <a:pos x="325" y="208"/>
              </a:cxn>
              <a:cxn ang="0">
                <a:pos x="323" y="208"/>
              </a:cxn>
              <a:cxn ang="0">
                <a:pos x="306" y="227"/>
              </a:cxn>
              <a:cxn ang="0">
                <a:pos x="257" y="226"/>
              </a:cxn>
              <a:cxn ang="0">
                <a:pos x="288" y="200"/>
              </a:cxn>
              <a:cxn ang="0">
                <a:pos x="324" y="181"/>
              </a:cxn>
              <a:cxn ang="0">
                <a:pos x="325" y="181"/>
              </a:cxn>
              <a:cxn ang="0">
                <a:pos x="367" y="212"/>
              </a:cxn>
              <a:cxn ang="0">
                <a:pos x="417" y="153"/>
              </a:cxn>
              <a:cxn ang="0">
                <a:pos x="423" y="152"/>
              </a:cxn>
              <a:cxn ang="0">
                <a:pos x="434" y="125"/>
              </a:cxn>
              <a:cxn ang="0">
                <a:pos x="416" y="114"/>
              </a:cxn>
              <a:cxn ang="0">
                <a:pos x="356" y="58"/>
              </a:cxn>
              <a:cxn ang="0">
                <a:pos x="329" y="27"/>
              </a:cxn>
              <a:cxn ang="0">
                <a:pos x="318" y="27"/>
              </a:cxn>
              <a:cxn ang="0">
                <a:pos x="292" y="58"/>
              </a:cxn>
              <a:cxn ang="0">
                <a:pos x="257" y="97"/>
              </a:cxn>
              <a:cxn ang="0">
                <a:pos x="277" y="134"/>
              </a:cxn>
              <a:cxn ang="0">
                <a:pos x="245" y="177"/>
              </a:cxn>
              <a:cxn ang="0">
                <a:pos x="232" y="239"/>
              </a:cxn>
              <a:cxn ang="0">
                <a:pos x="157" y="226"/>
              </a:cxn>
              <a:cxn ang="0">
                <a:pos x="157" y="225"/>
              </a:cxn>
              <a:cxn ang="0">
                <a:pos x="139" y="207"/>
              </a:cxn>
              <a:cxn ang="0">
                <a:pos x="120" y="226"/>
              </a:cxn>
              <a:cxn ang="0">
                <a:pos x="106" y="239"/>
              </a:cxn>
              <a:cxn ang="0">
                <a:pos x="329" y="207"/>
              </a:cxn>
              <a:cxn ang="0">
                <a:pos x="335" y="202"/>
              </a:cxn>
              <a:cxn ang="0">
                <a:pos x="336" y="200"/>
              </a:cxn>
              <a:cxn ang="0">
                <a:pos x="336" y="200"/>
              </a:cxn>
            </a:cxnLst>
            <a:rect l="0" t="0" r="r" b="b"/>
            <a:pathLst>
              <a:path w="463" h="239">
                <a:moveTo>
                  <a:pt x="32" y="226"/>
                </a:moveTo>
                <a:cubicBezTo>
                  <a:pt x="32" y="177"/>
                  <a:pt x="32" y="177"/>
                  <a:pt x="32" y="177"/>
                </a:cubicBezTo>
                <a:cubicBezTo>
                  <a:pt x="32" y="177"/>
                  <a:pt x="32" y="177"/>
                  <a:pt x="31" y="177"/>
                </a:cubicBezTo>
                <a:cubicBezTo>
                  <a:pt x="24" y="174"/>
                  <a:pt x="15" y="170"/>
                  <a:pt x="8" y="160"/>
                </a:cubicBezTo>
                <a:cubicBezTo>
                  <a:pt x="4" y="153"/>
                  <a:pt x="1" y="145"/>
                  <a:pt x="0" y="135"/>
                </a:cubicBezTo>
                <a:cubicBezTo>
                  <a:pt x="0" y="134"/>
                  <a:pt x="0" y="134"/>
                  <a:pt x="0" y="134"/>
                </a:cubicBezTo>
                <a:cubicBezTo>
                  <a:pt x="1" y="124"/>
                  <a:pt x="3" y="115"/>
                  <a:pt x="8" y="108"/>
                </a:cubicBezTo>
                <a:cubicBezTo>
                  <a:pt x="12" y="102"/>
                  <a:pt x="18" y="97"/>
                  <a:pt x="23" y="94"/>
                </a:cubicBezTo>
                <a:cubicBezTo>
                  <a:pt x="26" y="93"/>
                  <a:pt x="29" y="91"/>
                  <a:pt x="32" y="91"/>
                </a:cubicBezTo>
                <a:cubicBezTo>
                  <a:pt x="32" y="44"/>
                  <a:pt x="32" y="44"/>
                  <a:pt x="32" y="44"/>
                </a:cubicBezTo>
                <a:cubicBezTo>
                  <a:pt x="32" y="41"/>
                  <a:pt x="33" y="38"/>
                  <a:pt x="36" y="35"/>
                </a:cubicBezTo>
                <a:cubicBezTo>
                  <a:pt x="38" y="33"/>
                  <a:pt x="42" y="31"/>
                  <a:pt x="45" y="31"/>
                </a:cubicBezTo>
                <a:cubicBezTo>
                  <a:pt x="106" y="31"/>
                  <a:pt x="106" y="31"/>
                  <a:pt x="106" y="31"/>
                </a:cubicBezTo>
                <a:cubicBezTo>
                  <a:pt x="113" y="31"/>
                  <a:pt x="119" y="37"/>
                  <a:pt x="119" y="43"/>
                </a:cubicBezTo>
                <a:cubicBezTo>
                  <a:pt x="120" y="43"/>
                  <a:pt x="120" y="43"/>
                  <a:pt x="120" y="43"/>
                </a:cubicBezTo>
                <a:cubicBezTo>
                  <a:pt x="120" y="43"/>
                  <a:pt x="120" y="44"/>
                  <a:pt x="120" y="44"/>
                </a:cubicBezTo>
                <a:cubicBezTo>
                  <a:pt x="120" y="44"/>
                  <a:pt x="120" y="44"/>
                  <a:pt x="120" y="45"/>
                </a:cubicBezTo>
                <a:cubicBezTo>
                  <a:pt x="120" y="46"/>
                  <a:pt x="120" y="48"/>
                  <a:pt x="121" y="50"/>
                </a:cubicBezTo>
                <a:cubicBezTo>
                  <a:pt x="123" y="54"/>
                  <a:pt x="125" y="58"/>
                  <a:pt x="128" y="60"/>
                </a:cubicBezTo>
                <a:cubicBezTo>
                  <a:pt x="131" y="62"/>
                  <a:pt x="134" y="63"/>
                  <a:pt x="139" y="63"/>
                </a:cubicBezTo>
                <a:cubicBezTo>
                  <a:pt x="143" y="63"/>
                  <a:pt x="146" y="62"/>
                  <a:pt x="148" y="61"/>
                </a:cubicBezTo>
                <a:cubicBezTo>
                  <a:pt x="151" y="59"/>
                  <a:pt x="152" y="58"/>
                  <a:pt x="154" y="56"/>
                </a:cubicBezTo>
                <a:cubicBezTo>
                  <a:pt x="156" y="52"/>
                  <a:pt x="158" y="47"/>
                  <a:pt x="158" y="45"/>
                </a:cubicBezTo>
                <a:cubicBezTo>
                  <a:pt x="158" y="44"/>
                  <a:pt x="158" y="44"/>
                  <a:pt x="158" y="44"/>
                </a:cubicBezTo>
                <a:cubicBezTo>
                  <a:pt x="158" y="37"/>
                  <a:pt x="164" y="31"/>
                  <a:pt x="171" y="31"/>
                </a:cubicBezTo>
                <a:cubicBezTo>
                  <a:pt x="193" y="31"/>
                  <a:pt x="193" y="31"/>
                  <a:pt x="193" y="31"/>
                </a:cubicBezTo>
                <a:cubicBezTo>
                  <a:pt x="193" y="31"/>
                  <a:pt x="193" y="31"/>
                  <a:pt x="193" y="31"/>
                </a:cubicBezTo>
                <a:cubicBezTo>
                  <a:pt x="200" y="31"/>
                  <a:pt x="206" y="37"/>
                  <a:pt x="206" y="45"/>
                </a:cubicBezTo>
                <a:cubicBezTo>
                  <a:pt x="206" y="52"/>
                  <a:pt x="200" y="58"/>
                  <a:pt x="193" y="58"/>
                </a:cubicBezTo>
                <a:cubicBezTo>
                  <a:pt x="182" y="58"/>
                  <a:pt x="182" y="58"/>
                  <a:pt x="182" y="58"/>
                </a:cubicBezTo>
                <a:cubicBezTo>
                  <a:pt x="182" y="58"/>
                  <a:pt x="182" y="58"/>
                  <a:pt x="182" y="59"/>
                </a:cubicBezTo>
                <a:cubicBezTo>
                  <a:pt x="179" y="66"/>
                  <a:pt x="174" y="75"/>
                  <a:pt x="164" y="82"/>
                </a:cubicBezTo>
                <a:cubicBezTo>
                  <a:pt x="158" y="86"/>
                  <a:pt x="149" y="89"/>
                  <a:pt x="140" y="89"/>
                </a:cubicBezTo>
                <a:cubicBezTo>
                  <a:pt x="139" y="89"/>
                  <a:pt x="139" y="89"/>
                  <a:pt x="139" y="89"/>
                </a:cubicBezTo>
                <a:cubicBezTo>
                  <a:pt x="129" y="89"/>
                  <a:pt x="120" y="87"/>
                  <a:pt x="114" y="82"/>
                </a:cubicBezTo>
                <a:cubicBezTo>
                  <a:pt x="107" y="78"/>
                  <a:pt x="103" y="72"/>
                  <a:pt x="100" y="67"/>
                </a:cubicBezTo>
                <a:cubicBezTo>
                  <a:pt x="98" y="64"/>
                  <a:pt x="97" y="61"/>
                  <a:pt x="96" y="58"/>
                </a:cubicBezTo>
                <a:cubicBezTo>
                  <a:pt x="58" y="58"/>
                  <a:pt x="58" y="58"/>
                  <a:pt x="58" y="58"/>
                </a:cubicBezTo>
                <a:cubicBezTo>
                  <a:pt x="58" y="101"/>
                  <a:pt x="58" y="101"/>
                  <a:pt x="58" y="101"/>
                </a:cubicBezTo>
                <a:cubicBezTo>
                  <a:pt x="58" y="108"/>
                  <a:pt x="53" y="114"/>
                  <a:pt x="46" y="115"/>
                </a:cubicBezTo>
                <a:cubicBezTo>
                  <a:pt x="46" y="115"/>
                  <a:pt x="46" y="115"/>
                  <a:pt x="46" y="115"/>
                </a:cubicBezTo>
                <a:cubicBezTo>
                  <a:pt x="45" y="115"/>
                  <a:pt x="45" y="115"/>
                  <a:pt x="44" y="115"/>
                </a:cubicBezTo>
                <a:cubicBezTo>
                  <a:pt x="43" y="115"/>
                  <a:pt x="42" y="115"/>
                  <a:pt x="40" y="116"/>
                </a:cubicBezTo>
                <a:cubicBezTo>
                  <a:pt x="36" y="117"/>
                  <a:pt x="32" y="119"/>
                  <a:pt x="30" y="123"/>
                </a:cubicBezTo>
                <a:cubicBezTo>
                  <a:pt x="28" y="125"/>
                  <a:pt x="27" y="129"/>
                  <a:pt x="27" y="134"/>
                </a:cubicBezTo>
                <a:cubicBezTo>
                  <a:pt x="27" y="139"/>
                  <a:pt x="28" y="141"/>
                  <a:pt x="29" y="144"/>
                </a:cubicBezTo>
                <a:cubicBezTo>
                  <a:pt x="30" y="146"/>
                  <a:pt x="32" y="147"/>
                  <a:pt x="34" y="149"/>
                </a:cubicBezTo>
                <a:cubicBezTo>
                  <a:pt x="38" y="151"/>
                  <a:pt x="43" y="152"/>
                  <a:pt x="45" y="153"/>
                </a:cubicBezTo>
                <a:cubicBezTo>
                  <a:pt x="45" y="153"/>
                  <a:pt x="46" y="153"/>
                  <a:pt x="46" y="153"/>
                </a:cubicBezTo>
                <a:cubicBezTo>
                  <a:pt x="46" y="153"/>
                  <a:pt x="46" y="153"/>
                  <a:pt x="46" y="153"/>
                </a:cubicBezTo>
                <a:cubicBezTo>
                  <a:pt x="46" y="153"/>
                  <a:pt x="46" y="153"/>
                  <a:pt x="46" y="153"/>
                </a:cubicBezTo>
                <a:cubicBezTo>
                  <a:pt x="53" y="153"/>
                  <a:pt x="59" y="159"/>
                  <a:pt x="59" y="166"/>
                </a:cubicBezTo>
                <a:cubicBezTo>
                  <a:pt x="59" y="213"/>
                  <a:pt x="59" y="213"/>
                  <a:pt x="59" y="213"/>
                </a:cubicBezTo>
                <a:cubicBezTo>
                  <a:pt x="96" y="213"/>
                  <a:pt x="96" y="213"/>
                  <a:pt x="96" y="213"/>
                </a:cubicBezTo>
                <a:cubicBezTo>
                  <a:pt x="96" y="212"/>
                  <a:pt x="96" y="212"/>
                  <a:pt x="96" y="211"/>
                </a:cubicBezTo>
                <a:cubicBezTo>
                  <a:pt x="99" y="204"/>
                  <a:pt x="104" y="195"/>
                  <a:pt x="114" y="188"/>
                </a:cubicBezTo>
                <a:cubicBezTo>
                  <a:pt x="120" y="184"/>
                  <a:pt x="129" y="181"/>
                  <a:pt x="139" y="181"/>
                </a:cubicBezTo>
                <a:cubicBezTo>
                  <a:pt x="140" y="181"/>
                  <a:pt x="140" y="181"/>
                  <a:pt x="140" y="181"/>
                </a:cubicBezTo>
                <a:cubicBezTo>
                  <a:pt x="149" y="181"/>
                  <a:pt x="158" y="184"/>
                  <a:pt x="165" y="189"/>
                </a:cubicBezTo>
                <a:cubicBezTo>
                  <a:pt x="171" y="193"/>
                  <a:pt x="175" y="199"/>
                  <a:pt x="178" y="204"/>
                </a:cubicBezTo>
                <a:cubicBezTo>
                  <a:pt x="180" y="207"/>
                  <a:pt x="181" y="210"/>
                  <a:pt x="182" y="213"/>
                </a:cubicBezTo>
                <a:cubicBezTo>
                  <a:pt x="219" y="213"/>
                  <a:pt x="219" y="213"/>
                  <a:pt x="219" y="213"/>
                </a:cubicBezTo>
                <a:cubicBezTo>
                  <a:pt x="219" y="166"/>
                  <a:pt x="219" y="166"/>
                  <a:pt x="219" y="166"/>
                </a:cubicBezTo>
                <a:cubicBezTo>
                  <a:pt x="219" y="159"/>
                  <a:pt x="224" y="153"/>
                  <a:pt x="231" y="153"/>
                </a:cubicBezTo>
                <a:cubicBezTo>
                  <a:pt x="236" y="152"/>
                  <a:pt x="240" y="151"/>
                  <a:pt x="242" y="150"/>
                </a:cubicBezTo>
                <a:cubicBezTo>
                  <a:pt x="245" y="148"/>
                  <a:pt x="246" y="146"/>
                  <a:pt x="247" y="144"/>
                </a:cubicBezTo>
                <a:cubicBezTo>
                  <a:pt x="250" y="140"/>
                  <a:pt x="250" y="135"/>
                  <a:pt x="250" y="134"/>
                </a:cubicBezTo>
                <a:cubicBezTo>
                  <a:pt x="250" y="134"/>
                  <a:pt x="250" y="134"/>
                  <a:pt x="250" y="134"/>
                </a:cubicBezTo>
                <a:cubicBezTo>
                  <a:pt x="250" y="134"/>
                  <a:pt x="250" y="134"/>
                  <a:pt x="250" y="134"/>
                </a:cubicBezTo>
                <a:cubicBezTo>
                  <a:pt x="250" y="134"/>
                  <a:pt x="250" y="134"/>
                  <a:pt x="250" y="134"/>
                </a:cubicBezTo>
                <a:cubicBezTo>
                  <a:pt x="250" y="134"/>
                  <a:pt x="250" y="131"/>
                  <a:pt x="249" y="128"/>
                </a:cubicBezTo>
                <a:cubicBezTo>
                  <a:pt x="248" y="125"/>
                  <a:pt x="246" y="122"/>
                  <a:pt x="242" y="119"/>
                </a:cubicBezTo>
                <a:cubicBezTo>
                  <a:pt x="240" y="117"/>
                  <a:pt x="236" y="115"/>
                  <a:pt x="230" y="114"/>
                </a:cubicBezTo>
                <a:cubicBezTo>
                  <a:pt x="223" y="113"/>
                  <a:pt x="219" y="108"/>
                  <a:pt x="219" y="101"/>
                </a:cubicBezTo>
                <a:cubicBezTo>
                  <a:pt x="219" y="44"/>
                  <a:pt x="219" y="44"/>
                  <a:pt x="219" y="44"/>
                </a:cubicBezTo>
                <a:cubicBezTo>
                  <a:pt x="219" y="37"/>
                  <a:pt x="225" y="31"/>
                  <a:pt x="232" y="31"/>
                </a:cubicBezTo>
                <a:cubicBezTo>
                  <a:pt x="281" y="31"/>
                  <a:pt x="281" y="31"/>
                  <a:pt x="281" y="31"/>
                </a:cubicBezTo>
                <a:cubicBezTo>
                  <a:pt x="283" y="27"/>
                  <a:pt x="285" y="23"/>
                  <a:pt x="287" y="19"/>
                </a:cubicBezTo>
                <a:cubicBezTo>
                  <a:pt x="291" y="13"/>
                  <a:pt x="297" y="8"/>
                  <a:pt x="302" y="5"/>
                </a:cubicBezTo>
                <a:cubicBezTo>
                  <a:pt x="312" y="0"/>
                  <a:pt x="322" y="0"/>
                  <a:pt x="324" y="0"/>
                </a:cubicBezTo>
                <a:cubicBezTo>
                  <a:pt x="324" y="0"/>
                  <a:pt x="324" y="0"/>
                  <a:pt x="325" y="0"/>
                </a:cubicBezTo>
                <a:cubicBezTo>
                  <a:pt x="330" y="0"/>
                  <a:pt x="336" y="1"/>
                  <a:pt x="343" y="4"/>
                </a:cubicBezTo>
                <a:cubicBezTo>
                  <a:pt x="350" y="7"/>
                  <a:pt x="358" y="13"/>
                  <a:pt x="363" y="22"/>
                </a:cubicBezTo>
                <a:cubicBezTo>
                  <a:pt x="365" y="25"/>
                  <a:pt x="366" y="28"/>
                  <a:pt x="367" y="31"/>
                </a:cubicBezTo>
                <a:cubicBezTo>
                  <a:pt x="385" y="31"/>
                  <a:pt x="418" y="31"/>
                  <a:pt x="418" y="31"/>
                </a:cubicBezTo>
                <a:cubicBezTo>
                  <a:pt x="425" y="31"/>
                  <a:pt x="431" y="37"/>
                  <a:pt x="431" y="45"/>
                </a:cubicBezTo>
                <a:cubicBezTo>
                  <a:pt x="431" y="91"/>
                  <a:pt x="431" y="91"/>
                  <a:pt x="431" y="91"/>
                </a:cubicBezTo>
                <a:cubicBezTo>
                  <a:pt x="431" y="91"/>
                  <a:pt x="432" y="91"/>
                  <a:pt x="432" y="92"/>
                </a:cubicBezTo>
                <a:cubicBezTo>
                  <a:pt x="439" y="94"/>
                  <a:pt x="449" y="99"/>
                  <a:pt x="455" y="109"/>
                </a:cubicBezTo>
                <a:cubicBezTo>
                  <a:pt x="460" y="116"/>
                  <a:pt x="462" y="124"/>
                  <a:pt x="463" y="134"/>
                </a:cubicBezTo>
                <a:cubicBezTo>
                  <a:pt x="463" y="135"/>
                  <a:pt x="463" y="135"/>
                  <a:pt x="463" y="135"/>
                </a:cubicBezTo>
                <a:cubicBezTo>
                  <a:pt x="462" y="145"/>
                  <a:pt x="459" y="153"/>
                  <a:pt x="455" y="160"/>
                </a:cubicBezTo>
                <a:cubicBezTo>
                  <a:pt x="450" y="166"/>
                  <a:pt x="445" y="171"/>
                  <a:pt x="439" y="173"/>
                </a:cubicBezTo>
                <a:cubicBezTo>
                  <a:pt x="436" y="175"/>
                  <a:pt x="434" y="176"/>
                  <a:pt x="431" y="177"/>
                </a:cubicBezTo>
                <a:cubicBezTo>
                  <a:pt x="431" y="226"/>
                  <a:pt x="431" y="226"/>
                  <a:pt x="431" y="226"/>
                </a:cubicBezTo>
                <a:cubicBezTo>
                  <a:pt x="431" y="229"/>
                  <a:pt x="430" y="233"/>
                  <a:pt x="427" y="235"/>
                </a:cubicBezTo>
                <a:cubicBezTo>
                  <a:pt x="425" y="238"/>
                  <a:pt x="421" y="239"/>
                  <a:pt x="418" y="239"/>
                </a:cubicBezTo>
                <a:cubicBezTo>
                  <a:pt x="357" y="239"/>
                  <a:pt x="357" y="239"/>
                  <a:pt x="357" y="239"/>
                </a:cubicBezTo>
                <a:cubicBezTo>
                  <a:pt x="350" y="239"/>
                  <a:pt x="344" y="234"/>
                  <a:pt x="343" y="227"/>
                </a:cubicBezTo>
                <a:cubicBezTo>
                  <a:pt x="343" y="221"/>
                  <a:pt x="341" y="218"/>
                  <a:pt x="340" y="216"/>
                </a:cubicBezTo>
                <a:cubicBezTo>
                  <a:pt x="338" y="213"/>
                  <a:pt x="336" y="212"/>
                  <a:pt x="334" y="210"/>
                </a:cubicBezTo>
                <a:cubicBezTo>
                  <a:pt x="331" y="208"/>
                  <a:pt x="326" y="208"/>
                  <a:pt x="325" y="208"/>
                </a:cubicBezTo>
                <a:cubicBezTo>
                  <a:pt x="325" y="208"/>
                  <a:pt x="324" y="208"/>
                  <a:pt x="324" y="208"/>
                </a:cubicBezTo>
                <a:cubicBezTo>
                  <a:pt x="324" y="208"/>
                  <a:pt x="324" y="208"/>
                  <a:pt x="324" y="208"/>
                </a:cubicBezTo>
                <a:cubicBezTo>
                  <a:pt x="324" y="208"/>
                  <a:pt x="324" y="208"/>
                  <a:pt x="323" y="208"/>
                </a:cubicBezTo>
                <a:cubicBezTo>
                  <a:pt x="322" y="208"/>
                  <a:pt x="321" y="208"/>
                  <a:pt x="319" y="209"/>
                </a:cubicBezTo>
                <a:cubicBezTo>
                  <a:pt x="316" y="210"/>
                  <a:pt x="312" y="212"/>
                  <a:pt x="310" y="215"/>
                </a:cubicBezTo>
                <a:cubicBezTo>
                  <a:pt x="308" y="218"/>
                  <a:pt x="306" y="222"/>
                  <a:pt x="306" y="227"/>
                </a:cubicBezTo>
                <a:cubicBezTo>
                  <a:pt x="305" y="234"/>
                  <a:pt x="299" y="239"/>
                  <a:pt x="292" y="239"/>
                </a:cubicBezTo>
                <a:cubicBezTo>
                  <a:pt x="271" y="239"/>
                  <a:pt x="271" y="239"/>
                  <a:pt x="271" y="239"/>
                </a:cubicBezTo>
                <a:cubicBezTo>
                  <a:pt x="263" y="239"/>
                  <a:pt x="257" y="233"/>
                  <a:pt x="257" y="226"/>
                </a:cubicBezTo>
                <a:cubicBezTo>
                  <a:pt x="257" y="219"/>
                  <a:pt x="263" y="213"/>
                  <a:pt x="271" y="213"/>
                </a:cubicBezTo>
                <a:cubicBezTo>
                  <a:pt x="282" y="213"/>
                  <a:pt x="282" y="213"/>
                  <a:pt x="282" y="213"/>
                </a:cubicBezTo>
                <a:cubicBezTo>
                  <a:pt x="283" y="208"/>
                  <a:pt x="285" y="204"/>
                  <a:pt x="288" y="200"/>
                </a:cubicBezTo>
                <a:cubicBezTo>
                  <a:pt x="292" y="194"/>
                  <a:pt x="298" y="190"/>
                  <a:pt x="303" y="187"/>
                </a:cubicBezTo>
                <a:cubicBezTo>
                  <a:pt x="314" y="181"/>
                  <a:pt x="323" y="181"/>
                  <a:pt x="324" y="181"/>
                </a:cubicBezTo>
                <a:cubicBezTo>
                  <a:pt x="324" y="181"/>
                  <a:pt x="324" y="181"/>
                  <a:pt x="324" y="181"/>
                </a:cubicBezTo>
                <a:cubicBezTo>
                  <a:pt x="324" y="181"/>
                  <a:pt x="324" y="181"/>
                  <a:pt x="324" y="181"/>
                </a:cubicBezTo>
                <a:cubicBezTo>
                  <a:pt x="324" y="181"/>
                  <a:pt x="324" y="181"/>
                  <a:pt x="324" y="181"/>
                </a:cubicBezTo>
                <a:cubicBezTo>
                  <a:pt x="325" y="181"/>
                  <a:pt x="325" y="181"/>
                  <a:pt x="325" y="181"/>
                </a:cubicBezTo>
                <a:cubicBezTo>
                  <a:pt x="327" y="181"/>
                  <a:pt x="331" y="181"/>
                  <a:pt x="338" y="183"/>
                </a:cubicBezTo>
                <a:cubicBezTo>
                  <a:pt x="345" y="186"/>
                  <a:pt x="354" y="190"/>
                  <a:pt x="361" y="200"/>
                </a:cubicBezTo>
                <a:cubicBezTo>
                  <a:pt x="364" y="204"/>
                  <a:pt x="366" y="208"/>
                  <a:pt x="367" y="212"/>
                </a:cubicBezTo>
                <a:cubicBezTo>
                  <a:pt x="405" y="213"/>
                  <a:pt x="405" y="213"/>
                  <a:pt x="405" y="213"/>
                </a:cubicBezTo>
                <a:cubicBezTo>
                  <a:pt x="405" y="166"/>
                  <a:pt x="405" y="166"/>
                  <a:pt x="405" y="166"/>
                </a:cubicBezTo>
                <a:cubicBezTo>
                  <a:pt x="405" y="159"/>
                  <a:pt x="410" y="153"/>
                  <a:pt x="417" y="153"/>
                </a:cubicBezTo>
                <a:cubicBezTo>
                  <a:pt x="417" y="153"/>
                  <a:pt x="417" y="153"/>
                  <a:pt x="417" y="153"/>
                </a:cubicBezTo>
                <a:cubicBezTo>
                  <a:pt x="418" y="153"/>
                  <a:pt x="418" y="153"/>
                  <a:pt x="419" y="153"/>
                </a:cubicBezTo>
                <a:cubicBezTo>
                  <a:pt x="420" y="153"/>
                  <a:pt x="421" y="152"/>
                  <a:pt x="423" y="152"/>
                </a:cubicBezTo>
                <a:cubicBezTo>
                  <a:pt x="427" y="150"/>
                  <a:pt x="431" y="148"/>
                  <a:pt x="433" y="145"/>
                </a:cubicBezTo>
                <a:cubicBezTo>
                  <a:pt x="434" y="142"/>
                  <a:pt x="436" y="139"/>
                  <a:pt x="436" y="134"/>
                </a:cubicBezTo>
                <a:cubicBezTo>
                  <a:pt x="436" y="130"/>
                  <a:pt x="435" y="127"/>
                  <a:pt x="434" y="125"/>
                </a:cubicBezTo>
                <a:cubicBezTo>
                  <a:pt x="433" y="123"/>
                  <a:pt x="431" y="121"/>
                  <a:pt x="429" y="120"/>
                </a:cubicBezTo>
                <a:cubicBezTo>
                  <a:pt x="425" y="117"/>
                  <a:pt x="419" y="115"/>
                  <a:pt x="417" y="115"/>
                </a:cubicBezTo>
                <a:cubicBezTo>
                  <a:pt x="417" y="114"/>
                  <a:pt x="416" y="114"/>
                  <a:pt x="416" y="114"/>
                </a:cubicBezTo>
                <a:cubicBezTo>
                  <a:pt x="410" y="114"/>
                  <a:pt x="404" y="108"/>
                  <a:pt x="404" y="101"/>
                </a:cubicBezTo>
                <a:cubicBezTo>
                  <a:pt x="404" y="58"/>
                  <a:pt x="404" y="58"/>
                  <a:pt x="404" y="58"/>
                </a:cubicBezTo>
                <a:cubicBezTo>
                  <a:pt x="386" y="58"/>
                  <a:pt x="356" y="58"/>
                  <a:pt x="356" y="58"/>
                </a:cubicBezTo>
                <a:cubicBezTo>
                  <a:pt x="349" y="58"/>
                  <a:pt x="343" y="52"/>
                  <a:pt x="343" y="45"/>
                </a:cubicBezTo>
                <a:cubicBezTo>
                  <a:pt x="342" y="38"/>
                  <a:pt x="340" y="35"/>
                  <a:pt x="338" y="32"/>
                </a:cubicBezTo>
                <a:cubicBezTo>
                  <a:pt x="335" y="29"/>
                  <a:pt x="332" y="28"/>
                  <a:pt x="329" y="27"/>
                </a:cubicBezTo>
                <a:cubicBezTo>
                  <a:pt x="327" y="26"/>
                  <a:pt x="325" y="26"/>
                  <a:pt x="325" y="26"/>
                </a:cubicBezTo>
                <a:cubicBezTo>
                  <a:pt x="325" y="26"/>
                  <a:pt x="325" y="26"/>
                  <a:pt x="325" y="26"/>
                </a:cubicBezTo>
                <a:cubicBezTo>
                  <a:pt x="324" y="26"/>
                  <a:pt x="321" y="26"/>
                  <a:pt x="318" y="27"/>
                </a:cubicBezTo>
                <a:cubicBezTo>
                  <a:pt x="315" y="28"/>
                  <a:pt x="312" y="30"/>
                  <a:pt x="309" y="34"/>
                </a:cubicBezTo>
                <a:cubicBezTo>
                  <a:pt x="307" y="36"/>
                  <a:pt x="306" y="40"/>
                  <a:pt x="305" y="46"/>
                </a:cubicBezTo>
                <a:cubicBezTo>
                  <a:pt x="304" y="53"/>
                  <a:pt x="299" y="58"/>
                  <a:pt x="292" y="58"/>
                </a:cubicBezTo>
                <a:cubicBezTo>
                  <a:pt x="245" y="58"/>
                  <a:pt x="245" y="58"/>
                  <a:pt x="245" y="58"/>
                </a:cubicBezTo>
                <a:cubicBezTo>
                  <a:pt x="245" y="91"/>
                  <a:pt x="245" y="91"/>
                  <a:pt x="245" y="91"/>
                </a:cubicBezTo>
                <a:cubicBezTo>
                  <a:pt x="250" y="93"/>
                  <a:pt x="254" y="95"/>
                  <a:pt x="257" y="97"/>
                </a:cubicBezTo>
                <a:cubicBezTo>
                  <a:pt x="263" y="101"/>
                  <a:pt x="268" y="107"/>
                  <a:pt x="271" y="112"/>
                </a:cubicBezTo>
                <a:cubicBezTo>
                  <a:pt x="276" y="122"/>
                  <a:pt x="277" y="131"/>
                  <a:pt x="277" y="134"/>
                </a:cubicBezTo>
                <a:cubicBezTo>
                  <a:pt x="277" y="134"/>
                  <a:pt x="277" y="134"/>
                  <a:pt x="277" y="134"/>
                </a:cubicBezTo>
                <a:cubicBezTo>
                  <a:pt x="277" y="136"/>
                  <a:pt x="277" y="142"/>
                  <a:pt x="274" y="149"/>
                </a:cubicBezTo>
                <a:cubicBezTo>
                  <a:pt x="272" y="156"/>
                  <a:pt x="267" y="165"/>
                  <a:pt x="257" y="171"/>
                </a:cubicBezTo>
                <a:cubicBezTo>
                  <a:pt x="254" y="174"/>
                  <a:pt x="250" y="176"/>
                  <a:pt x="245" y="177"/>
                </a:cubicBezTo>
                <a:cubicBezTo>
                  <a:pt x="245" y="226"/>
                  <a:pt x="245" y="226"/>
                  <a:pt x="245" y="226"/>
                </a:cubicBezTo>
                <a:cubicBezTo>
                  <a:pt x="245" y="229"/>
                  <a:pt x="244" y="233"/>
                  <a:pt x="241" y="235"/>
                </a:cubicBezTo>
                <a:cubicBezTo>
                  <a:pt x="239" y="238"/>
                  <a:pt x="235" y="239"/>
                  <a:pt x="232" y="239"/>
                </a:cubicBezTo>
                <a:cubicBezTo>
                  <a:pt x="171" y="239"/>
                  <a:pt x="171" y="239"/>
                  <a:pt x="171" y="239"/>
                </a:cubicBezTo>
                <a:cubicBezTo>
                  <a:pt x="163" y="239"/>
                  <a:pt x="158" y="233"/>
                  <a:pt x="157" y="226"/>
                </a:cubicBezTo>
                <a:cubicBezTo>
                  <a:pt x="157" y="226"/>
                  <a:pt x="157" y="226"/>
                  <a:pt x="157" y="226"/>
                </a:cubicBezTo>
                <a:cubicBezTo>
                  <a:pt x="157" y="226"/>
                  <a:pt x="157" y="226"/>
                  <a:pt x="157" y="226"/>
                </a:cubicBezTo>
                <a:cubicBezTo>
                  <a:pt x="157" y="226"/>
                  <a:pt x="157" y="226"/>
                  <a:pt x="157" y="226"/>
                </a:cubicBezTo>
                <a:cubicBezTo>
                  <a:pt x="157" y="226"/>
                  <a:pt x="157" y="225"/>
                  <a:pt x="157" y="225"/>
                </a:cubicBezTo>
                <a:cubicBezTo>
                  <a:pt x="157" y="224"/>
                  <a:pt x="157" y="222"/>
                  <a:pt x="156" y="220"/>
                </a:cubicBezTo>
                <a:cubicBezTo>
                  <a:pt x="155" y="217"/>
                  <a:pt x="153" y="213"/>
                  <a:pt x="150" y="211"/>
                </a:cubicBezTo>
                <a:cubicBezTo>
                  <a:pt x="147" y="209"/>
                  <a:pt x="144" y="208"/>
                  <a:pt x="139" y="207"/>
                </a:cubicBezTo>
                <a:cubicBezTo>
                  <a:pt x="135" y="208"/>
                  <a:pt x="132" y="208"/>
                  <a:pt x="130" y="210"/>
                </a:cubicBezTo>
                <a:cubicBezTo>
                  <a:pt x="128" y="211"/>
                  <a:pt x="126" y="213"/>
                  <a:pt x="125" y="215"/>
                </a:cubicBezTo>
                <a:cubicBezTo>
                  <a:pt x="122" y="218"/>
                  <a:pt x="120" y="224"/>
                  <a:pt x="120" y="226"/>
                </a:cubicBezTo>
                <a:cubicBezTo>
                  <a:pt x="120" y="227"/>
                  <a:pt x="120" y="227"/>
                  <a:pt x="120" y="227"/>
                </a:cubicBezTo>
                <a:cubicBezTo>
                  <a:pt x="120" y="227"/>
                  <a:pt x="120" y="227"/>
                  <a:pt x="120" y="227"/>
                </a:cubicBezTo>
                <a:cubicBezTo>
                  <a:pt x="119" y="234"/>
                  <a:pt x="113" y="239"/>
                  <a:pt x="106" y="239"/>
                </a:cubicBezTo>
                <a:cubicBezTo>
                  <a:pt x="45" y="239"/>
                  <a:pt x="45" y="239"/>
                  <a:pt x="45" y="239"/>
                </a:cubicBezTo>
                <a:cubicBezTo>
                  <a:pt x="38" y="239"/>
                  <a:pt x="32" y="233"/>
                  <a:pt x="32" y="226"/>
                </a:cubicBezTo>
                <a:moveTo>
                  <a:pt x="329" y="207"/>
                </a:moveTo>
                <a:cubicBezTo>
                  <a:pt x="330" y="206"/>
                  <a:pt x="330" y="206"/>
                  <a:pt x="330" y="206"/>
                </a:cubicBezTo>
                <a:cubicBezTo>
                  <a:pt x="330" y="206"/>
                  <a:pt x="330" y="206"/>
                  <a:pt x="329" y="207"/>
                </a:cubicBezTo>
                <a:close/>
                <a:moveTo>
                  <a:pt x="335" y="202"/>
                </a:moveTo>
                <a:cubicBezTo>
                  <a:pt x="335" y="202"/>
                  <a:pt x="335" y="202"/>
                  <a:pt x="336" y="202"/>
                </a:cubicBezTo>
                <a:cubicBezTo>
                  <a:pt x="335" y="202"/>
                  <a:pt x="335" y="202"/>
                  <a:pt x="335" y="202"/>
                </a:cubicBezTo>
                <a:close/>
                <a:moveTo>
                  <a:pt x="336" y="200"/>
                </a:moveTo>
                <a:cubicBezTo>
                  <a:pt x="336" y="200"/>
                  <a:pt x="336" y="200"/>
                  <a:pt x="336" y="201"/>
                </a:cubicBezTo>
                <a:cubicBezTo>
                  <a:pt x="336" y="200"/>
                  <a:pt x="336" y="200"/>
                  <a:pt x="337" y="200"/>
                </a:cubicBezTo>
                <a:cubicBezTo>
                  <a:pt x="337" y="200"/>
                  <a:pt x="337" y="200"/>
                  <a:pt x="336" y="20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1" name="Freeform 552"/>
          <p:cNvSpPr>
            <a:spLocks/>
          </p:cNvSpPr>
          <p:nvPr userDrawn="1"/>
        </p:nvSpPr>
        <p:spPr bwMode="auto">
          <a:xfrm>
            <a:off x="5239683" y="3807176"/>
            <a:ext cx="257242" cy="370285"/>
          </a:xfrm>
          <a:custGeom>
            <a:avLst/>
            <a:gdLst/>
            <a:ahLst/>
            <a:cxnLst>
              <a:cxn ang="0">
                <a:pos x="30" y="424"/>
              </a:cxn>
              <a:cxn ang="0">
                <a:pos x="0" y="372"/>
              </a:cxn>
              <a:cxn ang="0">
                <a:pos x="73" y="220"/>
              </a:cxn>
              <a:cxn ang="0">
                <a:pos x="95" y="235"/>
              </a:cxn>
              <a:cxn ang="0">
                <a:pos x="82" y="287"/>
              </a:cxn>
              <a:cxn ang="0">
                <a:pos x="86" y="290"/>
              </a:cxn>
              <a:cxn ang="0">
                <a:pos x="128" y="263"/>
              </a:cxn>
              <a:cxn ang="0">
                <a:pos x="164" y="198"/>
              </a:cxn>
              <a:cxn ang="0">
                <a:pos x="114" y="153"/>
              </a:cxn>
              <a:cxn ang="0">
                <a:pos x="88" y="157"/>
              </a:cxn>
              <a:cxn ang="0">
                <a:pos x="80" y="149"/>
              </a:cxn>
              <a:cxn ang="0">
                <a:pos x="75" y="122"/>
              </a:cxn>
              <a:cxn ang="0">
                <a:pos x="121" y="64"/>
              </a:cxn>
              <a:cxn ang="0">
                <a:pos x="208" y="69"/>
              </a:cxn>
              <a:cxn ang="0">
                <a:pos x="245" y="162"/>
              </a:cxn>
              <a:cxn ang="0">
                <a:pos x="176" y="318"/>
              </a:cxn>
              <a:cxn ang="0">
                <a:pos x="159" y="298"/>
              </a:cxn>
              <a:cxn ang="0">
                <a:pos x="218" y="162"/>
              </a:cxn>
              <a:cxn ang="0">
                <a:pos x="193" y="91"/>
              </a:cxn>
              <a:cxn ang="0">
                <a:pos x="131" y="89"/>
              </a:cxn>
              <a:cxn ang="0">
                <a:pos x="102" y="122"/>
              </a:cxn>
              <a:cxn ang="0">
                <a:pos x="114" y="127"/>
              </a:cxn>
              <a:cxn ang="0">
                <a:pos x="191" y="198"/>
              </a:cxn>
              <a:cxn ang="0">
                <a:pos x="146" y="282"/>
              </a:cxn>
              <a:cxn ang="0">
                <a:pos x="86" y="317"/>
              </a:cxn>
              <a:cxn ang="0">
                <a:pos x="60" y="304"/>
              </a:cxn>
              <a:cxn ang="0">
                <a:pos x="43" y="320"/>
              </a:cxn>
              <a:cxn ang="0">
                <a:pos x="30" y="389"/>
              </a:cxn>
              <a:cxn ang="0">
                <a:pos x="81" y="410"/>
              </a:cxn>
              <a:cxn ang="0">
                <a:pos x="247" y="254"/>
              </a:cxn>
              <a:cxn ang="0">
                <a:pos x="244" y="68"/>
              </a:cxn>
              <a:cxn ang="0">
                <a:pos x="151" y="26"/>
              </a:cxn>
              <a:cxn ang="0">
                <a:pos x="73" y="64"/>
              </a:cxn>
              <a:cxn ang="0">
                <a:pos x="46" y="145"/>
              </a:cxn>
              <a:cxn ang="0">
                <a:pos x="20" y="148"/>
              </a:cxn>
              <a:cxn ang="0">
                <a:pos x="38" y="69"/>
              </a:cxn>
              <a:cxn ang="0">
                <a:pos x="151" y="0"/>
              </a:cxn>
              <a:cxn ang="0">
                <a:pos x="264" y="50"/>
              </a:cxn>
              <a:cxn ang="0">
                <a:pos x="271" y="266"/>
              </a:cxn>
              <a:cxn ang="0">
                <a:pos x="82" y="437"/>
              </a:cxn>
            </a:cxnLst>
            <a:rect l="0" t="0" r="r" b="b"/>
            <a:pathLst>
              <a:path w="303" h="437">
                <a:moveTo>
                  <a:pt x="81" y="437"/>
                </a:moveTo>
                <a:cubicBezTo>
                  <a:pt x="61" y="437"/>
                  <a:pt x="43" y="431"/>
                  <a:pt x="30" y="424"/>
                </a:cubicBezTo>
                <a:cubicBezTo>
                  <a:pt x="20" y="418"/>
                  <a:pt x="12" y="411"/>
                  <a:pt x="7" y="402"/>
                </a:cubicBezTo>
                <a:cubicBezTo>
                  <a:pt x="2" y="393"/>
                  <a:pt x="0" y="383"/>
                  <a:pt x="0" y="372"/>
                </a:cubicBezTo>
                <a:cubicBezTo>
                  <a:pt x="0" y="353"/>
                  <a:pt x="6" y="333"/>
                  <a:pt x="19" y="308"/>
                </a:cubicBezTo>
                <a:cubicBezTo>
                  <a:pt x="31" y="283"/>
                  <a:pt x="49" y="254"/>
                  <a:pt x="73" y="220"/>
                </a:cubicBezTo>
                <a:cubicBezTo>
                  <a:pt x="77" y="215"/>
                  <a:pt x="85" y="213"/>
                  <a:pt x="91" y="217"/>
                </a:cubicBezTo>
                <a:cubicBezTo>
                  <a:pt x="97" y="221"/>
                  <a:pt x="99" y="229"/>
                  <a:pt x="95" y="235"/>
                </a:cubicBezTo>
                <a:cubicBezTo>
                  <a:pt x="85" y="250"/>
                  <a:pt x="80" y="267"/>
                  <a:pt x="80" y="278"/>
                </a:cubicBezTo>
                <a:cubicBezTo>
                  <a:pt x="80" y="282"/>
                  <a:pt x="81" y="285"/>
                  <a:pt x="82" y="287"/>
                </a:cubicBezTo>
                <a:cubicBezTo>
                  <a:pt x="83" y="289"/>
                  <a:pt x="83" y="289"/>
                  <a:pt x="84" y="290"/>
                </a:cubicBezTo>
                <a:cubicBezTo>
                  <a:pt x="84" y="290"/>
                  <a:pt x="84" y="290"/>
                  <a:pt x="86" y="290"/>
                </a:cubicBezTo>
                <a:cubicBezTo>
                  <a:pt x="88" y="290"/>
                  <a:pt x="93" y="289"/>
                  <a:pt x="100" y="285"/>
                </a:cubicBezTo>
                <a:cubicBezTo>
                  <a:pt x="108" y="281"/>
                  <a:pt x="117" y="274"/>
                  <a:pt x="128" y="263"/>
                </a:cubicBezTo>
                <a:cubicBezTo>
                  <a:pt x="141" y="249"/>
                  <a:pt x="151" y="237"/>
                  <a:pt x="156" y="226"/>
                </a:cubicBezTo>
                <a:cubicBezTo>
                  <a:pt x="162" y="215"/>
                  <a:pt x="164" y="206"/>
                  <a:pt x="164" y="198"/>
                </a:cubicBezTo>
                <a:cubicBezTo>
                  <a:pt x="164" y="184"/>
                  <a:pt x="158" y="174"/>
                  <a:pt x="148" y="166"/>
                </a:cubicBezTo>
                <a:cubicBezTo>
                  <a:pt x="139" y="158"/>
                  <a:pt x="126" y="153"/>
                  <a:pt x="114" y="153"/>
                </a:cubicBezTo>
                <a:cubicBezTo>
                  <a:pt x="108" y="153"/>
                  <a:pt x="103" y="154"/>
                  <a:pt x="98" y="157"/>
                </a:cubicBezTo>
                <a:cubicBezTo>
                  <a:pt x="95" y="158"/>
                  <a:pt x="91" y="158"/>
                  <a:pt x="88" y="157"/>
                </a:cubicBezTo>
                <a:cubicBezTo>
                  <a:pt x="84" y="155"/>
                  <a:pt x="82" y="153"/>
                  <a:pt x="80" y="149"/>
                </a:cubicBezTo>
                <a:cubicBezTo>
                  <a:pt x="80" y="149"/>
                  <a:pt x="80" y="149"/>
                  <a:pt x="80" y="149"/>
                </a:cubicBezTo>
                <a:cubicBezTo>
                  <a:pt x="80" y="149"/>
                  <a:pt x="80" y="149"/>
                  <a:pt x="80" y="149"/>
                </a:cubicBezTo>
                <a:cubicBezTo>
                  <a:pt x="77" y="140"/>
                  <a:pt x="75" y="132"/>
                  <a:pt x="75" y="122"/>
                </a:cubicBezTo>
                <a:cubicBezTo>
                  <a:pt x="75" y="111"/>
                  <a:pt x="78" y="99"/>
                  <a:pt x="86" y="88"/>
                </a:cubicBezTo>
                <a:cubicBezTo>
                  <a:pt x="94" y="78"/>
                  <a:pt x="106" y="70"/>
                  <a:pt x="121" y="64"/>
                </a:cubicBezTo>
                <a:cubicBezTo>
                  <a:pt x="134" y="59"/>
                  <a:pt x="148" y="56"/>
                  <a:pt x="162" y="56"/>
                </a:cubicBezTo>
                <a:cubicBezTo>
                  <a:pt x="178" y="56"/>
                  <a:pt x="194" y="60"/>
                  <a:pt x="208" y="69"/>
                </a:cubicBezTo>
                <a:cubicBezTo>
                  <a:pt x="222" y="79"/>
                  <a:pt x="233" y="93"/>
                  <a:pt x="238" y="113"/>
                </a:cubicBezTo>
                <a:cubicBezTo>
                  <a:pt x="242" y="126"/>
                  <a:pt x="245" y="143"/>
                  <a:pt x="245" y="162"/>
                </a:cubicBezTo>
                <a:cubicBezTo>
                  <a:pt x="245" y="186"/>
                  <a:pt x="240" y="214"/>
                  <a:pt x="230" y="242"/>
                </a:cubicBezTo>
                <a:cubicBezTo>
                  <a:pt x="219" y="269"/>
                  <a:pt x="202" y="296"/>
                  <a:pt x="176" y="318"/>
                </a:cubicBezTo>
                <a:cubicBezTo>
                  <a:pt x="170" y="323"/>
                  <a:pt x="161" y="322"/>
                  <a:pt x="157" y="317"/>
                </a:cubicBezTo>
                <a:cubicBezTo>
                  <a:pt x="152" y="311"/>
                  <a:pt x="153" y="303"/>
                  <a:pt x="159" y="298"/>
                </a:cubicBezTo>
                <a:cubicBezTo>
                  <a:pt x="181" y="279"/>
                  <a:pt x="196" y="256"/>
                  <a:pt x="205" y="232"/>
                </a:cubicBezTo>
                <a:cubicBezTo>
                  <a:pt x="214" y="208"/>
                  <a:pt x="218" y="183"/>
                  <a:pt x="218" y="162"/>
                </a:cubicBezTo>
                <a:cubicBezTo>
                  <a:pt x="218" y="145"/>
                  <a:pt x="216" y="130"/>
                  <a:pt x="213" y="120"/>
                </a:cubicBezTo>
                <a:cubicBezTo>
                  <a:pt x="208" y="106"/>
                  <a:pt x="201" y="97"/>
                  <a:pt x="193" y="91"/>
                </a:cubicBezTo>
                <a:cubicBezTo>
                  <a:pt x="184" y="85"/>
                  <a:pt x="174" y="82"/>
                  <a:pt x="162" y="82"/>
                </a:cubicBezTo>
                <a:cubicBezTo>
                  <a:pt x="152" y="82"/>
                  <a:pt x="141" y="85"/>
                  <a:pt x="131" y="89"/>
                </a:cubicBezTo>
                <a:cubicBezTo>
                  <a:pt x="119" y="93"/>
                  <a:pt x="112" y="99"/>
                  <a:pt x="108" y="104"/>
                </a:cubicBezTo>
                <a:cubicBezTo>
                  <a:pt x="104" y="110"/>
                  <a:pt x="102" y="116"/>
                  <a:pt x="102" y="122"/>
                </a:cubicBezTo>
                <a:cubicBezTo>
                  <a:pt x="102" y="124"/>
                  <a:pt x="102" y="126"/>
                  <a:pt x="102" y="128"/>
                </a:cubicBezTo>
                <a:cubicBezTo>
                  <a:pt x="106" y="127"/>
                  <a:pt x="110" y="127"/>
                  <a:pt x="114" y="127"/>
                </a:cubicBezTo>
                <a:cubicBezTo>
                  <a:pt x="132" y="127"/>
                  <a:pt x="151" y="133"/>
                  <a:pt x="165" y="145"/>
                </a:cubicBezTo>
                <a:cubicBezTo>
                  <a:pt x="180" y="157"/>
                  <a:pt x="191" y="176"/>
                  <a:pt x="191" y="198"/>
                </a:cubicBezTo>
                <a:cubicBezTo>
                  <a:pt x="191" y="211"/>
                  <a:pt x="187" y="224"/>
                  <a:pt x="180" y="238"/>
                </a:cubicBezTo>
                <a:cubicBezTo>
                  <a:pt x="173" y="252"/>
                  <a:pt x="162" y="267"/>
                  <a:pt x="146" y="282"/>
                </a:cubicBezTo>
                <a:cubicBezTo>
                  <a:pt x="134" y="294"/>
                  <a:pt x="124" y="302"/>
                  <a:pt x="114" y="308"/>
                </a:cubicBezTo>
                <a:cubicBezTo>
                  <a:pt x="104" y="313"/>
                  <a:pt x="95" y="317"/>
                  <a:pt x="86" y="317"/>
                </a:cubicBezTo>
                <a:cubicBezTo>
                  <a:pt x="81" y="317"/>
                  <a:pt x="76" y="316"/>
                  <a:pt x="71" y="313"/>
                </a:cubicBezTo>
                <a:cubicBezTo>
                  <a:pt x="67" y="311"/>
                  <a:pt x="63" y="307"/>
                  <a:pt x="60" y="304"/>
                </a:cubicBezTo>
                <a:cubicBezTo>
                  <a:pt x="59" y="301"/>
                  <a:pt x="57" y="298"/>
                  <a:pt x="56" y="295"/>
                </a:cubicBezTo>
                <a:cubicBezTo>
                  <a:pt x="51" y="304"/>
                  <a:pt x="46" y="312"/>
                  <a:pt x="43" y="320"/>
                </a:cubicBezTo>
                <a:cubicBezTo>
                  <a:pt x="31" y="343"/>
                  <a:pt x="26" y="360"/>
                  <a:pt x="26" y="372"/>
                </a:cubicBezTo>
                <a:cubicBezTo>
                  <a:pt x="26" y="379"/>
                  <a:pt x="28" y="384"/>
                  <a:pt x="30" y="389"/>
                </a:cubicBezTo>
                <a:cubicBezTo>
                  <a:pt x="33" y="393"/>
                  <a:pt x="37" y="397"/>
                  <a:pt x="43" y="401"/>
                </a:cubicBezTo>
                <a:cubicBezTo>
                  <a:pt x="52" y="406"/>
                  <a:pt x="66" y="411"/>
                  <a:pt x="81" y="410"/>
                </a:cubicBezTo>
                <a:cubicBezTo>
                  <a:pt x="100" y="410"/>
                  <a:pt x="121" y="404"/>
                  <a:pt x="142" y="385"/>
                </a:cubicBezTo>
                <a:cubicBezTo>
                  <a:pt x="192" y="336"/>
                  <a:pt x="226" y="292"/>
                  <a:pt x="247" y="254"/>
                </a:cubicBezTo>
                <a:cubicBezTo>
                  <a:pt x="268" y="215"/>
                  <a:pt x="276" y="181"/>
                  <a:pt x="276" y="153"/>
                </a:cubicBezTo>
                <a:cubicBezTo>
                  <a:pt x="276" y="117"/>
                  <a:pt x="263" y="89"/>
                  <a:pt x="244" y="68"/>
                </a:cubicBezTo>
                <a:cubicBezTo>
                  <a:pt x="225" y="47"/>
                  <a:pt x="199" y="34"/>
                  <a:pt x="174" y="29"/>
                </a:cubicBezTo>
                <a:cubicBezTo>
                  <a:pt x="166" y="27"/>
                  <a:pt x="158" y="26"/>
                  <a:pt x="151" y="26"/>
                </a:cubicBezTo>
                <a:cubicBezTo>
                  <a:pt x="134" y="26"/>
                  <a:pt x="119" y="30"/>
                  <a:pt x="106" y="37"/>
                </a:cubicBezTo>
                <a:cubicBezTo>
                  <a:pt x="94" y="44"/>
                  <a:pt x="82" y="53"/>
                  <a:pt x="73" y="64"/>
                </a:cubicBezTo>
                <a:cubicBezTo>
                  <a:pt x="55" y="86"/>
                  <a:pt x="45" y="115"/>
                  <a:pt x="46" y="136"/>
                </a:cubicBezTo>
                <a:cubicBezTo>
                  <a:pt x="46" y="139"/>
                  <a:pt x="46" y="142"/>
                  <a:pt x="46" y="145"/>
                </a:cubicBezTo>
                <a:cubicBezTo>
                  <a:pt x="47" y="152"/>
                  <a:pt x="42" y="159"/>
                  <a:pt x="35" y="160"/>
                </a:cubicBezTo>
                <a:cubicBezTo>
                  <a:pt x="27" y="160"/>
                  <a:pt x="21" y="155"/>
                  <a:pt x="20" y="148"/>
                </a:cubicBezTo>
                <a:cubicBezTo>
                  <a:pt x="19" y="144"/>
                  <a:pt x="19" y="140"/>
                  <a:pt x="19" y="136"/>
                </a:cubicBezTo>
                <a:cubicBezTo>
                  <a:pt x="19" y="115"/>
                  <a:pt x="26" y="91"/>
                  <a:pt x="38" y="69"/>
                </a:cubicBezTo>
                <a:cubicBezTo>
                  <a:pt x="51" y="47"/>
                  <a:pt x="69" y="26"/>
                  <a:pt x="94" y="13"/>
                </a:cubicBezTo>
                <a:cubicBezTo>
                  <a:pt x="110" y="5"/>
                  <a:pt x="130" y="0"/>
                  <a:pt x="151" y="0"/>
                </a:cubicBezTo>
                <a:cubicBezTo>
                  <a:pt x="160" y="0"/>
                  <a:pt x="170" y="1"/>
                  <a:pt x="180" y="3"/>
                </a:cubicBezTo>
                <a:cubicBezTo>
                  <a:pt x="210" y="9"/>
                  <a:pt x="240" y="25"/>
                  <a:pt x="264" y="50"/>
                </a:cubicBezTo>
                <a:cubicBezTo>
                  <a:pt x="287" y="75"/>
                  <a:pt x="303" y="110"/>
                  <a:pt x="303" y="153"/>
                </a:cubicBezTo>
                <a:cubicBezTo>
                  <a:pt x="303" y="187"/>
                  <a:pt x="293" y="224"/>
                  <a:pt x="271" y="266"/>
                </a:cubicBezTo>
                <a:cubicBezTo>
                  <a:pt x="248" y="308"/>
                  <a:pt x="212" y="354"/>
                  <a:pt x="160" y="404"/>
                </a:cubicBezTo>
                <a:cubicBezTo>
                  <a:pt x="135" y="428"/>
                  <a:pt x="107" y="437"/>
                  <a:pt x="82" y="437"/>
                </a:cubicBezTo>
                <a:cubicBezTo>
                  <a:pt x="82" y="437"/>
                  <a:pt x="82" y="437"/>
                  <a:pt x="81" y="437"/>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grpSp>
        <p:nvGrpSpPr>
          <p:cNvPr id="34" name="Group 319"/>
          <p:cNvGrpSpPr>
            <a:grpSpLocks noChangeAspect="1"/>
          </p:cNvGrpSpPr>
          <p:nvPr userDrawn="1"/>
        </p:nvGrpSpPr>
        <p:grpSpPr bwMode="auto">
          <a:xfrm>
            <a:off x="5724957" y="876600"/>
            <a:ext cx="200077" cy="379810"/>
            <a:chOff x="2579" y="548"/>
            <a:chExt cx="168" cy="319"/>
          </a:xfrm>
          <a:noFill/>
        </p:grpSpPr>
        <p:sp>
          <p:nvSpPr>
            <p:cNvPr id="93"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95" name="Freeform 389"/>
          <p:cNvSpPr>
            <a:spLocks/>
          </p:cNvSpPr>
          <p:nvPr userDrawn="1"/>
        </p:nvSpPr>
        <p:spPr bwMode="auto">
          <a:xfrm>
            <a:off x="5663624" y="3383970"/>
            <a:ext cx="322744" cy="223838"/>
          </a:xfrm>
          <a:custGeom>
            <a:avLst/>
            <a:gdLst/>
            <a:ahLst/>
            <a:cxnLst>
              <a:cxn ang="0">
                <a:pos x="274" y="19"/>
              </a:cxn>
              <a:cxn ang="0">
                <a:pos x="255" y="64"/>
              </a:cxn>
              <a:cxn ang="0">
                <a:pos x="256" y="75"/>
              </a:cxn>
              <a:cxn ang="0">
                <a:pos x="151" y="181"/>
              </a:cxn>
              <a:cxn ang="0">
                <a:pos x="142" y="202"/>
              </a:cxn>
              <a:cxn ang="0">
                <a:pos x="142" y="202"/>
              </a:cxn>
              <a:cxn ang="0">
                <a:pos x="147" y="220"/>
              </a:cxn>
              <a:cxn ang="0">
                <a:pos x="123" y="235"/>
              </a:cxn>
              <a:cxn ang="0">
                <a:pos x="104" y="233"/>
              </a:cxn>
              <a:cxn ang="0">
                <a:pos x="100" y="213"/>
              </a:cxn>
              <a:cxn ang="0">
                <a:pos x="81" y="170"/>
              </a:cxn>
              <a:cxn ang="0">
                <a:pos x="32" y="182"/>
              </a:cxn>
              <a:cxn ang="0">
                <a:pos x="7" y="218"/>
              </a:cxn>
              <a:cxn ang="0">
                <a:pos x="5" y="221"/>
              </a:cxn>
              <a:cxn ang="0">
                <a:pos x="6" y="221"/>
              </a:cxn>
              <a:cxn ang="0">
                <a:pos x="5" y="239"/>
              </a:cxn>
              <a:cxn ang="0">
                <a:pos x="23" y="241"/>
              </a:cxn>
              <a:cxn ang="0">
                <a:pos x="30" y="231"/>
              </a:cxn>
              <a:cxn ang="0">
                <a:pos x="31" y="231"/>
              </a:cxn>
              <a:cxn ang="0">
                <a:pos x="70" y="194"/>
              </a:cxn>
              <a:cxn ang="0">
                <a:pos x="73" y="211"/>
              </a:cxn>
              <a:cxn ang="0">
                <a:pos x="89" y="255"/>
              </a:cxn>
              <a:cxn ang="0">
                <a:pos x="129" y="261"/>
              </a:cxn>
              <a:cxn ang="0">
                <a:pos x="176" y="225"/>
              </a:cxn>
              <a:cxn ang="0">
                <a:pos x="178" y="219"/>
              </a:cxn>
              <a:cxn ang="0">
                <a:pos x="174" y="209"/>
              </a:cxn>
              <a:cxn ang="0">
                <a:pos x="170" y="205"/>
              </a:cxn>
              <a:cxn ang="0">
                <a:pos x="168" y="202"/>
              </a:cxn>
              <a:cxn ang="0">
                <a:pos x="170" y="200"/>
              </a:cxn>
              <a:cxn ang="0">
                <a:pos x="280" y="89"/>
              </a:cxn>
              <a:cxn ang="0">
                <a:pos x="284" y="76"/>
              </a:cxn>
              <a:cxn ang="0">
                <a:pos x="293" y="38"/>
              </a:cxn>
              <a:cxn ang="0">
                <a:pos x="319" y="27"/>
              </a:cxn>
              <a:cxn ang="0">
                <a:pos x="346" y="38"/>
              </a:cxn>
              <a:cxn ang="0">
                <a:pos x="357" y="65"/>
              </a:cxn>
              <a:cxn ang="0">
                <a:pos x="346" y="91"/>
              </a:cxn>
              <a:cxn ang="0">
                <a:pos x="308" y="100"/>
              </a:cxn>
              <a:cxn ang="0">
                <a:pos x="295" y="104"/>
              </a:cxn>
              <a:cxn ang="0">
                <a:pos x="193" y="206"/>
              </a:cxn>
              <a:cxn ang="0">
                <a:pos x="193" y="225"/>
              </a:cxn>
              <a:cxn ang="0">
                <a:pos x="212" y="225"/>
              </a:cxn>
              <a:cxn ang="0">
                <a:pos x="308" y="128"/>
              </a:cxn>
              <a:cxn ang="0">
                <a:pos x="365" y="110"/>
              </a:cxn>
              <a:cxn ang="0">
                <a:pos x="383" y="65"/>
              </a:cxn>
              <a:cxn ang="0">
                <a:pos x="365" y="19"/>
              </a:cxn>
              <a:cxn ang="0">
                <a:pos x="319" y="0"/>
              </a:cxn>
              <a:cxn ang="0">
                <a:pos x="274" y="19"/>
              </a:cxn>
            </a:cxnLst>
            <a:rect l="0" t="0" r="r" b="b"/>
            <a:pathLst>
              <a:path w="383" h="264">
                <a:moveTo>
                  <a:pt x="274" y="19"/>
                </a:moveTo>
                <a:cubicBezTo>
                  <a:pt x="262" y="31"/>
                  <a:pt x="255" y="48"/>
                  <a:pt x="255" y="64"/>
                </a:cubicBezTo>
                <a:cubicBezTo>
                  <a:pt x="255" y="68"/>
                  <a:pt x="256" y="72"/>
                  <a:pt x="256" y="75"/>
                </a:cubicBezTo>
                <a:cubicBezTo>
                  <a:pt x="247" y="85"/>
                  <a:pt x="151" y="181"/>
                  <a:pt x="151" y="181"/>
                </a:cubicBezTo>
                <a:cubicBezTo>
                  <a:pt x="145" y="187"/>
                  <a:pt x="142" y="194"/>
                  <a:pt x="142" y="202"/>
                </a:cubicBezTo>
                <a:cubicBezTo>
                  <a:pt x="142" y="202"/>
                  <a:pt x="142" y="202"/>
                  <a:pt x="142" y="202"/>
                </a:cubicBezTo>
                <a:cubicBezTo>
                  <a:pt x="142" y="209"/>
                  <a:pt x="144" y="215"/>
                  <a:pt x="147" y="220"/>
                </a:cubicBezTo>
                <a:cubicBezTo>
                  <a:pt x="141" y="227"/>
                  <a:pt x="132" y="232"/>
                  <a:pt x="123" y="235"/>
                </a:cubicBezTo>
                <a:cubicBezTo>
                  <a:pt x="117" y="236"/>
                  <a:pt x="110" y="237"/>
                  <a:pt x="104" y="233"/>
                </a:cubicBezTo>
                <a:cubicBezTo>
                  <a:pt x="99" y="229"/>
                  <a:pt x="99" y="225"/>
                  <a:pt x="100" y="213"/>
                </a:cubicBezTo>
                <a:cubicBezTo>
                  <a:pt x="101" y="201"/>
                  <a:pt x="103" y="180"/>
                  <a:pt x="81" y="170"/>
                </a:cubicBezTo>
                <a:cubicBezTo>
                  <a:pt x="71" y="165"/>
                  <a:pt x="52" y="161"/>
                  <a:pt x="32" y="182"/>
                </a:cubicBezTo>
                <a:cubicBezTo>
                  <a:pt x="21" y="193"/>
                  <a:pt x="13" y="208"/>
                  <a:pt x="7" y="218"/>
                </a:cubicBezTo>
                <a:cubicBezTo>
                  <a:pt x="6" y="221"/>
                  <a:pt x="5" y="221"/>
                  <a:pt x="5" y="221"/>
                </a:cubicBezTo>
                <a:cubicBezTo>
                  <a:pt x="6" y="221"/>
                  <a:pt x="6" y="221"/>
                  <a:pt x="6" y="221"/>
                </a:cubicBezTo>
                <a:cubicBezTo>
                  <a:pt x="1" y="225"/>
                  <a:pt x="0" y="234"/>
                  <a:pt x="5" y="239"/>
                </a:cubicBezTo>
                <a:cubicBezTo>
                  <a:pt x="10" y="245"/>
                  <a:pt x="17" y="246"/>
                  <a:pt x="23" y="241"/>
                </a:cubicBezTo>
                <a:cubicBezTo>
                  <a:pt x="25" y="239"/>
                  <a:pt x="28" y="236"/>
                  <a:pt x="30" y="231"/>
                </a:cubicBezTo>
                <a:cubicBezTo>
                  <a:pt x="30" y="231"/>
                  <a:pt x="31" y="231"/>
                  <a:pt x="31" y="231"/>
                </a:cubicBezTo>
                <a:cubicBezTo>
                  <a:pt x="45" y="204"/>
                  <a:pt x="57" y="188"/>
                  <a:pt x="70" y="194"/>
                </a:cubicBezTo>
                <a:cubicBezTo>
                  <a:pt x="74" y="196"/>
                  <a:pt x="75" y="197"/>
                  <a:pt x="73" y="211"/>
                </a:cubicBezTo>
                <a:cubicBezTo>
                  <a:pt x="72" y="223"/>
                  <a:pt x="71" y="242"/>
                  <a:pt x="89" y="255"/>
                </a:cubicBezTo>
                <a:cubicBezTo>
                  <a:pt x="100" y="262"/>
                  <a:pt x="114" y="264"/>
                  <a:pt x="129" y="261"/>
                </a:cubicBezTo>
                <a:cubicBezTo>
                  <a:pt x="148" y="256"/>
                  <a:pt x="167" y="242"/>
                  <a:pt x="176" y="225"/>
                </a:cubicBezTo>
                <a:cubicBezTo>
                  <a:pt x="176" y="225"/>
                  <a:pt x="178" y="219"/>
                  <a:pt x="178" y="219"/>
                </a:cubicBezTo>
                <a:cubicBezTo>
                  <a:pt x="179" y="215"/>
                  <a:pt x="177" y="213"/>
                  <a:pt x="174" y="209"/>
                </a:cubicBezTo>
                <a:cubicBezTo>
                  <a:pt x="170" y="205"/>
                  <a:pt x="170" y="205"/>
                  <a:pt x="170" y="205"/>
                </a:cubicBezTo>
                <a:cubicBezTo>
                  <a:pt x="169" y="204"/>
                  <a:pt x="168" y="203"/>
                  <a:pt x="168" y="202"/>
                </a:cubicBezTo>
                <a:cubicBezTo>
                  <a:pt x="168" y="202"/>
                  <a:pt x="169" y="201"/>
                  <a:pt x="170" y="200"/>
                </a:cubicBezTo>
                <a:cubicBezTo>
                  <a:pt x="280" y="89"/>
                  <a:pt x="280" y="89"/>
                  <a:pt x="280" y="89"/>
                </a:cubicBezTo>
                <a:cubicBezTo>
                  <a:pt x="284" y="86"/>
                  <a:pt x="285" y="80"/>
                  <a:pt x="284" y="76"/>
                </a:cubicBezTo>
                <a:cubicBezTo>
                  <a:pt x="279" y="62"/>
                  <a:pt x="283" y="48"/>
                  <a:pt x="293" y="38"/>
                </a:cubicBezTo>
                <a:cubicBezTo>
                  <a:pt x="300" y="31"/>
                  <a:pt x="309" y="27"/>
                  <a:pt x="319" y="27"/>
                </a:cubicBezTo>
                <a:cubicBezTo>
                  <a:pt x="329" y="27"/>
                  <a:pt x="339" y="31"/>
                  <a:pt x="346" y="38"/>
                </a:cubicBezTo>
                <a:cubicBezTo>
                  <a:pt x="353" y="45"/>
                  <a:pt x="357" y="55"/>
                  <a:pt x="357" y="65"/>
                </a:cubicBezTo>
                <a:cubicBezTo>
                  <a:pt x="357" y="75"/>
                  <a:pt x="353" y="84"/>
                  <a:pt x="346" y="91"/>
                </a:cubicBezTo>
                <a:cubicBezTo>
                  <a:pt x="336" y="101"/>
                  <a:pt x="322" y="104"/>
                  <a:pt x="308" y="100"/>
                </a:cubicBezTo>
                <a:cubicBezTo>
                  <a:pt x="304" y="99"/>
                  <a:pt x="298" y="100"/>
                  <a:pt x="295" y="104"/>
                </a:cubicBezTo>
                <a:cubicBezTo>
                  <a:pt x="193" y="206"/>
                  <a:pt x="193" y="206"/>
                  <a:pt x="193" y="206"/>
                </a:cubicBezTo>
                <a:cubicBezTo>
                  <a:pt x="188" y="211"/>
                  <a:pt x="188" y="219"/>
                  <a:pt x="193" y="225"/>
                </a:cubicBezTo>
                <a:cubicBezTo>
                  <a:pt x="198" y="230"/>
                  <a:pt x="206" y="230"/>
                  <a:pt x="212" y="225"/>
                </a:cubicBezTo>
                <a:cubicBezTo>
                  <a:pt x="212" y="225"/>
                  <a:pt x="299" y="137"/>
                  <a:pt x="308" y="128"/>
                </a:cubicBezTo>
                <a:cubicBezTo>
                  <a:pt x="329" y="131"/>
                  <a:pt x="350" y="125"/>
                  <a:pt x="365" y="110"/>
                </a:cubicBezTo>
                <a:cubicBezTo>
                  <a:pt x="377" y="98"/>
                  <a:pt x="383" y="82"/>
                  <a:pt x="383" y="65"/>
                </a:cubicBezTo>
                <a:cubicBezTo>
                  <a:pt x="383" y="47"/>
                  <a:pt x="377" y="31"/>
                  <a:pt x="365" y="19"/>
                </a:cubicBezTo>
                <a:cubicBezTo>
                  <a:pt x="353" y="7"/>
                  <a:pt x="336" y="0"/>
                  <a:pt x="319" y="0"/>
                </a:cubicBezTo>
                <a:cubicBezTo>
                  <a:pt x="302" y="0"/>
                  <a:pt x="286" y="7"/>
                  <a:pt x="274" y="19"/>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6" name="Freeform 457"/>
          <p:cNvSpPr>
            <a:spLocks noEditPoints="1"/>
          </p:cNvSpPr>
          <p:nvPr userDrawn="1"/>
        </p:nvSpPr>
        <p:spPr bwMode="auto">
          <a:xfrm>
            <a:off x="5698756" y="1803961"/>
            <a:ext cx="252478" cy="354806"/>
          </a:xfrm>
          <a:custGeom>
            <a:avLst/>
            <a:gdLst/>
            <a:ahLst/>
            <a:cxnLst>
              <a:cxn ang="0">
                <a:pos x="139" y="0"/>
              </a:cxn>
              <a:cxn ang="0">
                <a:pos x="60" y="45"/>
              </a:cxn>
              <a:cxn ang="0">
                <a:pos x="66" y="70"/>
              </a:cxn>
              <a:cxn ang="0">
                <a:pos x="200" y="115"/>
              </a:cxn>
              <a:cxn ang="0">
                <a:pos x="146" y="150"/>
              </a:cxn>
              <a:cxn ang="0">
                <a:pos x="141" y="194"/>
              </a:cxn>
              <a:cxn ang="0">
                <a:pos x="141" y="220"/>
              </a:cxn>
              <a:cxn ang="0">
                <a:pos x="146" y="259"/>
              </a:cxn>
              <a:cxn ang="0">
                <a:pos x="128" y="272"/>
              </a:cxn>
              <a:cxn ang="0">
                <a:pos x="146" y="286"/>
              </a:cxn>
              <a:cxn ang="0">
                <a:pos x="65" y="322"/>
              </a:cxn>
              <a:cxn ang="0">
                <a:pos x="26" y="322"/>
              </a:cxn>
              <a:cxn ang="0">
                <a:pos x="46" y="255"/>
              </a:cxn>
              <a:cxn ang="0">
                <a:pos x="78" y="248"/>
              </a:cxn>
              <a:cxn ang="0">
                <a:pos x="125" y="210"/>
              </a:cxn>
              <a:cxn ang="0">
                <a:pos x="68" y="223"/>
              </a:cxn>
              <a:cxn ang="0">
                <a:pos x="45" y="228"/>
              </a:cxn>
              <a:cxn ang="0">
                <a:pos x="26" y="158"/>
              </a:cxn>
              <a:cxn ang="0">
                <a:pos x="78" y="123"/>
              </a:cxn>
              <a:cxn ang="0">
                <a:pos x="65" y="84"/>
              </a:cxn>
              <a:cxn ang="0">
                <a:pos x="52" y="115"/>
              </a:cxn>
              <a:cxn ang="0">
                <a:pos x="0" y="150"/>
              </a:cxn>
              <a:cxn ang="0">
                <a:pos x="13" y="348"/>
              </a:cxn>
              <a:cxn ang="0">
                <a:pos x="52" y="406"/>
              </a:cxn>
              <a:cxn ang="0">
                <a:pos x="213" y="419"/>
              </a:cxn>
              <a:cxn ang="0">
                <a:pos x="226" y="309"/>
              </a:cxn>
              <a:cxn ang="0">
                <a:pos x="222" y="300"/>
              </a:cxn>
              <a:cxn ang="0">
                <a:pos x="221" y="298"/>
              </a:cxn>
              <a:cxn ang="0">
                <a:pos x="220" y="298"/>
              </a:cxn>
              <a:cxn ang="0">
                <a:pos x="219" y="297"/>
              </a:cxn>
              <a:cxn ang="0">
                <a:pos x="218" y="297"/>
              </a:cxn>
              <a:cxn ang="0">
                <a:pos x="216" y="296"/>
              </a:cxn>
              <a:cxn ang="0">
                <a:pos x="214" y="296"/>
              </a:cxn>
              <a:cxn ang="0">
                <a:pos x="212" y="296"/>
              </a:cxn>
              <a:cxn ang="0">
                <a:pos x="207" y="297"/>
              </a:cxn>
              <a:cxn ang="0">
                <a:pos x="207" y="297"/>
              </a:cxn>
              <a:cxn ang="0">
                <a:pos x="206" y="297"/>
              </a:cxn>
              <a:cxn ang="0">
                <a:pos x="173" y="158"/>
              </a:cxn>
              <a:cxn ang="0">
                <a:pos x="226" y="123"/>
              </a:cxn>
              <a:cxn ang="0">
                <a:pos x="213" y="43"/>
              </a:cxn>
              <a:cxn ang="0">
                <a:pos x="143" y="27"/>
              </a:cxn>
              <a:cxn ang="0">
                <a:pos x="272" y="357"/>
              </a:cxn>
              <a:cxn ang="0">
                <a:pos x="237" y="392"/>
              </a:cxn>
              <a:cxn ang="0">
                <a:pos x="292" y="377"/>
              </a:cxn>
              <a:cxn ang="0">
                <a:pos x="298" y="14"/>
              </a:cxn>
              <a:cxn ang="0">
                <a:pos x="78" y="348"/>
              </a:cxn>
              <a:cxn ang="0">
                <a:pos x="164" y="348"/>
              </a:cxn>
              <a:cxn ang="0">
                <a:pos x="200" y="331"/>
              </a:cxn>
              <a:cxn ang="0">
                <a:pos x="78" y="392"/>
              </a:cxn>
            </a:cxnLst>
            <a:rect l="0" t="0" r="r" b="b"/>
            <a:pathLst>
              <a:path w="298" h="419">
                <a:moveTo>
                  <a:pt x="285" y="0"/>
                </a:moveTo>
                <a:cubicBezTo>
                  <a:pt x="139" y="0"/>
                  <a:pt x="139" y="0"/>
                  <a:pt x="139" y="0"/>
                </a:cubicBezTo>
                <a:cubicBezTo>
                  <a:pt x="137" y="0"/>
                  <a:pt x="134" y="1"/>
                  <a:pt x="132" y="2"/>
                </a:cubicBezTo>
                <a:cubicBezTo>
                  <a:pt x="60" y="45"/>
                  <a:pt x="60" y="45"/>
                  <a:pt x="60" y="45"/>
                </a:cubicBezTo>
                <a:cubicBezTo>
                  <a:pt x="54" y="48"/>
                  <a:pt x="52" y="54"/>
                  <a:pt x="53" y="60"/>
                </a:cubicBezTo>
                <a:cubicBezTo>
                  <a:pt x="55" y="66"/>
                  <a:pt x="60" y="70"/>
                  <a:pt x="66" y="70"/>
                </a:cubicBezTo>
                <a:cubicBezTo>
                  <a:pt x="200" y="70"/>
                  <a:pt x="200" y="70"/>
                  <a:pt x="200" y="70"/>
                </a:cubicBezTo>
                <a:cubicBezTo>
                  <a:pt x="200" y="115"/>
                  <a:pt x="200" y="115"/>
                  <a:pt x="200" y="115"/>
                </a:cubicBezTo>
                <a:cubicBezTo>
                  <a:pt x="154" y="138"/>
                  <a:pt x="154" y="138"/>
                  <a:pt x="154" y="138"/>
                </a:cubicBezTo>
                <a:cubicBezTo>
                  <a:pt x="149" y="140"/>
                  <a:pt x="146" y="144"/>
                  <a:pt x="146" y="150"/>
                </a:cubicBezTo>
                <a:cubicBezTo>
                  <a:pt x="146" y="194"/>
                  <a:pt x="146" y="194"/>
                  <a:pt x="146" y="194"/>
                </a:cubicBezTo>
                <a:cubicBezTo>
                  <a:pt x="141" y="194"/>
                  <a:pt x="141" y="194"/>
                  <a:pt x="141" y="194"/>
                </a:cubicBezTo>
                <a:cubicBezTo>
                  <a:pt x="134" y="194"/>
                  <a:pt x="128" y="200"/>
                  <a:pt x="128" y="207"/>
                </a:cubicBezTo>
                <a:cubicBezTo>
                  <a:pt x="128" y="214"/>
                  <a:pt x="134" y="220"/>
                  <a:pt x="141" y="220"/>
                </a:cubicBezTo>
                <a:cubicBezTo>
                  <a:pt x="146" y="220"/>
                  <a:pt x="146" y="220"/>
                  <a:pt x="146" y="220"/>
                </a:cubicBezTo>
                <a:cubicBezTo>
                  <a:pt x="146" y="259"/>
                  <a:pt x="146" y="259"/>
                  <a:pt x="146" y="259"/>
                </a:cubicBezTo>
                <a:cubicBezTo>
                  <a:pt x="141" y="259"/>
                  <a:pt x="141" y="259"/>
                  <a:pt x="141" y="259"/>
                </a:cubicBezTo>
                <a:cubicBezTo>
                  <a:pt x="134" y="259"/>
                  <a:pt x="128" y="265"/>
                  <a:pt x="128" y="272"/>
                </a:cubicBezTo>
                <a:cubicBezTo>
                  <a:pt x="128" y="280"/>
                  <a:pt x="134" y="286"/>
                  <a:pt x="141" y="286"/>
                </a:cubicBezTo>
                <a:cubicBezTo>
                  <a:pt x="146" y="286"/>
                  <a:pt x="146" y="286"/>
                  <a:pt x="146" y="286"/>
                </a:cubicBezTo>
                <a:cubicBezTo>
                  <a:pt x="146" y="322"/>
                  <a:pt x="146" y="322"/>
                  <a:pt x="146" y="322"/>
                </a:cubicBezTo>
                <a:cubicBezTo>
                  <a:pt x="65" y="322"/>
                  <a:pt x="65" y="322"/>
                  <a:pt x="65" y="322"/>
                </a:cubicBezTo>
                <a:cubicBezTo>
                  <a:pt x="54" y="322"/>
                  <a:pt x="54" y="322"/>
                  <a:pt x="54" y="322"/>
                </a:cubicBezTo>
                <a:cubicBezTo>
                  <a:pt x="26" y="322"/>
                  <a:pt x="26" y="322"/>
                  <a:pt x="26" y="322"/>
                </a:cubicBezTo>
                <a:cubicBezTo>
                  <a:pt x="26" y="255"/>
                  <a:pt x="26" y="255"/>
                  <a:pt x="26" y="255"/>
                </a:cubicBezTo>
                <a:cubicBezTo>
                  <a:pt x="46" y="255"/>
                  <a:pt x="46" y="255"/>
                  <a:pt x="46" y="255"/>
                </a:cubicBezTo>
                <a:cubicBezTo>
                  <a:pt x="49" y="259"/>
                  <a:pt x="54" y="261"/>
                  <a:pt x="60" y="261"/>
                </a:cubicBezTo>
                <a:cubicBezTo>
                  <a:pt x="68" y="261"/>
                  <a:pt x="75" y="255"/>
                  <a:pt x="78" y="248"/>
                </a:cubicBezTo>
                <a:cubicBezTo>
                  <a:pt x="119" y="228"/>
                  <a:pt x="119" y="228"/>
                  <a:pt x="119" y="228"/>
                </a:cubicBezTo>
                <a:cubicBezTo>
                  <a:pt x="125" y="225"/>
                  <a:pt x="128" y="217"/>
                  <a:pt x="125" y="210"/>
                </a:cubicBezTo>
                <a:cubicBezTo>
                  <a:pt x="122" y="204"/>
                  <a:pt x="114" y="201"/>
                  <a:pt x="107" y="204"/>
                </a:cubicBezTo>
                <a:cubicBezTo>
                  <a:pt x="68" y="223"/>
                  <a:pt x="68" y="223"/>
                  <a:pt x="68" y="223"/>
                </a:cubicBezTo>
                <a:cubicBezTo>
                  <a:pt x="65" y="222"/>
                  <a:pt x="62" y="221"/>
                  <a:pt x="60" y="221"/>
                </a:cubicBezTo>
                <a:cubicBezTo>
                  <a:pt x="54" y="221"/>
                  <a:pt x="48" y="224"/>
                  <a:pt x="45" y="228"/>
                </a:cubicBezTo>
                <a:cubicBezTo>
                  <a:pt x="26" y="228"/>
                  <a:pt x="26" y="228"/>
                  <a:pt x="26" y="228"/>
                </a:cubicBezTo>
                <a:cubicBezTo>
                  <a:pt x="26" y="158"/>
                  <a:pt x="26" y="158"/>
                  <a:pt x="26" y="158"/>
                </a:cubicBezTo>
                <a:cubicBezTo>
                  <a:pt x="71" y="135"/>
                  <a:pt x="71" y="135"/>
                  <a:pt x="71" y="135"/>
                </a:cubicBezTo>
                <a:cubicBezTo>
                  <a:pt x="76" y="133"/>
                  <a:pt x="78" y="128"/>
                  <a:pt x="78" y="123"/>
                </a:cubicBezTo>
                <a:cubicBezTo>
                  <a:pt x="78" y="98"/>
                  <a:pt x="78" y="98"/>
                  <a:pt x="78" y="98"/>
                </a:cubicBezTo>
                <a:cubicBezTo>
                  <a:pt x="78" y="90"/>
                  <a:pt x="72" y="84"/>
                  <a:pt x="65" y="84"/>
                </a:cubicBezTo>
                <a:cubicBezTo>
                  <a:pt x="58" y="84"/>
                  <a:pt x="52" y="90"/>
                  <a:pt x="52" y="98"/>
                </a:cubicBezTo>
                <a:cubicBezTo>
                  <a:pt x="52" y="115"/>
                  <a:pt x="52" y="115"/>
                  <a:pt x="52" y="115"/>
                </a:cubicBezTo>
                <a:cubicBezTo>
                  <a:pt x="7" y="138"/>
                  <a:pt x="7" y="138"/>
                  <a:pt x="7" y="138"/>
                </a:cubicBezTo>
                <a:cubicBezTo>
                  <a:pt x="2" y="140"/>
                  <a:pt x="0" y="144"/>
                  <a:pt x="0" y="150"/>
                </a:cubicBezTo>
                <a:cubicBezTo>
                  <a:pt x="0" y="335"/>
                  <a:pt x="0" y="335"/>
                  <a:pt x="0" y="335"/>
                </a:cubicBezTo>
                <a:cubicBezTo>
                  <a:pt x="0" y="342"/>
                  <a:pt x="6" y="348"/>
                  <a:pt x="13" y="348"/>
                </a:cubicBezTo>
                <a:cubicBezTo>
                  <a:pt x="52" y="348"/>
                  <a:pt x="52" y="348"/>
                  <a:pt x="52" y="348"/>
                </a:cubicBezTo>
                <a:cubicBezTo>
                  <a:pt x="52" y="406"/>
                  <a:pt x="52" y="406"/>
                  <a:pt x="52" y="406"/>
                </a:cubicBezTo>
                <a:cubicBezTo>
                  <a:pt x="52" y="413"/>
                  <a:pt x="58" y="419"/>
                  <a:pt x="65" y="419"/>
                </a:cubicBezTo>
                <a:cubicBezTo>
                  <a:pt x="213" y="419"/>
                  <a:pt x="213" y="419"/>
                  <a:pt x="213" y="419"/>
                </a:cubicBezTo>
                <a:cubicBezTo>
                  <a:pt x="220" y="419"/>
                  <a:pt x="226" y="413"/>
                  <a:pt x="226" y="406"/>
                </a:cubicBezTo>
                <a:cubicBezTo>
                  <a:pt x="226" y="309"/>
                  <a:pt x="226" y="309"/>
                  <a:pt x="226" y="309"/>
                </a:cubicBezTo>
                <a:cubicBezTo>
                  <a:pt x="226" y="306"/>
                  <a:pt x="225" y="302"/>
                  <a:pt x="223" y="300"/>
                </a:cubicBezTo>
                <a:cubicBezTo>
                  <a:pt x="223" y="300"/>
                  <a:pt x="222" y="300"/>
                  <a:pt x="222" y="300"/>
                </a:cubicBezTo>
                <a:cubicBezTo>
                  <a:pt x="222" y="299"/>
                  <a:pt x="222" y="299"/>
                  <a:pt x="221" y="299"/>
                </a:cubicBezTo>
                <a:cubicBezTo>
                  <a:pt x="221" y="299"/>
                  <a:pt x="221" y="298"/>
                  <a:pt x="221" y="298"/>
                </a:cubicBezTo>
                <a:cubicBezTo>
                  <a:pt x="220" y="298"/>
                  <a:pt x="220" y="298"/>
                  <a:pt x="220" y="298"/>
                </a:cubicBezTo>
                <a:cubicBezTo>
                  <a:pt x="220" y="298"/>
                  <a:pt x="220" y="298"/>
                  <a:pt x="220" y="298"/>
                </a:cubicBezTo>
                <a:cubicBezTo>
                  <a:pt x="220" y="298"/>
                  <a:pt x="220" y="298"/>
                  <a:pt x="220" y="298"/>
                </a:cubicBezTo>
                <a:cubicBezTo>
                  <a:pt x="220" y="298"/>
                  <a:pt x="219" y="297"/>
                  <a:pt x="219" y="297"/>
                </a:cubicBezTo>
                <a:cubicBezTo>
                  <a:pt x="219" y="297"/>
                  <a:pt x="219" y="297"/>
                  <a:pt x="219" y="297"/>
                </a:cubicBezTo>
                <a:cubicBezTo>
                  <a:pt x="218" y="297"/>
                  <a:pt x="218" y="297"/>
                  <a:pt x="218" y="297"/>
                </a:cubicBezTo>
                <a:cubicBezTo>
                  <a:pt x="218" y="297"/>
                  <a:pt x="217" y="296"/>
                  <a:pt x="217" y="296"/>
                </a:cubicBezTo>
                <a:cubicBezTo>
                  <a:pt x="217" y="296"/>
                  <a:pt x="216" y="296"/>
                  <a:pt x="216" y="296"/>
                </a:cubicBezTo>
                <a:cubicBezTo>
                  <a:pt x="216" y="296"/>
                  <a:pt x="216" y="296"/>
                  <a:pt x="215" y="296"/>
                </a:cubicBezTo>
                <a:cubicBezTo>
                  <a:pt x="215" y="296"/>
                  <a:pt x="215" y="296"/>
                  <a:pt x="214" y="296"/>
                </a:cubicBezTo>
                <a:cubicBezTo>
                  <a:pt x="214" y="296"/>
                  <a:pt x="214" y="296"/>
                  <a:pt x="214" y="296"/>
                </a:cubicBezTo>
                <a:cubicBezTo>
                  <a:pt x="213" y="296"/>
                  <a:pt x="213" y="296"/>
                  <a:pt x="212" y="296"/>
                </a:cubicBezTo>
                <a:cubicBezTo>
                  <a:pt x="212" y="296"/>
                  <a:pt x="212" y="296"/>
                  <a:pt x="212" y="296"/>
                </a:cubicBezTo>
                <a:cubicBezTo>
                  <a:pt x="210" y="296"/>
                  <a:pt x="209" y="296"/>
                  <a:pt x="207" y="297"/>
                </a:cubicBezTo>
                <a:cubicBezTo>
                  <a:pt x="207" y="297"/>
                  <a:pt x="207" y="297"/>
                  <a:pt x="207" y="297"/>
                </a:cubicBezTo>
                <a:cubicBezTo>
                  <a:pt x="207" y="297"/>
                  <a:pt x="207" y="297"/>
                  <a:pt x="207" y="297"/>
                </a:cubicBezTo>
                <a:cubicBezTo>
                  <a:pt x="207" y="297"/>
                  <a:pt x="207" y="297"/>
                  <a:pt x="207" y="297"/>
                </a:cubicBezTo>
                <a:cubicBezTo>
                  <a:pt x="206" y="297"/>
                  <a:pt x="206" y="297"/>
                  <a:pt x="206" y="297"/>
                </a:cubicBezTo>
                <a:cubicBezTo>
                  <a:pt x="173" y="314"/>
                  <a:pt x="173" y="314"/>
                  <a:pt x="173" y="314"/>
                </a:cubicBezTo>
                <a:cubicBezTo>
                  <a:pt x="173" y="158"/>
                  <a:pt x="173" y="158"/>
                  <a:pt x="173" y="158"/>
                </a:cubicBezTo>
                <a:cubicBezTo>
                  <a:pt x="219" y="135"/>
                  <a:pt x="219" y="135"/>
                  <a:pt x="219" y="135"/>
                </a:cubicBezTo>
                <a:cubicBezTo>
                  <a:pt x="223" y="133"/>
                  <a:pt x="226" y="128"/>
                  <a:pt x="226" y="123"/>
                </a:cubicBezTo>
                <a:cubicBezTo>
                  <a:pt x="226" y="56"/>
                  <a:pt x="226" y="56"/>
                  <a:pt x="226" y="56"/>
                </a:cubicBezTo>
                <a:cubicBezTo>
                  <a:pt x="226" y="49"/>
                  <a:pt x="220" y="43"/>
                  <a:pt x="213" y="43"/>
                </a:cubicBezTo>
                <a:cubicBezTo>
                  <a:pt x="115" y="43"/>
                  <a:pt x="115" y="43"/>
                  <a:pt x="115" y="43"/>
                </a:cubicBezTo>
                <a:cubicBezTo>
                  <a:pt x="143" y="27"/>
                  <a:pt x="143" y="27"/>
                  <a:pt x="143" y="27"/>
                </a:cubicBezTo>
                <a:cubicBezTo>
                  <a:pt x="272" y="27"/>
                  <a:pt x="272" y="27"/>
                  <a:pt x="272" y="27"/>
                </a:cubicBezTo>
                <a:cubicBezTo>
                  <a:pt x="272" y="357"/>
                  <a:pt x="272" y="357"/>
                  <a:pt x="272" y="357"/>
                </a:cubicBezTo>
                <a:cubicBezTo>
                  <a:pt x="242" y="374"/>
                  <a:pt x="242" y="374"/>
                  <a:pt x="242" y="374"/>
                </a:cubicBezTo>
                <a:cubicBezTo>
                  <a:pt x="235" y="378"/>
                  <a:pt x="233" y="386"/>
                  <a:pt x="237" y="392"/>
                </a:cubicBezTo>
                <a:cubicBezTo>
                  <a:pt x="240" y="399"/>
                  <a:pt x="249" y="401"/>
                  <a:pt x="255" y="397"/>
                </a:cubicBezTo>
                <a:cubicBezTo>
                  <a:pt x="292" y="377"/>
                  <a:pt x="292" y="377"/>
                  <a:pt x="292" y="377"/>
                </a:cubicBezTo>
                <a:cubicBezTo>
                  <a:pt x="296" y="374"/>
                  <a:pt x="298" y="370"/>
                  <a:pt x="298" y="365"/>
                </a:cubicBezTo>
                <a:cubicBezTo>
                  <a:pt x="298" y="14"/>
                  <a:pt x="298" y="14"/>
                  <a:pt x="298" y="14"/>
                </a:cubicBezTo>
                <a:cubicBezTo>
                  <a:pt x="298" y="6"/>
                  <a:pt x="292" y="0"/>
                  <a:pt x="285" y="0"/>
                </a:cubicBezTo>
                <a:close/>
                <a:moveTo>
                  <a:pt x="78" y="348"/>
                </a:moveTo>
                <a:cubicBezTo>
                  <a:pt x="157" y="348"/>
                  <a:pt x="157" y="348"/>
                  <a:pt x="157" y="348"/>
                </a:cubicBezTo>
                <a:cubicBezTo>
                  <a:pt x="159" y="349"/>
                  <a:pt x="162" y="349"/>
                  <a:pt x="164" y="348"/>
                </a:cubicBezTo>
                <a:cubicBezTo>
                  <a:pt x="166" y="348"/>
                  <a:pt x="168" y="347"/>
                  <a:pt x="169" y="346"/>
                </a:cubicBezTo>
                <a:cubicBezTo>
                  <a:pt x="200" y="331"/>
                  <a:pt x="200" y="331"/>
                  <a:pt x="200" y="331"/>
                </a:cubicBezTo>
                <a:cubicBezTo>
                  <a:pt x="200" y="392"/>
                  <a:pt x="200" y="392"/>
                  <a:pt x="200" y="392"/>
                </a:cubicBezTo>
                <a:cubicBezTo>
                  <a:pt x="78" y="392"/>
                  <a:pt x="78" y="392"/>
                  <a:pt x="78" y="392"/>
                </a:cubicBezTo>
                <a:lnTo>
                  <a:pt x="78" y="348"/>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7" name="Freeform 465"/>
          <p:cNvSpPr>
            <a:spLocks/>
          </p:cNvSpPr>
          <p:nvPr userDrawn="1"/>
        </p:nvSpPr>
        <p:spPr bwMode="auto">
          <a:xfrm>
            <a:off x="5629682" y="1303068"/>
            <a:ext cx="390627" cy="400051"/>
          </a:xfrm>
          <a:custGeom>
            <a:avLst/>
            <a:gdLst/>
            <a:ahLst/>
            <a:cxnLst>
              <a:cxn ang="0">
                <a:pos x="28" y="296"/>
              </a:cxn>
              <a:cxn ang="0">
                <a:pos x="28" y="301"/>
              </a:cxn>
              <a:cxn ang="0">
                <a:pos x="16" y="330"/>
              </a:cxn>
              <a:cxn ang="0">
                <a:pos x="2" y="394"/>
              </a:cxn>
              <a:cxn ang="0">
                <a:pos x="160" y="426"/>
              </a:cxn>
              <a:cxn ang="0">
                <a:pos x="168" y="415"/>
              </a:cxn>
              <a:cxn ang="0">
                <a:pos x="271" y="373"/>
              </a:cxn>
              <a:cxn ang="0">
                <a:pos x="377" y="462"/>
              </a:cxn>
              <a:cxn ang="0">
                <a:pos x="274" y="346"/>
              </a:cxn>
              <a:cxn ang="0">
                <a:pos x="160" y="385"/>
              </a:cxn>
              <a:cxn ang="0">
                <a:pos x="148" y="398"/>
              </a:cxn>
              <a:cxn ang="0">
                <a:pos x="138" y="409"/>
              </a:cxn>
              <a:cxn ang="0">
                <a:pos x="28" y="389"/>
              </a:cxn>
              <a:cxn ang="0">
                <a:pos x="38" y="345"/>
              </a:cxn>
              <a:cxn ang="0">
                <a:pos x="61" y="319"/>
              </a:cxn>
              <a:cxn ang="0">
                <a:pos x="54" y="296"/>
              </a:cxn>
              <a:cxn ang="0">
                <a:pos x="375" y="34"/>
              </a:cxn>
              <a:cxn ang="0">
                <a:pos x="430" y="73"/>
              </a:cxn>
              <a:cxn ang="0">
                <a:pos x="331" y="150"/>
              </a:cxn>
              <a:cxn ang="0">
                <a:pos x="305" y="101"/>
              </a:cxn>
              <a:cxn ang="0">
                <a:pos x="300" y="99"/>
              </a:cxn>
              <a:cxn ang="0">
                <a:pos x="134" y="235"/>
              </a:cxn>
              <a:cxn ang="0">
                <a:pos x="135" y="242"/>
              </a:cxn>
              <a:cxn ang="0">
                <a:pos x="141" y="249"/>
              </a:cxn>
              <a:cxn ang="0">
                <a:pos x="177" y="278"/>
              </a:cxn>
              <a:cxn ang="0">
                <a:pos x="79" y="355"/>
              </a:cxn>
              <a:cxn ang="0">
                <a:pos x="58" y="345"/>
              </a:cxn>
              <a:cxn ang="0">
                <a:pos x="57" y="371"/>
              </a:cxn>
              <a:cxn ang="0">
                <a:pos x="59" y="374"/>
              </a:cxn>
              <a:cxn ang="0">
                <a:pos x="158" y="353"/>
              </a:cxn>
              <a:cxn ang="0">
                <a:pos x="201" y="263"/>
              </a:cxn>
              <a:cxn ang="0">
                <a:pos x="198" y="259"/>
              </a:cxn>
              <a:cxn ang="0">
                <a:pos x="161" y="231"/>
              </a:cxn>
              <a:cxn ang="0">
                <a:pos x="290" y="126"/>
              </a:cxn>
              <a:cxn ang="0">
                <a:pos x="311" y="167"/>
              </a:cxn>
              <a:cxn ang="0">
                <a:pos x="314" y="171"/>
              </a:cxn>
              <a:cxn ang="0">
                <a:pos x="453" y="58"/>
              </a:cxn>
              <a:cxn ang="0">
                <a:pos x="453" y="57"/>
              </a:cxn>
              <a:cxn ang="0">
                <a:pos x="385" y="9"/>
              </a:cxn>
              <a:cxn ang="0">
                <a:pos x="384" y="8"/>
              </a:cxn>
              <a:cxn ang="0">
                <a:pos x="158" y="95"/>
              </a:cxn>
            </a:cxnLst>
            <a:rect l="0" t="0" r="r" b="b"/>
            <a:pathLst>
              <a:path w="463" h="474">
                <a:moveTo>
                  <a:pt x="158" y="95"/>
                </a:moveTo>
                <a:cubicBezTo>
                  <a:pt x="83" y="157"/>
                  <a:pt x="33" y="233"/>
                  <a:pt x="28" y="296"/>
                </a:cubicBezTo>
                <a:cubicBezTo>
                  <a:pt x="28" y="296"/>
                  <a:pt x="27" y="296"/>
                  <a:pt x="27" y="297"/>
                </a:cubicBezTo>
                <a:cubicBezTo>
                  <a:pt x="27" y="298"/>
                  <a:pt x="28" y="299"/>
                  <a:pt x="28" y="301"/>
                </a:cubicBezTo>
                <a:cubicBezTo>
                  <a:pt x="28" y="301"/>
                  <a:pt x="30" y="307"/>
                  <a:pt x="32" y="314"/>
                </a:cubicBezTo>
                <a:cubicBezTo>
                  <a:pt x="25" y="320"/>
                  <a:pt x="18" y="328"/>
                  <a:pt x="16" y="330"/>
                </a:cubicBezTo>
                <a:cubicBezTo>
                  <a:pt x="6" y="345"/>
                  <a:pt x="0" y="362"/>
                  <a:pt x="0" y="379"/>
                </a:cubicBezTo>
                <a:cubicBezTo>
                  <a:pt x="0" y="384"/>
                  <a:pt x="1" y="389"/>
                  <a:pt x="2" y="394"/>
                </a:cubicBezTo>
                <a:cubicBezTo>
                  <a:pt x="6" y="416"/>
                  <a:pt x="18" y="435"/>
                  <a:pt x="36" y="448"/>
                </a:cubicBezTo>
                <a:cubicBezTo>
                  <a:pt x="74" y="474"/>
                  <a:pt x="131" y="464"/>
                  <a:pt x="160" y="426"/>
                </a:cubicBezTo>
                <a:cubicBezTo>
                  <a:pt x="160" y="426"/>
                  <a:pt x="160" y="426"/>
                  <a:pt x="159" y="426"/>
                </a:cubicBezTo>
                <a:cubicBezTo>
                  <a:pt x="159" y="426"/>
                  <a:pt x="168" y="415"/>
                  <a:pt x="168" y="415"/>
                </a:cubicBezTo>
                <a:cubicBezTo>
                  <a:pt x="169" y="415"/>
                  <a:pt x="179" y="403"/>
                  <a:pt x="180" y="403"/>
                </a:cubicBezTo>
                <a:cubicBezTo>
                  <a:pt x="201" y="380"/>
                  <a:pt x="236" y="369"/>
                  <a:pt x="271" y="373"/>
                </a:cubicBezTo>
                <a:cubicBezTo>
                  <a:pt x="319" y="379"/>
                  <a:pt x="358" y="411"/>
                  <a:pt x="362" y="450"/>
                </a:cubicBezTo>
                <a:cubicBezTo>
                  <a:pt x="363" y="457"/>
                  <a:pt x="370" y="463"/>
                  <a:pt x="377" y="462"/>
                </a:cubicBezTo>
                <a:cubicBezTo>
                  <a:pt x="385" y="461"/>
                  <a:pt x="390" y="454"/>
                  <a:pt x="389" y="447"/>
                </a:cubicBezTo>
                <a:cubicBezTo>
                  <a:pt x="383" y="396"/>
                  <a:pt x="334" y="353"/>
                  <a:pt x="274" y="346"/>
                </a:cubicBezTo>
                <a:cubicBezTo>
                  <a:pt x="230" y="341"/>
                  <a:pt x="187" y="355"/>
                  <a:pt x="160" y="384"/>
                </a:cubicBezTo>
                <a:cubicBezTo>
                  <a:pt x="160" y="385"/>
                  <a:pt x="160" y="385"/>
                  <a:pt x="160" y="385"/>
                </a:cubicBezTo>
                <a:cubicBezTo>
                  <a:pt x="148" y="397"/>
                  <a:pt x="148" y="397"/>
                  <a:pt x="148" y="397"/>
                </a:cubicBezTo>
                <a:cubicBezTo>
                  <a:pt x="148" y="398"/>
                  <a:pt x="148" y="398"/>
                  <a:pt x="148" y="398"/>
                </a:cubicBezTo>
                <a:cubicBezTo>
                  <a:pt x="139" y="409"/>
                  <a:pt x="139" y="409"/>
                  <a:pt x="139" y="409"/>
                </a:cubicBezTo>
                <a:cubicBezTo>
                  <a:pt x="139" y="409"/>
                  <a:pt x="139" y="409"/>
                  <a:pt x="138" y="409"/>
                </a:cubicBezTo>
                <a:cubicBezTo>
                  <a:pt x="116" y="439"/>
                  <a:pt x="75" y="442"/>
                  <a:pt x="52" y="426"/>
                </a:cubicBezTo>
                <a:cubicBezTo>
                  <a:pt x="39" y="417"/>
                  <a:pt x="31" y="404"/>
                  <a:pt x="28" y="389"/>
                </a:cubicBezTo>
                <a:cubicBezTo>
                  <a:pt x="27" y="386"/>
                  <a:pt x="27" y="383"/>
                  <a:pt x="27" y="379"/>
                </a:cubicBezTo>
                <a:cubicBezTo>
                  <a:pt x="27" y="367"/>
                  <a:pt x="31" y="356"/>
                  <a:pt x="38" y="345"/>
                </a:cubicBezTo>
                <a:cubicBezTo>
                  <a:pt x="40" y="343"/>
                  <a:pt x="49" y="334"/>
                  <a:pt x="54" y="331"/>
                </a:cubicBezTo>
                <a:cubicBezTo>
                  <a:pt x="58" y="329"/>
                  <a:pt x="61" y="324"/>
                  <a:pt x="61" y="319"/>
                </a:cubicBezTo>
                <a:cubicBezTo>
                  <a:pt x="61" y="318"/>
                  <a:pt x="61" y="317"/>
                  <a:pt x="60" y="315"/>
                </a:cubicBezTo>
                <a:cubicBezTo>
                  <a:pt x="60" y="315"/>
                  <a:pt x="56" y="300"/>
                  <a:pt x="54" y="296"/>
                </a:cubicBezTo>
                <a:cubicBezTo>
                  <a:pt x="60" y="241"/>
                  <a:pt x="107" y="171"/>
                  <a:pt x="175" y="116"/>
                </a:cubicBezTo>
                <a:cubicBezTo>
                  <a:pt x="243" y="61"/>
                  <a:pt x="321" y="29"/>
                  <a:pt x="375" y="34"/>
                </a:cubicBezTo>
                <a:cubicBezTo>
                  <a:pt x="395" y="43"/>
                  <a:pt x="413" y="55"/>
                  <a:pt x="429" y="70"/>
                </a:cubicBezTo>
                <a:cubicBezTo>
                  <a:pt x="429" y="71"/>
                  <a:pt x="430" y="72"/>
                  <a:pt x="430" y="73"/>
                </a:cubicBezTo>
                <a:cubicBezTo>
                  <a:pt x="430" y="85"/>
                  <a:pt x="419" y="106"/>
                  <a:pt x="394" y="127"/>
                </a:cubicBezTo>
                <a:cubicBezTo>
                  <a:pt x="367" y="148"/>
                  <a:pt x="342" y="154"/>
                  <a:pt x="331" y="150"/>
                </a:cubicBezTo>
                <a:cubicBezTo>
                  <a:pt x="324" y="137"/>
                  <a:pt x="318" y="123"/>
                  <a:pt x="313" y="109"/>
                </a:cubicBezTo>
                <a:cubicBezTo>
                  <a:pt x="312" y="105"/>
                  <a:pt x="308" y="102"/>
                  <a:pt x="305" y="101"/>
                </a:cubicBezTo>
                <a:cubicBezTo>
                  <a:pt x="303" y="100"/>
                  <a:pt x="303" y="100"/>
                  <a:pt x="303" y="100"/>
                </a:cubicBezTo>
                <a:cubicBezTo>
                  <a:pt x="302" y="100"/>
                  <a:pt x="301" y="100"/>
                  <a:pt x="300" y="99"/>
                </a:cubicBezTo>
                <a:cubicBezTo>
                  <a:pt x="268" y="96"/>
                  <a:pt x="226" y="111"/>
                  <a:pt x="193" y="138"/>
                </a:cubicBezTo>
                <a:cubicBezTo>
                  <a:pt x="160" y="165"/>
                  <a:pt x="136" y="203"/>
                  <a:pt x="134" y="235"/>
                </a:cubicBezTo>
                <a:cubicBezTo>
                  <a:pt x="134" y="235"/>
                  <a:pt x="134" y="236"/>
                  <a:pt x="134" y="236"/>
                </a:cubicBezTo>
                <a:cubicBezTo>
                  <a:pt x="134" y="238"/>
                  <a:pt x="134" y="240"/>
                  <a:pt x="135" y="242"/>
                </a:cubicBezTo>
                <a:cubicBezTo>
                  <a:pt x="136" y="243"/>
                  <a:pt x="136" y="243"/>
                  <a:pt x="136" y="243"/>
                </a:cubicBezTo>
                <a:cubicBezTo>
                  <a:pt x="137" y="246"/>
                  <a:pt x="139" y="248"/>
                  <a:pt x="141" y="249"/>
                </a:cubicBezTo>
                <a:cubicBezTo>
                  <a:pt x="154" y="257"/>
                  <a:pt x="166" y="266"/>
                  <a:pt x="177" y="276"/>
                </a:cubicBezTo>
                <a:cubicBezTo>
                  <a:pt x="177" y="276"/>
                  <a:pt x="177" y="277"/>
                  <a:pt x="177" y="278"/>
                </a:cubicBezTo>
                <a:cubicBezTo>
                  <a:pt x="177" y="290"/>
                  <a:pt x="166" y="312"/>
                  <a:pt x="141" y="332"/>
                </a:cubicBezTo>
                <a:cubicBezTo>
                  <a:pt x="114" y="354"/>
                  <a:pt x="89" y="359"/>
                  <a:pt x="79" y="355"/>
                </a:cubicBezTo>
                <a:cubicBezTo>
                  <a:pt x="77" y="353"/>
                  <a:pt x="76" y="351"/>
                  <a:pt x="76" y="351"/>
                </a:cubicBezTo>
                <a:cubicBezTo>
                  <a:pt x="72" y="344"/>
                  <a:pt x="64" y="342"/>
                  <a:pt x="58" y="345"/>
                </a:cubicBezTo>
                <a:cubicBezTo>
                  <a:pt x="51" y="349"/>
                  <a:pt x="49" y="357"/>
                  <a:pt x="53" y="363"/>
                </a:cubicBezTo>
                <a:cubicBezTo>
                  <a:pt x="57" y="371"/>
                  <a:pt x="57" y="371"/>
                  <a:pt x="57" y="371"/>
                </a:cubicBezTo>
                <a:cubicBezTo>
                  <a:pt x="57" y="372"/>
                  <a:pt x="58" y="372"/>
                  <a:pt x="58" y="373"/>
                </a:cubicBezTo>
                <a:cubicBezTo>
                  <a:pt x="59" y="374"/>
                  <a:pt x="59" y="374"/>
                  <a:pt x="59" y="374"/>
                </a:cubicBezTo>
                <a:cubicBezTo>
                  <a:pt x="60" y="375"/>
                  <a:pt x="61" y="376"/>
                  <a:pt x="62" y="376"/>
                </a:cubicBezTo>
                <a:cubicBezTo>
                  <a:pt x="83" y="391"/>
                  <a:pt x="123" y="381"/>
                  <a:pt x="158" y="353"/>
                </a:cubicBezTo>
                <a:cubicBezTo>
                  <a:pt x="187" y="330"/>
                  <a:pt x="203" y="301"/>
                  <a:pt x="203" y="278"/>
                </a:cubicBezTo>
                <a:cubicBezTo>
                  <a:pt x="203" y="273"/>
                  <a:pt x="203" y="268"/>
                  <a:pt x="201" y="263"/>
                </a:cubicBezTo>
                <a:cubicBezTo>
                  <a:pt x="200" y="262"/>
                  <a:pt x="200" y="261"/>
                  <a:pt x="199" y="260"/>
                </a:cubicBezTo>
                <a:cubicBezTo>
                  <a:pt x="198" y="259"/>
                  <a:pt x="198" y="259"/>
                  <a:pt x="198" y="259"/>
                </a:cubicBezTo>
                <a:cubicBezTo>
                  <a:pt x="198" y="259"/>
                  <a:pt x="197" y="258"/>
                  <a:pt x="197" y="258"/>
                </a:cubicBezTo>
                <a:cubicBezTo>
                  <a:pt x="186" y="248"/>
                  <a:pt x="174" y="239"/>
                  <a:pt x="161" y="231"/>
                </a:cubicBezTo>
                <a:cubicBezTo>
                  <a:pt x="165" y="210"/>
                  <a:pt x="181" y="182"/>
                  <a:pt x="210" y="159"/>
                </a:cubicBezTo>
                <a:cubicBezTo>
                  <a:pt x="239" y="135"/>
                  <a:pt x="270" y="126"/>
                  <a:pt x="290" y="126"/>
                </a:cubicBezTo>
                <a:cubicBezTo>
                  <a:pt x="296" y="140"/>
                  <a:pt x="302" y="153"/>
                  <a:pt x="310" y="166"/>
                </a:cubicBezTo>
                <a:cubicBezTo>
                  <a:pt x="310" y="166"/>
                  <a:pt x="311" y="167"/>
                  <a:pt x="311" y="167"/>
                </a:cubicBezTo>
                <a:cubicBezTo>
                  <a:pt x="312" y="168"/>
                  <a:pt x="312" y="168"/>
                  <a:pt x="312" y="168"/>
                </a:cubicBezTo>
                <a:cubicBezTo>
                  <a:pt x="312" y="169"/>
                  <a:pt x="313" y="170"/>
                  <a:pt x="314" y="171"/>
                </a:cubicBezTo>
                <a:cubicBezTo>
                  <a:pt x="336" y="185"/>
                  <a:pt x="376" y="176"/>
                  <a:pt x="411" y="147"/>
                </a:cubicBezTo>
                <a:cubicBezTo>
                  <a:pt x="446" y="119"/>
                  <a:pt x="463" y="82"/>
                  <a:pt x="453" y="58"/>
                </a:cubicBezTo>
                <a:cubicBezTo>
                  <a:pt x="453" y="58"/>
                  <a:pt x="453" y="58"/>
                  <a:pt x="453" y="58"/>
                </a:cubicBezTo>
                <a:cubicBezTo>
                  <a:pt x="453" y="57"/>
                  <a:pt x="453" y="57"/>
                  <a:pt x="453" y="57"/>
                </a:cubicBezTo>
                <a:cubicBezTo>
                  <a:pt x="452" y="55"/>
                  <a:pt x="451" y="53"/>
                  <a:pt x="450" y="52"/>
                </a:cubicBezTo>
                <a:cubicBezTo>
                  <a:pt x="430" y="34"/>
                  <a:pt x="409" y="20"/>
                  <a:pt x="385" y="9"/>
                </a:cubicBezTo>
                <a:cubicBezTo>
                  <a:pt x="385" y="9"/>
                  <a:pt x="385" y="9"/>
                  <a:pt x="384" y="9"/>
                </a:cubicBezTo>
                <a:cubicBezTo>
                  <a:pt x="384" y="8"/>
                  <a:pt x="384" y="8"/>
                  <a:pt x="384" y="8"/>
                </a:cubicBezTo>
                <a:cubicBezTo>
                  <a:pt x="383" y="8"/>
                  <a:pt x="382" y="8"/>
                  <a:pt x="380" y="8"/>
                </a:cubicBezTo>
                <a:cubicBezTo>
                  <a:pt x="319" y="0"/>
                  <a:pt x="234" y="34"/>
                  <a:pt x="158" y="9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8" name="Freeform 481"/>
          <p:cNvSpPr>
            <a:spLocks/>
          </p:cNvSpPr>
          <p:nvPr userDrawn="1"/>
        </p:nvSpPr>
        <p:spPr bwMode="auto">
          <a:xfrm>
            <a:off x="5645165" y="2249768"/>
            <a:ext cx="359662" cy="372665"/>
          </a:xfrm>
          <a:custGeom>
            <a:avLst/>
            <a:gdLst/>
            <a:ahLst/>
            <a:cxnLst>
              <a:cxn ang="0">
                <a:pos x="366" y="146"/>
              </a:cxn>
              <a:cxn ang="0">
                <a:pos x="276" y="107"/>
              </a:cxn>
              <a:cxn ang="0">
                <a:pos x="185" y="144"/>
              </a:cxn>
              <a:cxn ang="0">
                <a:pos x="153" y="218"/>
              </a:cxn>
              <a:cxn ang="0">
                <a:pos x="183" y="292"/>
              </a:cxn>
              <a:cxn ang="0">
                <a:pos x="244" y="318"/>
              </a:cxn>
              <a:cxn ang="0">
                <a:pos x="306" y="294"/>
              </a:cxn>
              <a:cxn ang="0">
                <a:pos x="307" y="192"/>
              </a:cxn>
              <a:cxn ang="0">
                <a:pos x="265" y="174"/>
              </a:cxn>
              <a:cxn ang="0">
                <a:pos x="222" y="191"/>
              </a:cxn>
              <a:cxn ang="0">
                <a:pos x="221" y="263"/>
              </a:cxn>
              <a:cxn ang="0">
                <a:pos x="240" y="263"/>
              </a:cxn>
              <a:cxn ang="0">
                <a:pos x="240" y="244"/>
              </a:cxn>
              <a:cxn ang="0">
                <a:pos x="241" y="210"/>
              </a:cxn>
              <a:cxn ang="0">
                <a:pos x="264" y="200"/>
              </a:cxn>
              <a:cxn ang="0">
                <a:pos x="288" y="210"/>
              </a:cxn>
              <a:cxn ang="0">
                <a:pos x="287" y="275"/>
              </a:cxn>
              <a:cxn ang="0">
                <a:pos x="245" y="292"/>
              </a:cxn>
              <a:cxn ang="0">
                <a:pos x="202" y="274"/>
              </a:cxn>
              <a:cxn ang="0">
                <a:pos x="180" y="218"/>
              </a:cxn>
              <a:cxn ang="0">
                <a:pos x="204" y="163"/>
              </a:cxn>
              <a:cxn ang="0">
                <a:pos x="276" y="134"/>
              </a:cxn>
              <a:cxn ang="0">
                <a:pos x="347" y="164"/>
              </a:cxn>
              <a:cxn ang="0">
                <a:pos x="345" y="348"/>
              </a:cxn>
              <a:cxn ang="0">
                <a:pos x="110" y="346"/>
              </a:cxn>
              <a:cxn ang="0">
                <a:pos x="112" y="49"/>
              </a:cxn>
              <a:cxn ang="0">
                <a:pos x="112" y="113"/>
              </a:cxn>
              <a:cxn ang="0">
                <a:pos x="125" y="127"/>
              </a:cxn>
              <a:cxn ang="0">
                <a:pos x="138" y="113"/>
              </a:cxn>
              <a:cxn ang="0">
                <a:pos x="138" y="14"/>
              </a:cxn>
              <a:cxn ang="0">
                <a:pos x="134" y="4"/>
              </a:cxn>
              <a:cxn ang="0">
                <a:pos x="125" y="0"/>
              </a:cxn>
              <a:cxn ang="0">
                <a:pos x="25" y="0"/>
              </a:cxn>
              <a:cxn ang="0">
                <a:pos x="12" y="14"/>
              </a:cxn>
              <a:cxn ang="0">
                <a:pos x="25" y="27"/>
              </a:cxn>
              <a:cxn ang="0">
                <a:pos x="97" y="27"/>
              </a:cxn>
              <a:cxn ang="0">
                <a:pos x="95" y="28"/>
              </a:cxn>
              <a:cxn ang="0">
                <a:pos x="91" y="364"/>
              </a:cxn>
              <a:cxn ang="0">
                <a:pos x="364" y="367"/>
              </a:cxn>
              <a:cxn ang="0">
                <a:pos x="366" y="146"/>
              </a:cxn>
            </a:cxnLst>
            <a:rect l="0" t="0" r="r" b="b"/>
            <a:pathLst>
              <a:path w="427" h="442">
                <a:moveTo>
                  <a:pt x="366" y="146"/>
                </a:moveTo>
                <a:cubicBezTo>
                  <a:pt x="342" y="121"/>
                  <a:pt x="310" y="107"/>
                  <a:pt x="276" y="107"/>
                </a:cubicBezTo>
                <a:cubicBezTo>
                  <a:pt x="242" y="107"/>
                  <a:pt x="209" y="120"/>
                  <a:pt x="185" y="144"/>
                </a:cubicBezTo>
                <a:cubicBezTo>
                  <a:pt x="165" y="163"/>
                  <a:pt x="154" y="189"/>
                  <a:pt x="153" y="218"/>
                </a:cubicBezTo>
                <a:cubicBezTo>
                  <a:pt x="153" y="246"/>
                  <a:pt x="164" y="272"/>
                  <a:pt x="183" y="292"/>
                </a:cubicBezTo>
                <a:cubicBezTo>
                  <a:pt x="200" y="309"/>
                  <a:pt x="221" y="318"/>
                  <a:pt x="244" y="318"/>
                </a:cubicBezTo>
                <a:cubicBezTo>
                  <a:pt x="268" y="319"/>
                  <a:pt x="289" y="310"/>
                  <a:pt x="306" y="294"/>
                </a:cubicBezTo>
                <a:cubicBezTo>
                  <a:pt x="335" y="266"/>
                  <a:pt x="335" y="220"/>
                  <a:pt x="307" y="192"/>
                </a:cubicBezTo>
                <a:cubicBezTo>
                  <a:pt x="296" y="180"/>
                  <a:pt x="281" y="174"/>
                  <a:pt x="265" y="174"/>
                </a:cubicBezTo>
                <a:cubicBezTo>
                  <a:pt x="249" y="173"/>
                  <a:pt x="233" y="179"/>
                  <a:pt x="222" y="191"/>
                </a:cubicBezTo>
                <a:cubicBezTo>
                  <a:pt x="202" y="210"/>
                  <a:pt x="201" y="243"/>
                  <a:pt x="221" y="263"/>
                </a:cubicBezTo>
                <a:cubicBezTo>
                  <a:pt x="226" y="268"/>
                  <a:pt x="235" y="268"/>
                  <a:pt x="240" y="263"/>
                </a:cubicBezTo>
                <a:cubicBezTo>
                  <a:pt x="245" y="258"/>
                  <a:pt x="245" y="249"/>
                  <a:pt x="240" y="244"/>
                </a:cubicBezTo>
                <a:cubicBezTo>
                  <a:pt x="231" y="235"/>
                  <a:pt x="231" y="219"/>
                  <a:pt x="241" y="210"/>
                </a:cubicBezTo>
                <a:cubicBezTo>
                  <a:pt x="247" y="203"/>
                  <a:pt x="255" y="200"/>
                  <a:pt x="264" y="200"/>
                </a:cubicBezTo>
                <a:cubicBezTo>
                  <a:pt x="273" y="200"/>
                  <a:pt x="282" y="204"/>
                  <a:pt x="288" y="210"/>
                </a:cubicBezTo>
                <a:cubicBezTo>
                  <a:pt x="306" y="228"/>
                  <a:pt x="305" y="257"/>
                  <a:pt x="287" y="275"/>
                </a:cubicBezTo>
                <a:cubicBezTo>
                  <a:pt x="276" y="286"/>
                  <a:pt x="261" y="292"/>
                  <a:pt x="245" y="292"/>
                </a:cubicBezTo>
                <a:cubicBezTo>
                  <a:pt x="229" y="292"/>
                  <a:pt x="214" y="285"/>
                  <a:pt x="202" y="274"/>
                </a:cubicBezTo>
                <a:cubicBezTo>
                  <a:pt x="188" y="259"/>
                  <a:pt x="180" y="239"/>
                  <a:pt x="180" y="218"/>
                </a:cubicBezTo>
                <a:cubicBezTo>
                  <a:pt x="180" y="197"/>
                  <a:pt x="189" y="177"/>
                  <a:pt x="204" y="163"/>
                </a:cubicBezTo>
                <a:cubicBezTo>
                  <a:pt x="223" y="144"/>
                  <a:pt x="249" y="133"/>
                  <a:pt x="276" y="134"/>
                </a:cubicBezTo>
                <a:cubicBezTo>
                  <a:pt x="303" y="134"/>
                  <a:pt x="328" y="145"/>
                  <a:pt x="347" y="164"/>
                </a:cubicBezTo>
                <a:cubicBezTo>
                  <a:pt x="397" y="216"/>
                  <a:pt x="396" y="298"/>
                  <a:pt x="345" y="348"/>
                </a:cubicBezTo>
                <a:cubicBezTo>
                  <a:pt x="280" y="412"/>
                  <a:pt x="174" y="411"/>
                  <a:pt x="110" y="346"/>
                </a:cubicBezTo>
                <a:cubicBezTo>
                  <a:pt x="30" y="263"/>
                  <a:pt x="30" y="131"/>
                  <a:pt x="112" y="49"/>
                </a:cubicBezTo>
                <a:cubicBezTo>
                  <a:pt x="112" y="77"/>
                  <a:pt x="112" y="113"/>
                  <a:pt x="112" y="113"/>
                </a:cubicBezTo>
                <a:cubicBezTo>
                  <a:pt x="112" y="121"/>
                  <a:pt x="117" y="127"/>
                  <a:pt x="125" y="127"/>
                </a:cubicBezTo>
                <a:cubicBezTo>
                  <a:pt x="132" y="127"/>
                  <a:pt x="138" y="121"/>
                  <a:pt x="138" y="113"/>
                </a:cubicBezTo>
                <a:cubicBezTo>
                  <a:pt x="138" y="14"/>
                  <a:pt x="138" y="14"/>
                  <a:pt x="138" y="14"/>
                </a:cubicBezTo>
                <a:cubicBezTo>
                  <a:pt x="138" y="10"/>
                  <a:pt x="137" y="7"/>
                  <a:pt x="134" y="4"/>
                </a:cubicBezTo>
                <a:cubicBezTo>
                  <a:pt x="132" y="2"/>
                  <a:pt x="128" y="0"/>
                  <a:pt x="125" y="0"/>
                </a:cubicBezTo>
                <a:cubicBezTo>
                  <a:pt x="25" y="0"/>
                  <a:pt x="25" y="0"/>
                  <a:pt x="25" y="0"/>
                </a:cubicBezTo>
                <a:cubicBezTo>
                  <a:pt x="18" y="0"/>
                  <a:pt x="12" y="6"/>
                  <a:pt x="12" y="14"/>
                </a:cubicBezTo>
                <a:cubicBezTo>
                  <a:pt x="12" y="21"/>
                  <a:pt x="18" y="27"/>
                  <a:pt x="25" y="27"/>
                </a:cubicBezTo>
                <a:cubicBezTo>
                  <a:pt x="25" y="27"/>
                  <a:pt x="69" y="27"/>
                  <a:pt x="97" y="27"/>
                </a:cubicBezTo>
                <a:cubicBezTo>
                  <a:pt x="96" y="27"/>
                  <a:pt x="95" y="28"/>
                  <a:pt x="95" y="28"/>
                </a:cubicBezTo>
                <a:cubicBezTo>
                  <a:pt x="1" y="120"/>
                  <a:pt x="0" y="271"/>
                  <a:pt x="91" y="364"/>
                </a:cubicBezTo>
                <a:cubicBezTo>
                  <a:pt x="165" y="440"/>
                  <a:pt x="288" y="442"/>
                  <a:pt x="364" y="367"/>
                </a:cubicBezTo>
                <a:cubicBezTo>
                  <a:pt x="426" y="307"/>
                  <a:pt x="427" y="207"/>
                  <a:pt x="366" y="14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9" name="Freeform 537"/>
          <p:cNvSpPr>
            <a:spLocks noEditPoints="1"/>
          </p:cNvSpPr>
          <p:nvPr userDrawn="1"/>
        </p:nvSpPr>
        <p:spPr bwMode="auto">
          <a:xfrm>
            <a:off x="5688633" y="2761401"/>
            <a:ext cx="272725" cy="382190"/>
          </a:xfrm>
          <a:custGeom>
            <a:avLst/>
            <a:gdLst/>
            <a:ahLst/>
            <a:cxnLst>
              <a:cxn ang="0">
                <a:pos x="299" y="124"/>
              </a:cxn>
              <a:cxn ang="0">
                <a:pos x="262" y="196"/>
              </a:cxn>
              <a:cxn ang="0">
                <a:pos x="230" y="147"/>
              </a:cxn>
              <a:cxn ang="0">
                <a:pos x="162" y="84"/>
              </a:cxn>
              <a:cxn ang="0">
                <a:pos x="95" y="147"/>
              </a:cxn>
              <a:cxn ang="0">
                <a:pos x="34" y="211"/>
              </a:cxn>
              <a:cxn ang="0">
                <a:pos x="28" y="82"/>
              </a:cxn>
              <a:cxn ang="0">
                <a:pos x="163" y="27"/>
              </a:cxn>
              <a:cxn ang="0">
                <a:pos x="284" y="72"/>
              </a:cxn>
              <a:cxn ang="0">
                <a:pos x="318" y="83"/>
              </a:cxn>
              <a:cxn ang="0">
                <a:pos x="311" y="58"/>
              </a:cxn>
              <a:cxn ang="0">
                <a:pos x="163" y="0"/>
              </a:cxn>
              <a:cxn ang="0">
                <a:pos x="14" y="58"/>
              </a:cxn>
              <a:cxn ang="0">
                <a:pos x="2" y="76"/>
              </a:cxn>
              <a:cxn ang="0">
                <a:pos x="97" y="425"/>
              </a:cxn>
              <a:cxn ang="0">
                <a:pos x="163" y="453"/>
              </a:cxn>
              <a:cxn ang="0">
                <a:pos x="228" y="425"/>
              </a:cxn>
              <a:cxn ang="0">
                <a:pos x="315" y="117"/>
              </a:cxn>
              <a:cxn ang="0">
                <a:pos x="149" y="264"/>
              </a:cxn>
              <a:cxn ang="0">
                <a:pos x="95" y="227"/>
              </a:cxn>
              <a:cxn ang="0">
                <a:pos x="185" y="227"/>
              </a:cxn>
              <a:cxn ang="0">
                <a:pos x="176" y="227"/>
              </a:cxn>
              <a:cxn ang="0">
                <a:pos x="181" y="195"/>
              </a:cxn>
              <a:cxn ang="0">
                <a:pos x="149" y="200"/>
              </a:cxn>
              <a:cxn ang="0">
                <a:pos x="149" y="191"/>
              </a:cxn>
              <a:cxn ang="0">
                <a:pos x="149" y="235"/>
              </a:cxn>
              <a:cxn ang="0">
                <a:pos x="149" y="227"/>
              </a:cxn>
              <a:cxn ang="0">
                <a:pos x="214" y="227"/>
              </a:cxn>
              <a:cxn ang="0">
                <a:pos x="176" y="279"/>
              </a:cxn>
              <a:cxn ang="0">
                <a:pos x="230" y="200"/>
              </a:cxn>
              <a:cxn ang="0">
                <a:pos x="176" y="163"/>
              </a:cxn>
              <a:cxn ang="0">
                <a:pos x="113" y="167"/>
              </a:cxn>
              <a:cxn ang="0">
                <a:pos x="125" y="176"/>
              </a:cxn>
              <a:cxn ang="0">
                <a:pos x="113" y="167"/>
              </a:cxn>
              <a:cxn ang="0">
                <a:pos x="183" y="423"/>
              </a:cxn>
              <a:cxn ang="0">
                <a:pos x="162" y="427"/>
              </a:cxn>
              <a:cxn ang="0">
                <a:pos x="39" y="257"/>
              </a:cxn>
              <a:cxn ang="0">
                <a:pos x="67" y="227"/>
              </a:cxn>
              <a:cxn ang="0">
                <a:pos x="149" y="329"/>
              </a:cxn>
              <a:cxn ang="0">
                <a:pos x="176" y="306"/>
              </a:cxn>
              <a:cxn ang="0">
                <a:pos x="266" y="227"/>
              </a:cxn>
              <a:cxn ang="0">
                <a:pos x="291" y="198"/>
              </a:cxn>
            </a:cxnLst>
            <a:rect l="0" t="0" r="r" b="b"/>
            <a:pathLst>
              <a:path w="324" h="454">
                <a:moveTo>
                  <a:pt x="315" y="117"/>
                </a:moveTo>
                <a:cubicBezTo>
                  <a:pt x="315" y="117"/>
                  <a:pt x="315" y="117"/>
                  <a:pt x="315" y="117"/>
                </a:cubicBezTo>
                <a:cubicBezTo>
                  <a:pt x="309" y="115"/>
                  <a:pt x="302" y="118"/>
                  <a:pt x="299" y="124"/>
                </a:cubicBezTo>
                <a:cubicBezTo>
                  <a:pt x="299" y="124"/>
                  <a:pt x="297" y="129"/>
                  <a:pt x="293" y="136"/>
                </a:cubicBezTo>
                <a:cubicBezTo>
                  <a:pt x="288" y="147"/>
                  <a:pt x="280" y="163"/>
                  <a:pt x="272" y="177"/>
                </a:cubicBezTo>
                <a:cubicBezTo>
                  <a:pt x="268" y="184"/>
                  <a:pt x="265" y="191"/>
                  <a:pt x="262" y="196"/>
                </a:cubicBezTo>
                <a:cubicBezTo>
                  <a:pt x="261" y="197"/>
                  <a:pt x="260" y="199"/>
                  <a:pt x="259" y="200"/>
                </a:cubicBezTo>
                <a:cubicBezTo>
                  <a:pt x="257" y="200"/>
                  <a:pt x="257" y="200"/>
                  <a:pt x="257" y="200"/>
                </a:cubicBezTo>
                <a:cubicBezTo>
                  <a:pt x="254" y="180"/>
                  <a:pt x="244" y="161"/>
                  <a:pt x="230" y="147"/>
                </a:cubicBezTo>
                <a:cubicBezTo>
                  <a:pt x="215" y="134"/>
                  <a:pt x="197" y="124"/>
                  <a:pt x="176" y="121"/>
                </a:cubicBezTo>
                <a:cubicBezTo>
                  <a:pt x="176" y="98"/>
                  <a:pt x="176" y="98"/>
                  <a:pt x="176" y="98"/>
                </a:cubicBezTo>
                <a:cubicBezTo>
                  <a:pt x="176" y="90"/>
                  <a:pt x="170" y="84"/>
                  <a:pt x="162" y="84"/>
                </a:cubicBezTo>
                <a:cubicBezTo>
                  <a:pt x="155" y="84"/>
                  <a:pt x="149" y="90"/>
                  <a:pt x="149" y="98"/>
                </a:cubicBezTo>
                <a:cubicBezTo>
                  <a:pt x="149" y="121"/>
                  <a:pt x="149" y="121"/>
                  <a:pt x="149" y="121"/>
                </a:cubicBezTo>
                <a:cubicBezTo>
                  <a:pt x="128" y="124"/>
                  <a:pt x="109" y="134"/>
                  <a:pt x="95" y="147"/>
                </a:cubicBezTo>
                <a:cubicBezTo>
                  <a:pt x="80" y="161"/>
                  <a:pt x="71" y="180"/>
                  <a:pt x="67" y="200"/>
                </a:cubicBezTo>
                <a:cubicBezTo>
                  <a:pt x="47" y="200"/>
                  <a:pt x="47" y="200"/>
                  <a:pt x="47" y="200"/>
                </a:cubicBezTo>
                <a:cubicBezTo>
                  <a:pt x="40" y="200"/>
                  <a:pt x="35" y="205"/>
                  <a:pt x="34" y="211"/>
                </a:cubicBezTo>
                <a:cubicBezTo>
                  <a:pt x="30" y="174"/>
                  <a:pt x="27" y="128"/>
                  <a:pt x="27" y="100"/>
                </a:cubicBezTo>
                <a:cubicBezTo>
                  <a:pt x="27" y="93"/>
                  <a:pt x="27" y="88"/>
                  <a:pt x="27" y="84"/>
                </a:cubicBezTo>
                <a:cubicBezTo>
                  <a:pt x="28" y="83"/>
                  <a:pt x="28" y="82"/>
                  <a:pt x="28" y="82"/>
                </a:cubicBezTo>
                <a:cubicBezTo>
                  <a:pt x="28" y="81"/>
                  <a:pt x="29" y="80"/>
                  <a:pt x="30" y="79"/>
                </a:cubicBezTo>
                <a:cubicBezTo>
                  <a:pt x="40" y="72"/>
                  <a:pt x="60" y="59"/>
                  <a:pt x="84" y="47"/>
                </a:cubicBezTo>
                <a:cubicBezTo>
                  <a:pt x="109" y="36"/>
                  <a:pt x="137" y="27"/>
                  <a:pt x="163" y="27"/>
                </a:cubicBezTo>
                <a:cubicBezTo>
                  <a:pt x="163" y="27"/>
                  <a:pt x="163" y="27"/>
                  <a:pt x="163" y="27"/>
                </a:cubicBezTo>
                <a:cubicBezTo>
                  <a:pt x="192" y="27"/>
                  <a:pt x="225" y="39"/>
                  <a:pt x="251" y="52"/>
                </a:cubicBezTo>
                <a:cubicBezTo>
                  <a:pt x="264" y="59"/>
                  <a:pt x="276" y="66"/>
                  <a:pt x="284" y="72"/>
                </a:cubicBezTo>
                <a:cubicBezTo>
                  <a:pt x="289" y="75"/>
                  <a:pt x="292" y="77"/>
                  <a:pt x="295" y="79"/>
                </a:cubicBezTo>
                <a:cubicBezTo>
                  <a:pt x="297" y="81"/>
                  <a:pt x="299" y="83"/>
                  <a:pt x="299" y="83"/>
                </a:cubicBezTo>
                <a:cubicBezTo>
                  <a:pt x="305" y="88"/>
                  <a:pt x="313" y="88"/>
                  <a:pt x="318" y="83"/>
                </a:cubicBezTo>
                <a:cubicBezTo>
                  <a:pt x="323" y="78"/>
                  <a:pt x="323" y="70"/>
                  <a:pt x="318" y="64"/>
                </a:cubicBezTo>
                <a:cubicBezTo>
                  <a:pt x="318" y="64"/>
                  <a:pt x="318" y="64"/>
                  <a:pt x="318" y="64"/>
                </a:cubicBezTo>
                <a:cubicBezTo>
                  <a:pt x="316" y="62"/>
                  <a:pt x="314" y="61"/>
                  <a:pt x="311" y="58"/>
                </a:cubicBezTo>
                <a:cubicBezTo>
                  <a:pt x="300" y="50"/>
                  <a:pt x="279" y="36"/>
                  <a:pt x="252" y="23"/>
                </a:cubicBezTo>
                <a:cubicBezTo>
                  <a:pt x="226" y="11"/>
                  <a:pt x="194" y="0"/>
                  <a:pt x="163" y="0"/>
                </a:cubicBezTo>
                <a:cubicBezTo>
                  <a:pt x="163" y="0"/>
                  <a:pt x="163" y="0"/>
                  <a:pt x="163" y="0"/>
                </a:cubicBezTo>
                <a:cubicBezTo>
                  <a:pt x="126" y="0"/>
                  <a:pt x="91" y="14"/>
                  <a:pt x="62" y="29"/>
                </a:cubicBezTo>
                <a:cubicBezTo>
                  <a:pt x="48" y="36"/>
                  <a:pt x="36" y="44"/>
                  <a:pt x="26" y="50"/>
                </a:cubicBezTo>
                <a:cubicBezTo>
                  <a:pt x="21" y="53"/>
                  <a:pt x="17" y="56"/>
                  <a:pt x="14" y="58"/>
                </a:cubicBezTo>
                <a:cubicBezTo>
                  <a:pt x="11" y="61"/>
                  <a:pt x="9" y="62"/>
                  <a:pt x="7" y="64"/>
                </a:cubicBezTo>
                <a:cubicBezTo>
                  <a:pt x="5" y="66"/>
                  <a:pt x="4" y="68"/>
                  <a:pt x="3" y="70"/>
                </a:cubicBezTo>
                <a:cubicBezTo>
                  <a:pt x="2" y="72"/>
                  <a:pt x="2" y="74"/>
                  <a:pt x="2" y="76"/>
                </a:cubicBezTo>
                <a:cubicBezTo>
                  <a:pt x="1" y="83"/>
                  <a:pt x="0" y="90"/>
                  <a:pt x="0" y="100"/>
                </a:cubicBezTo>
                <a:cubicBezTo>
                  <a:pt x="0" y="145"/>
                  <a:pt x="8" y="228"/>
                  <a:pt x="12" y="261"/>
                </a:cubicBezTo>
                <a:cubicBezTo>
                  <a:pt x="25" y="347"/>
                  <a:pt x="66" y="398"/>
                  <a:pt x="97" y="425"/>
                </a:cubicBezTo>
                <a:cubicBezTo>
                  <a:pt x="110" y="436"/>
                  <a:pt x="122" y="443"/>
                  <a:pt x="133" y="448"/>
                </a:cubicBezTo>
                <a:cubicBezTo>
                  <a:pt x="143" y="452"/>
                  <a:pt x="153" y="453"/>
                  <a:pt x="162" y="453"/>
                </a:cubicBezTo>
                <a:cubicBezTo>
                  <a:pt x="162" y="453"/>
                  <a:pt x="162" y="453"/>
                  <a:pt x="163" y="453"/>
                </a:cubicBezTo>
                <a:cubicBezTo>
                  <a:pt x="163" y="453"/>
                  <a:pt x="163" y="453"/>
                  <a:pt x="163" y="453"/>
                </a:cubicBezTo>
                <a:cubicBezTo>
                  <a:pt x="172" y="454"/>
                  <a:pt x="182" y="452"/>
                  <a:pt x="193" y="448"/>
                </a:cubicBezTo>
                <a:cubicBezTo>
                  <a:pt x="204" y="443"/>
                  <a:pt x="215" y="436"/>
                  <a:pt x="228" y="425"/>
                </a:cubicBezTo>
                <a:cubicBezTo>
                  <a:pt x="259" y="398"/>
                  <a:pt x="300" y="347"/>
                  <a:pt x="313" y="261"/>
                </a:cubicBezTo>
                <a:cubicBezTo>
                  <a:pt x="317" y="235"/>
                  <a:pt x="322" y="176"/>
                  <a:pt x="324" y="131"/>
                </a:cubicBezTo>
                <a:cubicBezTo>
                  <a:pt x="324" y="125"/>
                  <a:pt x="321" y="119"/>
                  <a:pt x="315" y="117"/>
                </a:cubicBezTo>
                <a:close/>
                <a:moveTo>
                  <a:pt x="111" y="227"/>
                </a:moveTo>
                <a:cubicBezTo>
                  <a:pt x="113" y="236"/>
                  <a:pt x="118" y="244"/>
                  <a:pt x="125" y="250"/>
                </a:cubicBezTo>
                <a:cubicBezTo>
                  <a:pt x="131" y="257"/>
                  <a:pt x="140" y="262"/>
                  <a:pt x="149" y="264"/>
                </a:cubicBezTo>
                <a:cubicBezTo>
                  <a:pt x="149" y="279"/>
                  <a:pt x="149" y="279"/>
                  <a:pt x="149" y="279"/>
                </a:cubicBezTo>
                <a:cubicBezTo>
                  <a:pt x="135" y="276"/>
                  <a:pt x="123" y="269"/>
                  <a:pt x="113" y="260"/>
                </a:cubicBezTo>
                <a:cubicBezTo>
                  <a:pt x="104" y="251"/>
                  <a:pt x="97" y="240"/>
                  <a:pt x="95" y="227"/>
                </a:cubicBezTo>
                <a:lnTo>
                  <a:pt x="111" y="227"/>
                </a:lnTo>
                <a:close/>
                <a:moveTo>
                  <a:pt x="176" y="227"/>
                </a:moveTo>
                <a:cubicBezTo>
                  <a:pt x="185" y="227"/>
                  <a:pt x="185" y="227"/>
                  <a:pt x="185" y="227"/>
                </a:cubicBezTo>
                <a:cubicBezTo>
                  <a:pt x="184" y="228"/>
                  <a:pt x="183" y="230"/>
                  <a:pt x="181" y="231"/>
                </a:cubicBezTo>
                <a:cubicBezTo>
                  <a:pt x="180" y="233"/>
                  <a:pt x="178" y="234"/>
                  <a:pt x="176" y="235"/>
                </a:cubicBezTo>
                <a:lnTo>
                  <a:pt x="176" y="227"/>
                </a:lnTo>
                <a:close/>
                <a:moveTo>
                  <a:pt x="176" y="200"/>
                </a:moveTo>
                <a:cubicBezTo>
                  <a:pt x="176" y="191"/>
                  <a:pt x="176" y="191"/>
                  <a:pt x="176" y="191"/>
                </a:cubicBezTo>
                <a:cubicBezTo>
                  <a:pt x="178" y="192"/>
                  <a:pt x="180" y="194"/>
                  <a:pt x="181" y="195"/>
                </a:cubicBezTo>
                <a:cubicBezTo>
                  <a:pt x="183" y="197"/>
                  <a:pt x="184" y="198"/>
                  <a:pt x="185" y="200"/>
                </a:cubicBezTo>
                <a:lnTo>
                  <a:pt x="176" y="200"/>
                </a:lnTo>
                <a:close/>
                <a:moveTo>
                  <a:pt x="149" y="200"/>
                </a:moveTo>
                <a:cubicBezTo>
                  <a:pt x="139" y="200"/>
                  <a:pt x="139" y="200"/>
                  <a:pt x="139" y="200"/>
                </a:cubicBezTo>
                <a:cubicBezTo>
                  <a:pt x="140" y="198"/>
                  <a:pt x="142" y="197"/>
                  <a:pt x="143" y="195"/>
                </a:cubicBezTo>
                <a:cubicBezTo>
                  <a:pt x="145" y="194"/>
                  <a:pt x="147" y="192"/>
                  <a:pt x="149" y="191"/>
                </a:cubicBezTo>
                <a:lnTo>
                  <a:pt x="149" y="200"/>
                </a:lnTo>
                <a:close/>
                <a:moveTo>
                  <a:pt x="149" y="227"/>
                </a:moveTo>
                <a:cubicBezTo>
                  <a:pt x="149" y="235"/>
                  <a:pt x="149" y="235"/>
                  <a:pt x="149" y="235"/>
                </a:cubicBezTo>
                <a:cubicBezTo>
                  <a:pt x="147" y="234"/>
                  <a:pt x="145" y="233"/>
                  <a:pt x="143" y="231"/>
                </a:cubicBezTo>
                <a:cubicBezTo>
                  <a:pt x="142" y="230"/>
                  <a:pt x="140" y="228"/>
                  <a:pt x="139" y="227"/>
                </a:cubicBezTo>
                <a:lnTo>
                  <a:pt x="149" y="227"/>
                </a:lnTo>
                <a:close/>
                <a:moveTo>
                  <a:pt x="176" y="264"/>
                </a:moveTo>
                <a:cubicBezTo>
                  <a:pt x="185" y="262"/>
                  <a:pt x="193" y="257"/>
                  <a:pt x="200" y="250"/>
                </a:cubicBezTo>
                <a:cubicBezTo>
                  <a:pt x="207" y="244"/>
                  <a:pt x="211" y="236"/>
                  <a:pt x="214" y="227"/>
                </a:cubicBezTo>
                <a:cubicBezTo>
                  <a:pt x="230" y="227"/>
                  <a:pt x="230" y="227"/>
                  <a:pt x="230" y="227"/>
                </a:cubicBezTo>
                <a:cubicBezTo>
                  <a:pt x="227" y="240"/>
                  <a:pt x="221" y="251"/>
                  <a:pt x="211" y="260"/>
                </a:cubicBezTo>
                <a:cubicBezTo>
                  <a:pt x="202" y="269"/>
                  <a:pt x="189" y="276"/>
                  <a:pt x="176" y="279"/>
                </a:cubicBezTo>
                <a:lnTo>
                  <a:pt x="176" y="264"/>
                </a:lnTo>
                <a:close/>
                <a:moveTo>
                  <a:pt x="211" y="167"/>
                </a:moveTo>
                <a:cubicBezTo>
                  <a:pt x="221" y="176"/>
                  <a:pt x="227" y="187"/>
                  <a:pt x="230" y="200"/>
                </a:cubicBezTo>
                <a:cubicBezTo>
                  <a:pt x="214" y="200"/>
                  <a:pt x="214" y="200"/>
                  <a:pt x="214" y="200"/>
                </a:cubicBezTo>
                <a:cubicBezTo>
                  <a:pt x="211" y="191"/>
                  <a:pt x="207" y="183"/>
                  <a:pt x="200" y="176"/>
                </a:cubicBezTo>
                <a:cubicBezTo>
                  <a:pt x="193" y="170"/>
                  <a:pt x="185" y="165"/>
                  <a:pt x="176" y="163"/>
                </a:cubicBezTo>
                <a:cubicBezTo>
                  <a:pt x="176" y="148"/>
                  <a:pt x="176" y="148"/>
                  <a:pt x="176" y="148"/>
                </a:cubicBezTo>
                <a:cubicBezTo>
                  <a:pt x="189" y="151"/>
                  <a:pt x="202" y="157"/>
                  <a:pt x="211" y="167"/>
                </a:cubicBezTo>
                <a:close/>
                <a:moveTo>
                  <a:pt x="113" y="167"/>
                </a:moveTo>
                <a:cubicBezTo>
                  <a:pt x="123" y="157"/>
                  <a:pt x="135" y="151"/>
                  <a:pt x="149" y="148"/>
                </a:cubicBezTo>
                <a:cubicBezTo>
                  <a:pt x="149" y="163"/>
                  <a:pt x="149" y="163"/>
                  <a:pt x="149" y="163"/>
                </a:cubicBezTo>
                <a:cubicBezTo>
                  <a:pt x="140" y="165"/>
                  <a:pt x="131" y="170"/>
                  <a:pt x="125" y="176"/>
                </a:cubicBezTo>
                <a:cubicBezTo>
                  <a:pt x="118" y="183"/>
                  <a:pt x="113" y="191"/>
                  <a:pt x="111" y="200"/>
                </a:cubicBezTo>
                <a:cubicBezTo>
                  <a:pt x="95" y="200"/>
                  <a:pt x="95" y="200"/>
                  <a:pt x="95" y="200"/>
                </a:cubicBezTo>
                <a:cubicBezTo>
                  <a:pt x="97" y="187"/>
                  <a:pt x="104" y="176"/>
                  <a:pt x="113" y="167"/>
                </a:cubicBezTo>
                <a:close/>
                <a:moveTo>
                  <a:pt x="286" y="257"/>
                </a:moveTo>
                <a:cubicBezTo>
                  <a:pt x="274" y="337"/>
                  <a:pt x="238" y="381"/>
                  <a:pt x="211" y="405"/>
                </a:cubicBezTo>
                <a:cubicBezTo>
                  <a:pt x="200" y="414"/>
                  <a:pt x="190" y="420"/>
                  <a:pt x="183" y="423"/>
                </a:cubicBezTo>
                <a:cubicBezTo>
                  <a:pt x="175" y="426"/>
                  <a:pt x="169" y="427"/>
                  <a:pt x="163" y="427"/>
                </a:cubicBezTo>
                <a:cubicBezTo>
                  <a:pt x="163" y="427"/>
                  <a:pt x="163" y="427"/>
                  <a:pt x="163" y="427"/>
                </a:cubicBezTo>
                <a:cubicBezTo>
                  <a:pt x="162" y="427"/>
                  <a:pt x="162" y="427"/>
                  <a:pt x="162" y="427"/>
                </a:cubicBezTo>
                <a:cubicBezTo>
                  <a:pt x="156" y="427"/>
                  <a:pt x="150" y="426"/>
                  <a:pt x="143" y="423"/>
                </a:cubicBezTo>
                <a:cubicBezTo>
                  <a:pt x="135" y="420"/>
                  <a:pt x="126" y="414"/>
                  <a:pt x="114" y="405"/>
                </a:cubicBezTo>
                <a:cubicBezTo>
                  <a:pt x="88" y="381"/>
                  <a:pt x="51" y="337"/>
                  <a:pt x="39" y="257"/>
                </a:cubicBezTo>
                <a:cubicBezTo>
                  <a:pt x="38" y="248"/>
                  <a:pt x="36" y="235"/>
                  <a:pt x="34" y="219"/>
                </a:cubicBezTo>
                <a:cubicBezTo>
                  <a:pt x="36" y="223"/>
                  <a:pt x="41" y="227"/>
                  <a:pt x="47" y="227"/>
                </a:cubicBezTo>
                <a:cubicBezTo>
                  <a:pt x="67" y="227"/>
                  <a:pt x="67" y="227"/>
                  <a:pt x="67" y="227"/>
                </a:cubicBezTo>
                <a:cubicBezTo>
                  <a:pt x="71" y="247"/>
                  <a:pt x="80" y="266"/>
                  <a:pt x="95" y="279"/>
                </a:cubicBezTo>
                <a:cubicBezTo>
                  <a:pt x="109" y="293"/>
                  <a:pt x="128" y="303"/>
                  <a:pt x="149" y="306"/>
                </a:cubicBezTo>
                <a:cubicBezTo>
                  <a:pt x="149" y="329"/>
                  <a:pt x="149" y="329"/>
                  <a:pt x="149" y="329"/>
                </a:cubicBezTo>
                <a:cubicBezTo>
                  <a:pt x="149" y="336"/>
                  <a:pt x="155" y="342"/>
                  <a:pt x="162" y="342"/>
                </a:cubicBezTo>
                <a:cubicBezTo>
                  <a:pt x="170" y="342"/>
                  <a:pt x="176" y="336"/>
                  <a:pt x="176" y="329"/>
                </a:cubicBezTo>
                <a:cubicBezTo>
                  <a:pt x="176" y="306"/>
                  <a:pt x="176" y="306"/>
                  <a:pt x="176" y="306"/>
                </a:cubicBezTo>
                <a:cubicBezTo>
                  <a:pt x="197" y="303"/>
                  <a:pt x="215" y="293"/>
                  <a:pt x="230" y="279"/>
                </a:cubicBezTo>
                <a:cubicBezTo>
                  <a:pt x="244" y="266"/>
                  <a:pt x="254" y="247"/>
                  <a:pt x="257" y="227"/>
                </a:cubicBezTo>
                <a:cubicBezTo>
                  <a:pt x="266" y="227"/>
                  <a:pt x="266" y="227"/>
                  <a:pt x="266" y="227"/>
                </a:cubicBezTo>
                <a:cubicBezTo>
                  <a:pt x="270" y="227"/>
                  <a:pt x="273" y="225"/>
                  <a:pt x="275" y="223"/>
                </a:cubicBezTo>
                <a:cubicBezTo>
                  <a:pt x="277" y="221"/>
                  <a:pt x="278" y="220"/>
                  <a:pt x="279" y="219"/>
                </a:cubicBezTo>
                <a:cubicBezTo>
                  <a:pt x="282" y="214"/>
                  <a:pt x="286" y="207"/>
                  <a:pt x="291" y="198"/>
                </a:cubicBezTo>
                <a:cubicBezTo>
                  <a:pt x="292" y="197"/>
                  <a:pt x="292" y="196"/>
                  <a:pt x="293" y="194"/>
                </a:cubicBezTo>
                <a:cubicBezTo>
                  <a:pt x="291" y="220"/>
                  <a:pt x="288" y="244"/>
                  <a:pt x="286" y="25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0" name="Freeform 556"/>
          <p:cNvSpPr>
            <a:spLocks/>
          </p:cNvSpPr>
          <p:nvPr userDrawn="1"/>
        </p:nvSpPr>
        <p:spPr bwMode="auto">
          <a:xfrm>
            <a:off x="5652311" y="3846466"/>
            <a:ext cx="345371" cy="291704"/>
          </a:xfrm>
          <a:custGeom>
            <a:avLst/>
            <a:gdLst/>
            <a:ahLst/>
            <a:cxnLst>
              <a:cxn ang="0">
                <a:pos x="304" y="345"/>
              </a:cxn>
              <a:cxn ang="0">
                <a:pos x="262" y="194"/>
              </a:cxn>
              <a:cxn ang="0">
                <a:pos x="262" y="191"/>
              </a:cxn>
              <a:cxn ang="0">
                <a:pos x="144" y="191"/>
              </a:cxn>
              <a:cxn ang="0">
                <a:pos x="144" y="194"/>
              </a:cxn>
              <a:cxn ang="0">
                <a:pos x="103" y="345"/>
              </a:cxn>
              <a:cxn ang="0">
                <a:pos x="0" y="303"/>
              </a:cxn>
              <a:cxn ang="0">
                <a:pos x="33" y="134"/>
              </a:cxn>
              <a:cxn ang="0">
                <a:pos x="78" y="31"/>
              </a:cxn>
              <a:cxn ang="0">
                <a:pos x="149" y="63"/>
              </a:cxn>
              <a:cxn ang="0">
                <a:pos x="202" y="0"/>
              </a:cxn>
              <a:cxn ang="0">
                <a:pos x="257" y="63"/>
              </a:cxn>
              <a:cxn ang="0">
                <a:pos x="328" y="31"/>
              </a:cxn>
              <a:cxn ang="0">
                <a:pos x="374" y="133"/>
              </a:cxn>
              <a:cxn ang="0">
                <a:pos x="409" y="315"/>
              </a:cxn>
              <a:cxn ang="0">
                <a:pos x="382" y="315"/>
              </a:cxn>
              <a:cxn ang="0">
                <a:pos x="367" y="160"/>
              </a:cxn>
              <a:cxn ang="0">
                <a:pos x="336" y="146"/>
              </a:cxn>
              <a:cxn ang="0">
                <a:pos x="343" y="124"/>
              </a:cxn>
              <a:cxn ang="0">
                <a:pos x="328" y="58"/>
              </a:cxn>
              <a:cxn ang="0">
                <a:pos x="309" y="121"/>
              </a:cxn>
              <a:cxn ang="0">
                <a:pos x="315" y="141"/>
              </a:cxn>
              <a:cxn ang="0">
                <a:pos x="292" y="150"/>
              </a:cxn>
              <a:cxn ang="0">
                <a:pos x="232" y="74"/>
              </a:cxn>
              <a:cxn ang="0">
                <a:pos x="219" y="35"/>
              </a:cxn>
              <a:cxn ang="0">
                <a:pos x="187" y="37"/>
              </a:cxn>
              <a:cxn ang="0">
                <a:pos x="174" y="74"/>
              </a:cxn>
              <a:cxn ang="0">
                <a:pos x="115" y="150"/>
              </a:cxn>
              <a:cxn ang="0">
                <a:pos x="91" y="141"/>
              </a:cxn>
              <a:cxn ang="0">
                <a:pos x="97" y="121"/>
              </a:cxn>
              <a:cxn ang="0">
                <a:pos x="78" y="58"/>
              </a:cxn>
              <a:cxn ang="0">
                <a:pos x="63" y="124"/>
              </a:cxn>
              <a:cxn ang="0">
                <a:pos x="71" y="146"/>
              </a:cxn>
              <a:cxn ang="0">
                <a:pos x="42" y="160"/>
              </a:cxn>
              <a:cxn ang="0">
                <a:pos x="27" y="303"/>
              </a:cxn>
              <a:cxn ang="0">
                <a:pos x="103" y="318"/>
              </a:cxn>
              <a:cxn ang="0">
                <a:pos x="117" y="194"/>
              </a:cxn>
              <a:cxn ang="0">
                <a:pos x="118" y="188"/>
              </a:cxn>
              <a:cxn ang="0">
                <a:pos x="187" y="97"/>
              </a:cxn>
              <a:cxn ang="0">
                <a:pos x="193" y="89"/>
              </a:cxn>
              <a:cxn ang="0">
                <a:pos x="203" y="85"/>
              </a:cxn>
              <a:cxn ang="0">
                <a:pos x="219" y="96"/>
              </a:cxn>
              <a:cxn ang="0">
                <a:pos x="286" y="178"/>
              </a:cxn>
              <a:cxn ang="0">
                <a:pos x="289" y="189"/>
              </a:cxn>
              <a:cxn ang="0">
                <a:pos x="289" y="303"/>
              </a:cxn>
              <a:cxn ang="0">
                <a:pos x="367" y="318"/>
              </a:cxn>
              <a:cxn ang="0">
                <a:pos x="367" y="345"/>
              </a:cxn>
            </a:cxnLst>
            <a:rect l="0" t="0" r="r" b="b"/>
            <a:pathLst>
              <a:path w="409" h="345">
                <a:moveTo>
                  <a:pt x="367" y="345"/>
                </a:moveTo>
                <a:cubicBezTo>
                  <a:pt x="304" y="345"/>
                  <a:pt x="304" y="345"/>
                  <a:pt x="304" y="345"/>
                </a:cubicBezTo>
                <a:cubicBezTo>
                  <a:pt x="281" y="345"/>
                  <a:pt x="262" y="326"/>
                  <a:pt x="262" y="303"/>
                </a:cubicBezTo>
                <a:cubicBezTo>
                  <a:pt x="262" y="194"/>
                  <a:pt x="262" y="194"/>
                  <a:pt x="262" y="194"/>
                </a:cubicBezTo>
                <a:cubicBezTo>
                  <a:pt x="262" y="193"/>
                  <a:pt x="262" y="193"/>
                  <a:pt x="262" y="193"/>
                </a:cubicBezTo>
                <a:cubicBezTo>
                  <a:pt x="262" y="192"/>
                  <a:pt x="262" y="191"/>
                  <a:pt x="262" y="191"/>
                </a:cubicBezTo>
                <a:cubicBezTo>
                  <a:pt x="203" y="119"/>
                  <a:pt x="203" y="119"/>
                  <a:pt x="203" y="119"/>
                </a:cubicBezTo>
                <a:cubicBezTo>
                  <a:pt x="144" y="191"/>
                  <a:pt x="144" y="191"/>
                  <a:pt x="144" y="191"/>
                </a:cubicBezTo>
                <a:cubicBezTo>
                  <a:pt x="144" y="191"/>
                  <a:pt x="144" y="192"/>
                  <a:pt x="144" y="193"/>
                </a:cubicBezTo>
                <a:cubicBezTo>
                  <a:pt x="144" y="193"/>
                  <a:pt x="144" y="193"/>
                  <a:pt x="144" y="194"/>
                </a:cubicBezTo>
                <a:cubicBezTo>
                  <a:pt x="144" y="303"/>
                  <a:pt x="144" y="303"/>
                  <a:pt x="144" y="303"/>
                </a:cubicBezTo>
                <a:cubicBezTo>
                  <a:pt x="144" y="326"/>
                  <a:pt x="125" y="345"/>
                  <a:pt x="103" y="345"/>
                </a:cubicBezTo>
                <a:cubicBezTo>
                  <a:pt x="42" y="345"/>
                  <a:pt x="42" y="345"/>
                  <a:pt x="42" y="345"/>
                </a:cubicBezTo>
                <a:cubicBezTo>
                  <a:pt x="19" y="345"/>
                  <a:pt x="0" y="326"/>
                  <a:pt x="0" y="303"/>
                </a:cubicBezTo>
                <a:cubicBezTo>
                  <a:pt x="0" y="174"/>
                  <a:pt x="0" y="174"/>
                  <a:pt x="0" y="174"/>
                </a:cubicBezTo>
                <a:cubicBezTo>
                  <a:pt x="0" y="154"/>
                  <a:pt x="14" y="138"/>
                  <a:pt x="33" y="134"/>
                </a:cubicBezTo>
                <a:cubicBezTo>
                  <a:pt x="23" y="123"/>
                  <a:pt x="17" y="108"/>
                  <a:pt x="17" y="92"/>
                </a:cubicBezTo>
                <a:cubicBezTo>
                  <a:pt x="17" y="59"/>
                  <a:pt x="44" y="31"/>
                  <a:pt x="78" y="31"/>
                </a:cubicBezTo>
                <a:cubicBezTo>
                  <a:pt x="107" y="31"/>
                  <a:pt x="131" y="51"/>
                  <a:pt x="137" y="78"/>
                </a:cubicBezTo>
                <a:cubicBezTo>
                  <a:pt x="149" y="63"/>
                  <a:pt x="149" y="63"/>
                  <a:pt x="149" y="63"/>
                </a:cubicBezTo>
                <a:cubicBezTo>
                  <a:pt x="161" y="30"/>
                  <a:pt x="161" y="30"/>
                  <a:pt x="161" y="30"/>
                </a:cubicBezTo>
                <a:cubicBezTo>
                  <a:pt x="164" y="19"/>
                  <a:pt x="176" y="0"/>
                  <a:pt x="202" y="0"/>
                </a:cubicBezTo>
                <a:cubicBezTo>
                  <a:pt x="230" y="0"/>
                  <a:pt x="242" y="18"/>
                  <a:pt x="245" y="28"/>
                </a:cubicBezTo>
                <a:cubicBezTo>
                  <a:pt x="257" y="63"/>
                  <a:pt x="257" y="63"/>
                  <a:pt x="257" y="63"/>
                </a:cubicBezTo>
                <a:cubicBezTo>
                  <a:pt x="269" y="78"/>
                  <a:pt x="269" y="78"/>
                  <a:pt x="269" y="78"/>
                </a:cubicBezTo>
                <a:cubicBezTo>
                  <a:pt x="275" y="51"/>
                  <a:pt x="300" y="31"/>
                  <a:pt x="328" y="31"/>
                </a:cubicBezTo>
                <a:cubicBezTo>
                  <a:pt x="362" y="31"/>
                  <a:pt x="390" y="59"/>
                  <a:pt x="390" y="92"/>
                </a:cubicBezTo>
                <a:cubicBezTo>
                  <a:pt x="390" y="108"/>
                  <a:pt x="384" y="122"/>
                  <a:pt x="374" y="133"/>
                </a:cubicBezTo>
                <a:cubicBezTo>
                  <a:pt x="394" y="136"/>
                  <a:pt x="409" y="154"/>
                  <a:pt x="409" y="174"/>
                </a:cubicBezTo>
                <a:cubicBezTo>
                  <a:pt x="409" y="315"/>
                  <a:pt x="409" y="315"/>
                  <a:pt x="409" y="315"/>
                </a:cubicBezTo>
                <a:cubicBezTo>
                  <a:pt x="409" y="323"/>
                  <a:pt x="403" y="329"/>
                  <a:pt x="395" y="329"/>
                </a:cubicBezTo>
                <a:cubicBezTo>
                  <a:pt x="388" y="329"/>
                  <a:pt x="382" y="323"/>
                  <a:pt x="382" y="315"/>
                </a:cubicBezTo>
                <a:cubicBezTo>
                  <a:pt x="382" y="174"/>
                  <a:pt x="382" y="174"/>
                  <a:pt x="382" y="174"/>
                </a:cubicBezTo>
                <a:cubicBezTo>
                  <a:pt x="382" y="166"/>
                  <a:pt x="375" y="160"/>
                  <a:pt x="367" y="160"/>
                </a:cubicBezTo>
                <a:cubicBezTo>
                  <a:pt x="349" y="160"/>
                  <a:pt x="349" y="160"/>
                  <a:pt x="349" y="160"/>
                </a:cubicBezTo>
                <a:cubicBezTo>
                  <a:pt x="342" y="160"/>
                  <a:pt x="336" y="154"/>
                  <a:pt x="336" y="146"/>
                </a:cubicBezTo>
                <a:cubicBezTo>
                  <a:pt x="336" y="136"/>
                  <a:pt x="336" y="136"/>
                  <a:pt x="336" y="136"/>
                </a:cubicBezTo>
                <a:cubicBezTo>
                  <a:pt x="336" y="131"/>
                  <a:pt x="339" y="126"/>
                  <a:pt x="343" y="124"/>
                </a:cubicBezTo>
                <a:cubicBezTo>
                  <a:pt x="355" y="118"/>
                  <a:pt x="363" y="106"/>
                  <a:pt x="363" y="92"/>
                </a:cubicBezTo>
                <a:cubicBezTo>
                  <a:pt x="363" y="73"/>
                  <a:pt x="347" y="58"/>
                  <a:pt x="328" y="58"/>
                </a:cubicBezTo>
                <a:cubicBezTo>
                  <a:pt x="309" y="58"/>
                  <a:pt x="294" y="73"/>
                  <a:pt x="294" y="92"/>
                </a:cubicBezTo>
                <a:cubicBezTo>
                  <a:pt x="294" y="104"/>
                  <a:pt x="300" y="115"/>
                  <a:pt x="309" y="121"/>
                </a:cubicBezTo>
                <a:cubicBezTo>
                  <a:pt x="313" y="124"/>
                  <a:pt x="315" y="128"/>
                  <a:pt x="315" y="132"/>
                </a:cubicBezTo>
                <a:cubicBezTo>
                  <a:pt x="315" y="141"/>
                  <a:pt x="315" y="141"/>
                  <a:pt x="315" y="141"/>
                </a:cubicBezTo>
                <a:cubicBezTo>
                  <a:pt x="315" y="147"/>
                  <a:pt x="312" y="152"/>
                  <a:pt x="306" y="154"/>
                </a:cubicBezTo>
                <a:cubicBezTo>
                  <a:pt x="301" y="156"/>
                  <a:pt x="295" y="154"/>
                  <a:pt x="292" y="150"/>
                </a:cubicBezTo>
                <a:cubicBezTo>
                  <a:pt x="235" y="78"/>
                  <a:pt x="235" y="78"/>
                  <a:pt x="235" y="78"/>
                </a:cubicBezTo>
                <a:cubicBezTo>
                  <a:pt x="234" y="77"/>
                  <a:pt x="233" y="75"/>
                  <a:pt x="232" y="74"/>
                </a:cubicBezTo>
                <a:cubicBezTo>
                  <a:pt x="219" y="37"/>
                  <a:pt x="219" y="37"/>
                  <a:pt x="219" y="37"/>
                </a:cubicBezTo>
                <a:cubicBezTo>
                  <a:pt x="219" y="36"/>
                  <a:pt x="219" y="36"/>
                  <a:pt x="219" y="35"/>
                </a:cubicBezTo>
                <a:cubicBezTo>
                  <a:pt x="218" y="33"/>
                  <a:pt x="215" y="27"/>
                  <a:pt x="202" y="27"/>
                </a:cubicBezTo>
                <a:cubicBezTo>
                  <a:pt x="189" y="27"/>
                  <a:pt x="187" y="36"/>
                  <a:pt x="187" y="37"/>
                </a:cubicBezTo>
                <a:cubicBezTo>
                  <a:pt x="187" y="37"/>
                  <a:pt x="187" y="38"/>
                  <a:pt x="187" y="39"/>
                </a:cubicBezTo>
                <a:cubicBezTo>
                  <a:pt x="174" y="74"/>
                  <a:pt x="174" y="74"/>
                  <a:pt x="174" y="74"/>
                </a:cubicBezTo>
                <a:cubicBezTo>
                  <a:pt x="173" y="75"/>
                  <a:pt x="173" y="77"/>
                  <a:pt x="172" y="78"/>
                </a:cubicBezTo>
                <a:cubicBezTo>
                  <a:pt x="115" y="150"/>
                  <a:pt x="115" y="150"/>
                  <a:pt x="115" y="150"/>
                </a:cubicBezTo>
                <a:cubicBezTo>
                  <a:pt x="111" y="154"/>
                  <a:pt x="105" y="156"/>
                  <a:pt x="100" y="154"/>
                </a:cubicBezTo>
                <a:cubicBezTo>
                  <a:pt x="95" y="152"/>
                  <a:pt x="91" y="147"/>
                  <a:pt x="91" y="141"/>
                </a:cubicBezTo>
                <a:cubicBezTo>
                  <a:pt x="91" y="132"/>
                  <a:pt x="91" y="132"/>
                  <a:pt x="91" y="132"/>
                </a:cubicBezTo>
                <a:cubicBezTo>
                  <a:pt x="91" y="128"/>
                  <a:pt x="93" y="124"/>
                  <a:pt x="97" y="121"/>
                </a:cubicBezTo>
                <a:cubicBezTo>
                  <a:pt x="106" y="115"/>
                  <a:pt x="112" y="104"/>
                  <a:pt x="112" y="92"/>
                </a:cubicBezTo>
                <a:cubicBezTo>
                  <a:pt x="112" y="73"/>
                  <a:pt x="97" y="58"/>
                  <a:pt x="78" y="58"/>
                </a:cubicBezTo>
                <a:cubicBezTo>
                  <a:pt x="59" y="58"/>
                  <a:pt x="43" y="73"/>
                  <a:pt x="43" y="92"/>
                </a:cubicBezTo>
                <a:cubicBezTo>
                  <a:pt x="43" y="106"/>
                  <a:pt x="51" y="118"/>
                  <a:pt x="63" y="124"/>
                </a:cubicBezTo>
                <a:cubicBezTo>
                  <a:pt x="68" y="126"/>
                  <a:pt x="71" y="131"/>
                  <a:pt x="71" y="136"/>
                </a:cubicBezTo>
                <a:cubicBezTo>
                  <a:pt x="71" y="146"/>
                  <a:pt x="71" y="146"/>
                  <a:pt x="71" y="146"/>
                </a:cubicBezTo>
                <a:cubicBezTo>
                  <a:pt x="71" y="154"/>
                  <a:pt x="65" y="160"/>
                  <a:pt x="57" y="160"/>
                </a:cubicBezTo>
                <a:cubicBezTo>
                  <a:pt x="42" y="160"/>
                  <a:pt x="42" y="160"/>
                  <a:pt x="42" y="160"/>
                </a:cubicBezTo>
                <a:cubicBezTo>
                  <a:pt x="34" y="160"/>
                  <a:pt x="27" y="166"/>
                  <a:pt x="27" y="174"/>
                </a:cubicBezTo>
                <a:cubicBezTo>
                  <a:pt x="27" y="303"/>
                  <a:pt x="27" y="303"/>
                  <a:pt x="27" y="303"/>
                </a:cubicBezTo>
                <a:cubicBezTo>
                  <a:pt x="27" y="311"/>
                  <a:pt x="34" y="318"/>
                  <a:pt x="42" y="318"/>
                </a:cubicBezTo>
                <a:cubicBezTo>
                  <a:pt x="103" y="318"/>
                  <a:pt x="103" y="318"/>
                  <a:pt x="103" y="318"/>
                </a:cubicBezTo>
                <a:cubicBezTo>
                  <a:pt x="111" y="318"/>
                  <a:pt x="117" y="311"/>
                  <a:pt x="117" y="303"/>
                </a:cubicBezTo>
                <a:cubicBezTo>
                  <a:pt x="117" y="194"/>
                  <a:pt x="117" y="194"/>
                  <a:pt x="117" y="194"/>
                </a:cubicBezTo>
                <a:cubicBezTo>
                  <a:pt x="117" y="192"/>
                  <a:pt x="117" y="190"/>
                  <a:pt x="118" y="189"/>
                </a:cubicBezTo>
                <a:cubicBezTo>
                  <a:pt x="118" y="189"/>
                  <a:pt x="118" y="189"/>
                  <a:pt x="118" y="188"/>
                </a:cubicBezTo>
                <a:cubicBezTo>
                  <a:pt x="117" y="185"/>
                  <a:pt x="118" y="181"/>
                  <a:pt x="120" y="178"/>
                </a:cubicBezTo>
                <a:cubicBezTo>
                  <a:pt x="187" y="97"/>
                  <a:pt x="187" y="97"/>
                  <a:pt x="187" y="97"/>
                </a:cubicBezTo>
                <a:cubicBezTo>
                  <a:pt x="187" y="96"/>
                  <a:pt x="187" y="96"/>
                  <a:pt x="187" y="96"/>
                </a:cubicBezTo>
                <a:cubicBezTo>
                  <a:pt x="193" y="89"/>
                  <a:pt x="193" y="89"/>
                  <a:pt x="193" y="89"/>
                </a:cubicBezTo>
                <a:cubicBezTo>
                  <a:pt x="196" y="86"/>
                  <a:pt x="199" y="85"/>
                  <a:pt x="203" y="85"/>
                </a:cubicBezTo>
                <a:cubicBezTo>
                  <a:pt x="203" y="85"/>
                  <a:pt x="203" y="85"/>
                  <a:pt x="203" y="85"/>
                </a:cubicBezTo>
                <a:cubicBezTo>
                  <a:pt x="207" y="85"/>
                  <a:pt x="211" y="86"/>
                  <a:pt x="213" y="89"/>
                </a:cubicBezTo>
                <a:cubicBezTo>
                  <a:pt x="219" y="96"/>
                  <a:pt x="219" y="96"/>
                  <a:pt x="219" y="96"/>
                </a:cubicBezTo>
                <a:cubicBezTo>
                  <a:pt x="219" y="96"/>
                  <a:pt x="219" y="96"/>
                  <a:pt x="220" y="97"/>
                </a:cubicBezTo>
                <a:cubicBezTo>
                  <a:pt x="286" y="178"/>
                  <a:pt x="286" y="178"/>
                  <a:pt x="286" y="178"/>
                </a:cubicBezTo>
                <a:cubicBezTo>
                  <a:pt x="288" y="181"/>
                  <a:pt x="289" y="185"/>
                  <a:pt x="289" y="188"/>
                </a:cubicBezTo>
                <a:cubicBezTo>
                  <a:pt x="289" y="189"/>
                  <a:pt x="289" y="189"/>
                  <a:pt x="289" y="189"/>
                </a:cubicBezTo>
                <a:cubicBezTo>
                  <a:pt x="289" y="190"/>
                  <a:pt x="289" y="192"/>
                  <a:pt x="289" y="194"/>
                </a:cubicBezTo>
                <a:cubicBezTo>
                  <a:pt x="289" y="303"/>
                  <a:pt x="289" y="303"/>
                  <a:pt x="289" y="303"/>
                </a:cubicBezTo>
                <a:cubicBezTo>
                  <a:pt x="289" y="311"/>
                  <a:pt x="296" y="318"/>
                  <a:pt x="304" y="318"/>
                </a:cubicBezTo>
                <a:cubicBezTo>
                  <a:pt x="367" y="318"/>
                  <a:pt x="367" y="318"/>
                  <a:pt x="367" y="318"/>
                </a:cubicBezTo>
                <a:cubicBezTo>
                  <a:pt x="374" y="318"/>
                  <a:pt x="380" y="324"/>
                  <a:pt x="380" y="331"/>
                </a:cubicBezTo>
                <a:cubicBezTo>
                  <a:pt x="380" y="339"/>
                  <a:pt x="374" y="345"/>
                  <a:pt x="367" y="34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1" name="Freeform 163"/>
          <p:cNvSpPr>
            <a:spLocks/>
          </p:cNvSpPr>
          <p:nvPr userDrawn="1"/>
        </p:nvSpPr>
        <p:spPr bwMode="auto">
          <a:xfrm>
            <a:off x="6103046" y="887316"/>
            <a:ext cx="356089" cy="358378"/>
          </a:xfrm>
          <a:custGeom>
            <a:avLst/>
            <a:gdLst/>
            <a:ahLst/>
            <a:cxnLst>
              <a:cxn ang="0">
                <a:pos x="72" y="307"/>
              </a:cxn>
              <a:cxn ang="0">
                <a:pos x="272" y="307"/>
              </a:cxn>
              <a:cxn ang="0">
                <a:pos x="271" y="371"/>
              </a:cxn>
              <a:cxn ang="0">
                <a:pos x="72" y="371"/>
              </a:cxn>
              <a:cxn ang="0">
                <a:pos x="72" y="424"/>
              </a:cxn>
              <a:cxn ang="0">
                <a:pos x="332" y="424"/>
              </a:cxn>
              <a:cxn ang="0">
                <a:pos x="332" y="227"/>
              </a:cxn>
              <a:cxn ang="0">
                <a:pos x="420" y="174"/>
              </a:cxn>
              <a:cxn ang="0">
                <a:pos x="420" y="123"/>
              </a:cxn>
              <a:cxn ang="0">
                <a:pos x="328" y="177"/>
              </a:cxn>
              <a:cxn ang="0">
                <a:pos x="327" y="109"/>
              </a:cxn>
              <a:cxn ang="0">
                <a:pos x="102" y="109"/>
              </a:cxn>
              <a:cxn ang="0">
                <a:pos x="251" y="0"/>
              </a:cxn>
              <a:cxn ang="0">
                <a:pos x="183" y="0"/>
              </a:cxn>
              <a:cxn ang="0">
                <a:pos x="60" y="89"/>
              </a:cxn>
              <a:cxn ang="0">
                <a:pos x="46" y="82"/>
              </a:cxn>
              <a:cxn ang="0">
                <a:pos x="0" y="90"/>
              </a:cxn>
              <a:cxn ang="0">
                <a:pos x="1" y="423"/>
              </a:cxn>
            </a:cxnLst>
            <a:rect l="0" t="0" r="r" b="b"/>
            <a:pathLst>
              <a:path w="420" h="424">
                <a:moveTo>
                  <a:pt x="72" y="307"/>
                </a:moveTo>
                <a:cubicBezTo>
                  <a:pt x="272" y="307"/>
                  <a:pt x="272" y="307"/>
                  <a:pt x="272" y="307"/>
                </a:cubicBezTo>
                <a:cubicBezTo>
                  <a:pt x="271" y="371"/>
                  <a:pt x="271" y="371"/>
                  <a:pt x="271" y="371"/>
                </a:cubicBezTo>
                <a:cubicBezTo>
                  <a:pt x="72" y="371"/>
                  <a:pt x="72" y="371"/>
                  <a:pt x="72" y="371"/>
                </a:cubicBezTo>
                <a:cubicBezTo>
                  <a:pt x="72" y="424"/>
                  <a:pt x="72" y="424"/>
                  <a:pt x="72" y="424"/>
                </a:cubicBezTo>
                <a:cubicBezTo>
                  <a:pt x="332" y="424"/>
                  <a:pt x="332" y="424"/>
                  <a:pt x="332" y="424"/>
                </a:cubicBezTo>
                <a:cubicBezTo>
                  <a:pt x="332" y="227"/>
                  <a:pt x="332" y="227"/>
                  <a:pt x="332" y="227"/>
                </a:cubicBezTo>
                <a:cubicBezTo>
                  <a:pt x="420" y="174"/>
                  <a:pt x="420" y="174"/>
                  <a:pt x="420" y="174"/>
                </a:cubicBezTo>
                <a:cubicBezTo>
                  <a:pt x="420" y="123"/>
                  <a:pt x="420" y="123"/>
                  <a:pt x="420" y="123"/>
                </a:cubicBezTo>
                <a:cubicBezTo>
                  <a:pt x="328" y="177"/>
                  <a:pt x="328" y="177"/>
                  <a:pt x="328" y="177"/>
                </a:cubicBezTo>
                <a:cubicBezTo>
                  <a:pt x="327" y="109"/>
                  <a:pt x="327" y="109"/>
                  <a:pt x="327" y="109"/>
                </a:cubicBezTo>
                <a:cubicBezTo>
                  <a:pt x="102" y="109"/>
                  <a:pt x="102" y="109"/>
                  <a:pt x="102" y="109"/>
                </a:cubicBezTo>
                <a:cubicBezTo>
                  <a:pt x="251" y="0"/>
                  <a:pt x="251" y="0"/>
                  <a:pt x="251" y="0"/>
                </a:cubicBezTo>
                <a:cubicBezTo>
                  <a:pt x="183" y="0"/>
                  <a:pt x="183" y="0"/>
                  <a:pt x="183" y="0"/>
                </a:cubicBezTo>
                <a:cubicBezTo>
                  <a:pt x="183" y="0"/>
                  <a:pt x="103" y="65"/>
                  <a:pt x="60" y="89"/>
                </a:cubicBezTo>
                <a:cubicBezTo>
                  <a:pt x="55" y="92"/>
                  <a:pt x="49" y="85"/>
                  <a:pt x="46" y="82"/>
                </a:cubicBezTo>
                <a:cubicBezTo>
                  <a:pt x="21" y="55"/>
                  <a:pt x="0" y="90"/>
                  <a:pt x="0" y="90"/>
                </a:cubicBezTo>
                <a:cubicBezTo>
                  <a:pt x="1" y="423"/>
                  <a:pt x="1" y="423"/>
                  <a:pt x="1" y="423"/>
                </a:cubicBezTo>
              </a:path>
            </a:pathLst>
          </a:custGeom>
          <a:noFill/>
          <a:ln w="30163"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2" name="Freeform 425"/>
          <p:cNvSpPr>
            <a:spLocks/>
          </p:cNvSpPr>
          <p:nvPr userDrawn="1"/>
        </p:nvSpPr>
        <p:spPr bwMode="auto">
          <a:xfrm>
            <a:off x="6129842" y="3366706"/>
            <a:ext cx="302498" cy="258366"/>
          </a:xfrm>
          <a:custGeom>
            <a:avLst/>
            <a:gdLst/>
            <a:ahLst/>
            <a:cxnLst>
              <a:cxn ang="0">
                <a:pos x="144" y="305"/>
              </a:cxn>
              <a:cxn ang="0">
                <a:pos x="23" y="305"/>
              </a:cxn>
              <a:cxn ang="0">
                <a:pos x="0" y="273"/>
              </a:cxn>
              <a:cxn ang="0">
                <a:pos x="0" y="102"/>
              </a:cxn>
              <a:cxn ang="0">
                <a:pos x="72" y="42"/>
              </a:cxn>
              <a:cxn ang="0">
                <a:pos x="100" y="42"/>
              </a:cxn>
              <a:cxn ang="0">
                <a:pos x="179" y="0"/>
              </a:cxn>
              <a:cxn ang="0">
                <a:pos x="265" y="42"/>
              </a:cxn>
              <a:cxn ang="0">
                <a:pos x="301" y="42"/>
              </a:cxn>
              <a:cxn ang="0">
                <a:pos x="358" y="102"/>
              </a:cxn>
              <a:cxn ang="0">
                <a:pos x="358" y="275"/>
              </a:cxn>
              <a:cxn ang="0">
                <a:pos x="331" y="305"/>
              </a:cxn>
              <a:cxn ang="0">
                <a:pos x="205" y="305"/>
              </a:cxn>
              <a:cxn ang="0">
                <a:pos x="170" y="269"/>
              </a:cxn>
              <a:cxn ang="0">
                <a:pos x="90" y="178"/>
              </a:cxn>
              <a:cxn ang="0">
                <a:pos x="175" y="88"/>
              </a:cxn>
              <a:cxn ang="0">
                <a:pos x="269" y="172"/>
              </a:cxn>
              <a:cxn ang="0">
                <a:pos x="218" y="257"/>
              </a:cxn>
            </a:cxnLst>
            <a:rect l="0" t="0" r="r" b="b"/>
            <a:pathLst>
              <a:path w="358" h="305">
                <a:moveTo>
                  <a:pt x="144" y="305"/>
                </a:moveTo>
                <a:cubicBezTo>
                  <a:pt x="144" y="305"/>
                  <a:pt x="45" y="305"/>
                  <a:pt x="23" y="305"/>
                </a:cubicBezTo>
                <a:cubicBezTo>
                  <a:pt x="1" y="305"/>
                  <a:pt x="0" y="304"/>
                  <a:pt x="0" y="273"/>
                </a:cubicBezTo>
                <a:cubicBezTo>
                  <a:pt x="0" y="242"/>
                  <a:pt x="0" y="114"/>
                  <a:pt x="0" y="102"/>
                </a:cubicBezTo>
                <a:cubicBezTo>
                  <a:pt x="0" y="60"/>
                  <a:pt x="24" y="42"/>
                  <a:pt x="72" y="42"/>
                </a:cubicBezTo>
                <a:cubicBezTo>
                  <a:pt x="80" y="42"/>
                  <a:pt x="89" y="42"/>
                  <a:pt x="100" y="42"/>
                </a:cubicBezTo>
                <a:cubicBezTo>
                  <a:pt x="153" y="42"/>
                  <a:pt x="112" y="0"/>
                  <a:pt x="179" y="0"/>
                </a:cubicBezTo>
                <a:cubicBezTo>
                  <a:pt x="251" y="0"/>
                  <a:pt x="208" y="42"/>
                  <a:pt x="265" y="42"/>
                </a:cubicBezTo>
                <a:cubicBezTo>
                  <a:pt x="274" y="42"/>
                  <a:pt x="279" y="42"/>
                  <a:pt x="301" y="42"/>
                </a:cubicBezTo>
                <a:cubicBezTo>
                  <a:pt x="338" y="42"/>
                  <a:pt x="358" y="70"/>
                  <a:pt x="358" y="102"/>
                </a:cubicBezTo>
                <a:cubicBezTo>
                  <a:pt x="358" y="117"/>
                  <a:pt x="358" y="245"/>
                  <a:pt x="358" y="275"/>
                </a:cubicBezTo>
                <a:cubicBezTo>
                  <a:pt x="358" y="304"/>
                  <a:pt x="358" y="305"/>
                  <a:pt x="331" y="305"/>
                </a:cubicBezTo>
                <a:cubicBezTo>
                  <a:pt x="305" y="305"/>
                  <a:pt x="205" y="305"/>
                  <a:pt x="205" y="305"/>
                </a:cubicBezTo>
                <a:cubicBezTo>
                  <a:pt x="205" y="305"/>
                  <a:pt x="184" y="283"/>
                  <a:pt x="170" y="269"/>
                </a:cubicBezTo>
                <a:cubicBezTo>
                  <a:pt x="127" y="260"/>
                  <a:pt x="90" y="230"/>
                  <a:pt x="90" y="178"/>
                </a:cubicBezTo>
                <a:cubicBezTo>
                  <a:pt x="90" y="121"/>
                  <a:pt x="133" y="88"/>
                  <a:pt x="175" y="88"/>
                </a:cubicBezTo>
                <a:cubicBezTo>
                  <a:pt x="227" y="88"/>
                  <a:pt x="269" y="126"/>
                  <a:pt x="269" y="172"/>
                </a:cubicBezTo>
                <a:cubicBezTo>
                  <a:pt x="269" y="239"/>
                  <a:pt x="218" y="257"/>
                  <a:pt x="218" y="257"/>
                </a:cubicBezTo>
              </a:path>
            </a:pathLst>
          </a:custGeom>
          <a:noFill/>
          <a:ln w="31750"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3" name="Freeform 473"/>
          <p:cNvSpPr>
            <a:spLocks/>
          </p:cNvSpPr>
          <p:nvPr userDrawn="1"/>
        </p:nvSpPr>
        <p:spPr bwMode="auto">
          <a:xfrm>
            <a:off x="6084586" y="1879565"/>
            <a:ext cx="393009" cy="203597"/>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4" name="Freeform 501"/>
          <p:cNvSpPr>
            <a:spLocks/>
          </p:cNvSpPr>
          <p:nvPr userDrawn="1"/>
        </p:nvSpPr>
        <p:spPr bwMode="auto">
          <a:xfrm>
            <a:off x="6088159" y="2301560"/>
            <a:ext cx="385863" cy="269081"/>
          </a:xfrm>
          <a:custGeom>
            <a:avLst/>
            <a:gdLst/>
            <a:ahLst/>
            <a:cxnLst>
              <a:cxn ang="0">
                <a:pos x="208" y="55"/>
              </a:cxn>
              <a:cxn ang="0">
                <a:pos x="208" y="292"/>
              </a:cxn>
              <a:cxn ang="0">
                <a:pos x="164" y="292"/>
              </a:cxn>
              <a:cxn ang="0">
                <a:pos x="164" y="179"/>
              </a:cxn>
              <a:cxn ang="0">
                <a:pos x="134" y="149"/>
              </a:cxn>
              <a:cxn ang="0">
                <a:pos x="82" y="144"/>
              </a:cxn>
              <a:cxn ang="0">
                <a:pos x="30" y="149"/>
              </a:cxn>
              <a:cxn ang="0">
                <a:pos x="0" y="179"/>
              </a:cxn>
              <a:cxn ang="0">
                <a:pos x="0" y="306"/>
              </a:cxn>
              <a:cxn ang="0">
                <a:pos x="14" y="319"/>
              </a:cxn>
              <a:cxn ang="0">
                <a:pos x="44" y="319"/>
              </a:cxn>
              <a:cxn ang="0">
                <a:pos x="54" y="314"/>
              </a:cxn>
              <a:cxn ang="0">
                <a:pos x="94" y="261"/>
              </a:cxn>
              <a:cxn ang="0">
                <a:pos x="94" y="306"/>
              </a:cxn>
              <a:cxn ang="0">
                <a:pos x="107" y="319"/>
              </a:cxn>
              <a:cxn ang="0">
                <a:pos x="120" y="306"/>
              </a:cxn>
              <a:cxn ang="0">
                <a:pos x="120" y="220"/>
              </a:cxn>
              <a:cxn ang="0">
                <a:pos x="111" y="207"/>
              </a:cxn>
              <a:cxn ang="0">
                <a:pos x="96" y="212"/>
              </a:cxn>
              <a:cxn ang="0">
                <a:pos x="37" y="292"/>
              </a:cxn>
              <a:cxn ang="0">
                <a:pos x="27" y="292"/>
              </a:cxn>
              <a:cxn ang="0">
                <a:pos x="27" y="179"/>
              </a:cxn>
              <a:cxn ang="0">
                <a:pos x="82" y="170"/>
              </a:cxn>
              <a:cxn ang="0">
                <a:pos x="137" y="179"/>
              </a:cxn>
              <a:cxn ang="0">
                <a:pos x="137" y="306"/>
              </a:cxn>
              <a:cxn ang="0">
                <a:pos x="150" y="319"/>
              </a:cxn>
              <a:cxn ang="0">
                <a:pos x="221" y="319"/>
              </a:cxn>
              <a:cxn ang="0">
                <a:pos x="234" y="306"/>
              </a:cxn>
              <a:cxn ang="0">
                <a:pos x="234" y="55"/>
              </a:cxn>
              <a:cxn ang="0">
                <a:pos x="333" y="26"/>
              </a:cxn>
              <a:cxn ang="0">
                <a:pos x="432" y="55"/>
              </a:cxn>
              <a:cxn ang="0">
                <a:pos x="432" y="292"/>
              </a:cxn>
              <a:cxn ang="0">
                <a:pos x="294" y="292"/>
              </a:cxn>
              <a:cxn ang="0">
                <a:pos x="383" y="148"/>
              </a:cxn>
              <a:cxn ang="0">
                <a:pos x="383" y="262"/>
              </a:cxn>
              <a:cxn ang="0">
                <a:pos x="397" y="275"/>
              </a:cxn>
              <a:cxn ang="0">
                <a:pos x="410" y="262"/>
              </a:cxn>
              <a:cxn ang="0">
                <a:pos x="410" y="101"/>
              </a:cxn>
              <a:cxn ang="0">
                <a:pos x="400" y="88"/>
              </a:cxn>
              <a:cxn ang="0">
                <a:pos x="385" y="94"/>
              </a:cxn>
              <a:cxn ang="0">
                <a:pos x="259" y="299"/>
              </a:cxn>
              <a:cxn ang="0">
                <a:pos x="258" y="312"/>
              </a:cxn>
              <a:cxn ang="0">
                <a:pos x="270" y="319"/>
              </a:cxn>
              <a:cxn ang="0">
                <a:pos x="445" y="319"/>
              </a:cxn>
              <a:cxn ang="0">
                <a:pos x="458" y="306"/>
              </a:cxn>
              <a:cxn ang="0">
                <a:pos x="458" y="55"/>
              </a:cxn>
              <a:cxn ang="0">
                <a:pos x="333" y="0"/>
              </a:cxn>
              <a:cxn ang="0">
                <a:pos x="208" y="55"/>
              </a:cxn>
            </a:cxnLst>
            <a:rect l="0" t="0" r="r" b="b"/>
            <a:pathLst>
              <a:path w="458" h="319">
                <a:moveTo>
                  <a:pt x="208" y="55"/>
                </a:moveTo>
                <a:cubicBezTo>
                  <a:pt x="208" y="55"/>
                  <a:pt x="208" y="269"/>
                  <a:pt x="208" y="292"/>
                </a:cubicBezTo>
                <a:cubicBezTo>
                  <a:pt x="194" y="292"/>
                  <a:pt x="177" y="292"/>
                  <a:pt x="164" y="292"/>
                </a:cubicBezTo>
                <a:cubicBezTo>
                  <a:pt x="164" y="271"/>
                  <a:pt x="164" y="179"/>
                  <a:pt x="164" y="179"/>
                </a:cubicBezTo>
                <a:cubicBezTo>
                  <a:pt x="164" y="169"/>
                  <a:pt x="159" y="156"/>
                  <a:pt x="134" y="149"/>
                </a:cubicBezTo>
                <a:cubicBezTo>
                  <a:pt x="118" y="145"/>
                  <a:pt x="97" y="144"/>
                  <a:pt x="82" y="144"/>
                </a:cubicBezTo>
                <a:cubicBezTo>
                  <a:pt x="67" y="144"/>
                  <a:pt x="46" y="145"/>
                  <a:pt x="30" y="149"/>
                </a:cubicBezTo>
                <a:cubicBezTo>
                  <a:pt x="5" y="156"/>
                  <a:pt x="0" y="169"/>
                  <a:pt x="0" y="179"/>
                </a:cubicBezTo>
                <a:cubicBezTo>
                  <a:pt x="0" y="306"/>
                  <a:pt x="0" y="306"/>
                  <a:pt x="0" y="306"/>
                </a:cubicBezTo>
                <a:cubicBezTo>
                  <a:pt x="0" y="313"/>
                  <a:pt x="6" y="319"/>
                  <a:pt x="14" y="319"/>
                </a:cubicBezTo>
                <a:cubicBezTo>
                  <a:pt x="44" y="319"/>
                  <a:pt x="44" y="319"/>
                  <a:pt x="44" y="319"/>
                </a:cubicBezTo>
                <a:cubicBezTo>
                  <a:pt x="48" y="319"/>
                  <a:pt x="52" y="317"/>
                  <a:pt x="54" y="314"/>
                </a:cubicBezTo>
                <a:cubicBezTo>
                  <a:pt x="54" y="314"/>
                  <a:pt x="75" y="286"/>
                  <a:pt x="94" y="261"/>
                </a:cubicBezTo>
                <a:cubicBezTo>
                  <a:pt x="94" y="283"/>
                  <a:pt x="94" y="306"/>
                  <a:pt x="94" y="306"/>
                </a:cubicBezTo>
                <a:cubicBezTo>
                  <a:pt x="94" y="313"/>
                  <a:pt x="100" y="319"/>
                  <a:pt x="107" y="319"/>
                </a:cubicBezTo>
                <a:cubicBezTo>
                  <a:pt x="114" y="319"/>
                  <a:pt x="120" y="313"/>
                  <a:pt x="120" y="306"/>
                </a:cubicBezTo>
                <a:cubicBezTo>
                  <a:pt x="120" y="220"/>
                  <a:pt x="120" y="220"/>
                  <a:pt x="120" y="220"/>
                </a:cubicBezTo>
                <a:cubicBezTo>
                  <a:pt x="120" y="214"/>
                  <a:pt x="117" y="209"/>
                  <a:pt x="111" y="207"/>
                </a:cubicBezTo>
                <a:cubicBezTo>
                  <a:pt x="106" y="206"/>
                  <a:pt x="100" y="207"/>
                  <a:pt x="96" y="212"/>
                </a:cubicBezTo>
                <a:cubicBezTo>
                  <a:pt x="96" y="212"/>
                  <a:pt x="44" y="283"/>
                  <a:pt x="37" y="292"/>
                </a:cubicBezTo>
                <a:cubicBezTo>
                  <a:pt x="33" y="292"/>
                  <a:pt x="32" y="292"/>
                  <a:pt x="27" y="292"/>
                </a:cubicBezTo>
                <a:cubicBezTo>
                  <a:pt x="27" y="271"/>
                  <a:pt x="27" y="181"/>
                  <a:pt x="27" y="179"/>
                </a:cubicBezTo>
                <a:cubicBezTo>
                  <a:pt x="30" y="177"/>
                  <a:pt x="44" y="170"/>
                  <a:pt x="82" y="170"/>
                </a:cubicBezTo>
                <a:cubicBezTo>
                  <a:pt x="120" y="170"/>
                  <a:pt x="134" y="177"/>
                  <a:pt x="137" y="179"/>
                </a:cubicBezTo>
                <a:cubicBezTo>
                  <a:pt x="137" y="181"/>
                  <a:pt x="137" y="306"/>
                  <a:pt x="137" y="306"/>
                </a:cubicBezTo>
                <a:cubicBezTo>
                  <a:pt x="137" y="313"/>
                  <a:pt x="143" y="319"/>
                  <a:pt x="150" y="319"/>
                </a:cubicBezTo>
                <a:cubicBezTo>
                  <a:pt x="221" y="319"/>
                  <a:pt x="221" y="319"/>
                  <a:pt x="221" y="319"/>
                </a:cubicBezTo>
                <a:cubicBezTo>
                  <a:pt x="228" y="319"/>
                  <a:pt x="234" y="313"/>
                  <a:pt x="234" y="306"/>
                </a:cubicBezTo>
                <a:cubicBezTo>
                  <a:pt x="234" y="55"/>
                  <a:pt x="234" y="55"/>
                  <a:pt x="234" y="55"/>
                </a:cubicBezTo>
                <a:cubicBezTo>
                  <a:pt x="234" y="45"/>
                  <a:pt x="268" y="26"/>
                  <a:pt x="333" y="26"/>
                </a:cubicBezTo>
                <a:cubicBezTo>
                  <a:pt x="398" y="26"/>
                  <a:pt x="432" y="45"/>
                  <a:pt x="432" y="55"/>
                </a:cubicBezTo>
                <a:cubicBezTo>
                  <a:pt x="432" y="55"/>
                  <a:pt x="432" y="269"/>
                  <a:pt x="432" y="292"/>
                </a:cubicBezTo>
                <a:cubicBezTo>
                  <a:pt x="412" y="292"/>
                  <a:pt x="327" y="292"/>
                  <a:pt x="294" y="292"/>
                </a:cubicBezTo>
                <a:cubicBezTo>
                  <a:pt x="310" y="267"/>
                  <a:pt x="355" y="193"/>
                  <a:pt x="383" y="148"/>
                </a:cubicBezTo>
                <a:cubicBezTo>
                  <a:pt x="383" y="195"/>
                  <a:pt x="383" y="262"/>
                  <a:pt x="383" y="262"/>
                </a:cubicBezTo>
                <a:cubicBezTo>
                  <a:pt x="383" y="269"/>
                  <a:pt x="389" y="275"/>
                  <a:pt x="397" y="275"/>
                </a:cubicBezTo>
                <a:cubicBezTo>
                  <a:pt x="404" y="275"/>
                  <a:pt x="410" y="269"/>
                  <a:pt x="410" y="262"/>
                </a:cubicBezTo>
                <a:cubicBezTo>
                  <a:pt x="410" y="101"/>
                  <a:pt x="410" y="101"/>
                  <a:pt x="410" y="101"/>
                </a:cubicBezTo>
                <a:cubicBezTo>
                  <a:pt x="410" y="95"/>
                  <a:pt x="406" y="90"/>
                  <a:pt x="400" y="88"/>
                </a:cubicBezTo>
                <a:cubicBezTo>
                  <a:pt x="395" y="87"/>
                  <a:pt x="388" y="89"/>
                  <a:pt x="385" y="94"/>
                </a:cubicBezTo>
                <a:cubicBezTo>
                  <a:pt x="259" y="299"/>
                  <a:pt x="259" y="299"/>
                  <a:pt x="259" y="299"/>
                </a:cubicBezTo>
                <a:cubicBezTo>
                  <a:pt x="256" y="303"/>
                  <a:pt x="256" y="308"/>
                  <a:pt x="258" y="312"/>
                </a:cubicBezTo>
                <a:cubicBezTo>
                  <a:pt x="261" y="316"/>
                  <a:pt x="265" y="319"/>
                  <a:pt x="270" y="319"/>
                </a:cubicBezTo>
                <a:cubicBezTo>
                  <a:pt x="445" y="319"/>
                  <a:pt x="445" y="319"/>
                  <a:pt x="445" y="319"/>
                </a:cubicBezTo>
                <a:cubicBezTo>
                  <a:pt x="452" y="319"/>
                  <a:pt x="458" y="313"/>
                  <a:pt x="458" y="306"/>
                </a:cubicBezTo>
                <a:cubicBezTo>
                  <a:pt x="458" y="55"/>
                  <a:pt x="458" y="55"/>
                  <a:pt x="458" y="55"/>
                </a:cubicBezTo>
                <a:cubicBezTo>
                  <a:pt x="458" y="17"/>
                  <a:pt x="395" y="0"/>
                  <a:pt x="333" y="0"/>
                </a:cubicBezTo>
                <a:cubicBezTo>
                  <a:pt x="271" y="0"/>
                  <a:pt x="208" y="17"/>
                  <a:pt x="208" y="5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5" name="Freeform 521"/>
          <p:cNvSpPr>
            <a:spLocks/>
          </p:cNvSpPr>
          <p:nvPr userDrawn="1"/>
        </p:nvSpPr>
        <p:spPr bwMode="auto">
          <a:xfrm>
            <a:off x="6145919" y="1376292"/>
            <a:ext cx="270343" cy="253603"/>
          </a:xfrm>
          <a:custGeom>
            <a:avLst/>
            <a:gdLst/>
            <a:ahLst/>
            <a:cxnLst>
              <a:cxn ang="0">
                <a:pos x="176" y="0"/>
              </a:cxn>
              <a:cxn ang="0">
                <a:pos x="143" y="5"/>
              </a:cxn>
              <a:cxn ang="0">
                <a:pos x="133" y="21"/>
              </a:cxn>
              <a:cxn ang="0">
                <a:pos x="149" y="31"/>
              </a:cxn>
              <a:cxn ang="0">
                <a:pos x="176" y="27"/>
              </a:cxn>
              <a:cxn ang="0">
                <a:pos x="291" y="154"/>
              </a:cxn>
              <a:cxn ang="0">
                <a:pos x="176" y="274"/>
              </a:cxn>
              <a:cxn ang="0">
                <a:pos x="62" y="154"/>
              </a:cxn>
              <a:cxn ang="0">
                <a:pos x="76" y="92"/>
              </a:cxn>
              <a:cxn ang="0">
                <a:pos x="88" y="123"/>
              </a:cxn>
              <a:cxn ang="0">
                <a:pos x="88" y="123"/>
              </a:cxn>
              <a:cxn ang="0">
                <a:pos x="105" y="131"/>
              </a:cxn>
              <a:cxn ang="0">
                <a:pos x="113" y="114"/>
              </a:cxn>
              <a:cxn ang="0">
                <a:pos x="93" y="60"/>
              </a:cxn>
              <a:cxn ang="0">
                <a:pos x="91" y="55"/>
              </a:cxn>
              <a:cxn ang="0">
                <a:pos x="75" y="48"/>
              </a:cxn>
              <a:cxn ang="0">
                <a:pos x="11" y="67"/>
              </a:cxn>
              <a:cxn ang="0">
                <a:pos x="2" y="83"/>
              </a:cxn>
              <a:cxn ang="0">
                <a:pos x="18" y="92"/>
              </a:cxn>
              <a:cxn ang="0">
                <a:pos x="51" y="83"/>
              </a:cxn>
              <a:cxn ang="0">
                <a:pos x="35" y="154"/>
              </a:cxn>
              <a:cxn ang="0">
                <a:pos x="76" y="259"/>
              </a:cxn>
              <a:cxn ang="0">
                <a:pos x="176" y="300"/>
              </a:cxn>
              <a:cxn ang="0">
                <a:pos x="276" y="259"/>
              </a:cxn>
              <a:cxn ang="0">
                <a:pos x="318" y="154"/>
              </a:cxn>
              <a:cxn ang="0">
                <a:pos x="176" y="0"/>
              </a:cxn>
            </a:cxnLst>
            <a:rect l="0" t="0" r="r" b="b"/>
            <a:pathLst>
              <a:path w="318" h="300">
                <a:moveTo>
                  <a:pt x="176" y="0"/>
                </a:moveTo>
                <a:cubicBezTo>
                  <a:pt x="165" y="0"/>
                  <a:pt x="154" y="2"/>
                  <a:pt x="143" y="5"/>
                </a:cubicBezTo>
                <a:cubicBezTo>
                  <a:pt x="135" y="7"/>
                  <a:pt x="131" y="14"/>
                  <a:pt x="133" y="21"/>
                </a:cubicBezTo>
                <a:cubicBezTo>
                  <a:pt x="135" y="28"/>
                  <a:pt x="142" y="32"/>
                  <a:pt x="149" y="31"/>
                </a:cubicBezTo>
                <a:cubicBezTo>
                  <a:pt x="158" y="28"/>
                  <a:pt x="167" y="27"/>
                  <a:pt x="176" y="27"/>
                </a:cubicBezTo>
                <a:cubicBezTo>
                  <a:pt x="240" y="27"/>
                  <a:pt x="291" y="84"/>
                  <a:pt x="291" y="154"/>
                </a:cubicBezTo>
                <a:cubicBezTo>
                  <a:pt x="291" y="222"/>
                  <a:pt x="242" y="274"/>
                  <a:pt x="176" y="274"/>
                </a:cubicBezTo>
                <a:cubicBezTo>
                  <a:pt x="111" y="274"/>
                  <a:pt x="62" y="222"/>
                  <a:pt x="62" y="154"/>
                </a:cubicBezTo>
                <a:cubicBezTo>
                  <a:pt x="62" y="132"/>
                  <a:pt x="67" y="111"/>
                  <a:pt x="76" y="92"/>
                </a:cubicBezTo>
                <a:cubicBezTo>
                  <a:pt x="88" y="123"/>
                  <a:pt x="88" y="123"/>
                  <a:pt x="88" y="123"/>
                </a:cubicBezTo>
                <a:cubicBezTo>
                  <a:pt x="88" y="123"/>
                  <a:pt x="88" y="123"/>
                  <a:pt x="88" y="123"/>
                </a:cubicBezTo>
                <a:cubicBezTo>
                  <a:pt x="91" y="130"/>
                  <a:pt x="98" y="134"/>
                  <a:pt x="105" y="131"/>
                </a:cubicBezTo>
                <a:cubicBezTo>
                  <a:pt x="112" y="128"/>
                  <a:pt x="115" y="121"/>
                  <a:pt x="113" y="114"/>
                </a:cubicBezTo>
                <a:cubicBezTo>
                  <a:pt x="93" y="60"/>
                  <a:pt x="93" y="60"/>
                  <a:pt x="93" y="60"/>
                </a:cubicBezTo>
                <a:cubicBezTo>
                  <a:pt x="92" y="58"/>
                  <a:pt x="92" y="56"/>
                  <a:pt x="91" y="55"/>
                </a:cubicBezTo>
                <a:cubicBezTo>
                  <a:pt x="88" y="49"/>
                  <a:pt x="81" y="46"/>
                  <a:pt x="75" y="48"/>
                </a:cubicBezTo>
                <a:cubicBezTo>
                  <a:pt x="11" y="67"/>
                  <a:pt x="11" y="67"/>
                  <a:pt x="11" y="67"/>
                </a:cubicBezTo>
                <a:cubicBezTo>
                  <a:pt x="4" y="69"/>
                  <a:pt x="0" y="76"/>
                  <a:pt x="2" y="83"/>
                </a:cubicBezTo>
                <a:cubicBezTo>
                  <a:pt x="4" y="90"/>
                  <a:pt x="11" y="94"/>
                  <a:pt x="18" y="92"/>
                </a:cubicBezTo>
                <a:cubicBezTo>
                  <a:pt x="51" y="83"/>
                  <a:pt x="51" y="83"/>
                  <a:pt x="51" y="83"/>
                </a:cubicBezTo>
                <a:cubicBezTo>
                  <a:pt x="41" y="104"/>
                  <a:pt x="35" y="129"/>
                  <a:pt x="35" y="154"/>
                </a:cubicBezTo>
                <a:cubicBezTo>
                  <a:pt x="35" y="194"/>
                  <a:pt x="50" y="231"/>
                  <a:pt x="76" y="259"/>
                </a:cubicBezTo>
                <a:cubicBezTo>
                  <a:pt x="103" y="286"/>
                  <a:pt x="138" y="300"/>
                  <a:pt x="176" y="300"/>
                </a:cubicBezTo>
                <a:cubicBezTo>
                  <a:pt x="215" y="300"/>
                  <a:pt x="250" y="286"/>
                  <a:pt x="276" y="259"/>
                </a:cubicBezTo>
                <a:cubicBezTo>
                  <a:pt x="303" y="231"/>
                  <a:pt x="318" y="194"/>
                  <a:pt x="318" y="154"/>
                </a:cubicBezTo>
                <a:cubicBezTo>
                  <a:pt x="318" y="69"/>
                  <a:pt x="254" y="0"/>
                  <a:pt x="176" y="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6" name="Freeform 560"/>
          <p:cNvSpPr>
            <a:spLocks/>
          </p:cNvSpPr>
          <p:nvPr userDrawn="1"/>
        </p:nvSpPr>
        <p:spPr bwMode="auto">
          <a:xfrm>
            <a:off x="6186411" y="3798841"/>
            <a:ext cx="189359" cy="386954"/>
          </a:xfrm>
          <a:custGeom>
            <a:avLst/>
            <a:gdLst/>
            <a:ahLst/>
            <a:cxnLst>
              <a:cxn ang="0">
                <a:pos x="98" y="14"/>
              </a:cxn>
              <a:cxn ang="0">
                <a:pos x="98" y="14"/>
              </a:cxn>
              <a:cxn ang="0">
                <a:pos x="111" y="27"/>
              </a:cxn>
              <a:cxn ang="0">
                <a:pos x="168" y="36"/>
              </a:cxn>
              <a:cxn ang="0">
                <a:pos x="111" y="41"/>
              </a:cxn>
              <a:cxn ang="0">
                <a:pos x="44" y="32"/>
              </a:cxn>
              <a:cxn ang="0">
                <a:pos x="39" y="28"/>
              </a:cxn>
              <a:cxn ang="0">
                <a:pos x="25" y="28"/>
              </a:cxn>
              <a:cxn ang="0">
                <a:pos x="18" y="40"/>
              </a:cxn>
              <a:cxn ang="0">
                <a:pos x="14" y="62"/>
              </a:cxn>
              <a:cxn ang="0">
                <a:pos x="12" y="66"/>
              </a:cxn>
              <a:cxn ang="0">
                <a:pos x="0" y="111"/>
              </a:cxn>
              <a:cxn ang="0">
                <a:pos x="0" y="372"/>
              </a:cxn>
              <a:cxn ang="0">
                <a:pos x="0" y="372"/>
              </a:cxn>
              <a:cxn ang="0">
                <a:pos x="0" y="372"/>
              </a:cxn>
              <a:cxn ang="0">
                <a:pos x="22" y="424"/>
              </a:cxn>
              <a:cxn ang="0">
                <a:pos x="110" y="454"/>
              </a:cxn>
              <a:cxn ang="0">
                <a:pos x="200" y="429"/>
              </a:cxn>
              <a:cxn ang="0">
                <a:pos x="223" y="375"/>
              </a:cxn>
              <a:cxn ang="0">
                <a:pos x="223" y="113"/>
              </a:cxn>
              <a:cxn ang="0">
                <a:pos x="209" y="100"/>
              </a:cxn>
              <a:cxn ang="0">
                <a:pos x="196" y="113"/>
              </a:cxn>
              <a:cxn ang="0">
                <a:pos x="196" y="375"/>
              </a:cxn>
              <a:cxn ang="0">
                <a:pos x="182" y="409"/>
              </a:cxn>
              <a:cxn ang="0">
                <a:pos x="112" y="428"/>
              </a:cxn>
              <a:cxn ang="0">
                <a:pos x="110" y="428"/>
              </a:cxn>
              <a:cxn ang="0">
                <a:pos x="42" y="406"/>
              </a:cxn>
              <a:cxn ang="0">
                <a:pos x="27" y="372"/>
              </a:cxn>
              <a:cxn ang="0">
                <a:pos x="27" y="111"/>
              </a:cxn>
              <a:cxn ang="0">
                <a:pos x="35" y="79"/>
              </a:cxn>
              <a:cxn ang="0">
                <a:pos x="37" y="75"/>
              </a:cxn>
              <a:cxn ang="0">
                <a:pos x="43" y="60"/>
              </a:cxn>
              <a:cxn ang="0">
                <a:pos x="111" y="67"/>
              </a:cxn>
              <a:cxn ang="0">
                <a:pos x="171" y="62"/>
              </a:cxn>
              <a:cxn ang="0">
                <a:pos x="205" y="37"/>
              </a:cxn>
              <a:cxn ang="0">
                <a:pos x="111" y="0"/>
              </a:cxn>
              <a:cxn ang="0">
                <a:pos x="98" y="14"/>
              </a:cxn>
            </a:cxnLst>
            <a:rect l="0" t="0" r="r" b="b"/>
            <a:pathLst>
              <a:path w="223" h="458">
                <a:moveTo>
                  <a:pt x="98" y="14"/>
                </a:moveTo>
                <a:cubicBezTo>
                  <a:pt x="98" y="14"/>
                  <a:pt x="98" y="14"/>
                  <a:pt x="98" y="14"/>
                </a:cubicBezTo>
                <a:cubicBezTo>
                  <a:pt x="98" y="21"/>
                  <a:pt x="104" y="27"/>
                  <a:pt x="111" y="27"/>
                </a:cubicBezTo>
                <a:cubicBezTo>
                  <a:pt x="136" y="27"/>
                  <a:pt x="156" y="31"/>
                  <a:pt x="168" y="36"/>
                </a:cubicBezTo>
                <a:cubicBezTo>
                  <a:pt x="156" y="38"/>
                  <a:pt x="137" y="41"/>
                  <a:pt x="111" y="41"/>
                </a:cubicBezTo>
                <a:cubicBezTo>
                  <a:pt x="73" y="41"/>
                  <a:pt x="50" y="35"/>
                  <a:pt x="44" y="32"/>
                </a:cubicBezTo>
                <a:cubicBezTo>
                  <a:pt x="44" y="31"/>
                  <a:pt x="39" y="28"/>
                  <a:pt x="39" y="28"/>
                </a:cubicBezTo>
                <a:cubicBezTo>
                  <a:pt x="35" y="25"/>
                  <a:pt x="30" y="25"/>
                  <a:pt x="25" y="28"/>
                </a:cubicBezTo>
                <a:cubicBezTo>
                  <a:pt x="21" y="30"/>
                  <a:pt x="18" y="35"/>
                  <a:pt x="18" y="40"/>
                </a:cubicBezTo>
                <a:cubicBezTo>
                  <a:pt x="18" y="40"/>
                  <a:pt x="19" y="52"/>
                  <a:pt x="14" y="62"/>
                </a:cubicBezTo>
                <a:cubicBezTo>
                  <a:pt x="12" y="66"/>
                  <a:pt x="12" y="66"/>
                  <a:pt x="12" y="66"/>
                </a:cubicBezTo>
                <a:cubicBezTo>
                  <a:pt x="4" y="79"/>
                  <a:pt x="0" y="88"/>
                  <a:pt x="0" y="111"/>
                </a:cubicBezTo>
                <a:cubicBezTo>
                  <a:pt x="0" y="372"/>
                  <a:pt x="0" y="372"/>
                  <a:pt x="0" y="372"/>
                </a:cubicBezTo>
                <a:cubicBezTo>
                  <a:pt x="0" y="372"/>
                  <a:pt x="0" y="372"/>
                  <a:pt x="0" y="372"/>
                </a:cubicBezTo>
                <a:cubicBezTo>
                  <a:pt x="0" y="372"/>
                  <a:pt x="0" y="372"/>
                  <a:pt x="0" y="372"/>
                </a:cubicBezTo>
                <a:cubicBezTo>
                  <a:pt x="0" y="376"/>
                  <a:pt x="1" y="402"/>
                  <a:pt x="22" y="424"/>
                </a:cubicBezTo>
                <a:cubicBezTo>
                  <a:pt x="42" y="444"/>
                  <a:pt x="71" y="454"/>
                  <a:pt x="110" y="454"/>
                </a:cubicBezTo>
                <a:cubicBezTo>
                  <a:pt x="114" y="454"/>
                  <a:pt x="168" y="458"/>
                  <a:pt x="200" y="429"/>
                </a:cubicBezTo>
                <a:cubicBezTo>
                  <a:pt x="215" y="415"/>
                  <a:pt x="223" y="397"/>
                  <a:pt x="223" y="375"/>
                </a:cubicBezTo>
                <a:cubicBezTo>
                  <a:pt x="223" y="113"/>
                  <a:pt x="223" y="113"/>
                  <a:pt x="223" y="113"/>
                </a:cubicBezTo>
                <a:cubicBezTo>
                  <a:pt x="223" y="106"/>
                  <a:pt x="217" y="100"/>
                  <a:pt x="209" y="100"/>
                </a:cubicBezTo>
                <a:cubicBezTo>
                  <a:pt x="202" y="100"/>
                  <a:pt x="196" y="106"/>
                  <a:pt x="196" y="113"/>
                </a:cubicBezTo>
                <a:cubicBezTo>
                  <a:pt x="196" y="375"/>
                  <a:pt x="196" y="375"/>
                  <a:pt x="196" y="375"/>
                </a:cubicBezTo>
                <a:cubicBezTo>
                  <a:pt x="196" y="389"/>
                  <a:pt x="192" y="401"/>
                  <a:pt x="182" y="409"/>
                </a:cubicBezTo>
                <a:cubicBezTo>
                  <a:pt x="158" y="431"/>
                  <a:pt x="112" y="428"/>
                  <a:pt x="112" y="428"/>
                </a:cubicBezTo>
                <a:cubicBezTo>
                  <a:pt x="111" y="428"/>
                  <a:pt x="111" y="428"/>
                  <a:pt x="110" y="428"/>
                </a:cubicBezTo>
                <a:cubicBezTo>
                  <a:pt x="79" y="428"/>
                  <a:pt x="56" y="420"/>
                  <a:pt x="42" y="406"/>
                </a:cubicBezTo>
                <a:cubicBezTo>
                  <a:pt x="27" y="391"/>
                  <a:pt x="27" y="373"/>
                  <a:pt x="27" y="372"/>
                </a:cubicBezTo>
                <a:cubicBezTo>
                  <a:pt x="27" y="372"/>
                  <a:pt x="27" y="111"/>
                  <a:pt x="27" y="111"/>
                </a:cubicBezTo>
                <a:cubicBezTo>
                  <a:pt x="27" y="94"/>
                  <a:pt x="29" y="89"/>
                  <a:pt x="35" y="79"/>
                </a:cubicBezTo>
                <a:cubicBezTo>
                  <a:pt x="37" y="75"/>
                  <a:pt x="37" y="75"/>
                  <a:pt x="37" y="75"/>
                </a:cubicBezTo>
                <a:cubicBezTo>
                  <a:pt x="40" y="70"/>
                  <a:pt x="42" y="65"/>
                  <a:pt x="43" y="60"/>
                </a:cubicBezTo>
                <a:cubicBezTo>
                  <a:pt x="59" y="65"/>
                  <a:pt x="83" y="67"/>
                  <a:pt x="111" y="67"/>
                </a:cubicBezTo>
                <a:cubicBezTo>
                  <a:pt x="134" y="67"/>
                  <a:pt x="155" y="66"/>
                  <a:pt x="171" y="62"/>
                </a:cubicBezTo>
                <a:cubicBezTo>
                  <a:pt x="180" y="60"/>
                  <a:pt x="205" y="55"/>
                  <a:pt x="205" y="37"/>
                </a:cubicBezTo>
                <a:cubicBezTo>
                  <a:pt x="205" y="12"/>
                  <a:pt x="150" y="0"/>
                  <a:pt x="111" y="0"/>
                </a:cubicBezTo>
                <a:cubicBezTo>
                  <a:pt x="104" y="0"/>
                  <a:pt x="98" y="6"/>
                  <a:pt x="98" y="1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7" name="Freeform 580"/>
          <p:cNvSpPr>
            <a:spLocks/>
          </p:cNvSpPr>
          <p:nvPr userDrawn="1"/>
        </p:nvSpPr>
        <p:spPr bwMode="auto">
          <a:xfrm>
            <a:off x="6094709" y="2766757"/>
            <a:ext cx="372763" cy="371475"/>
          </a:xfrm>
          <a:custGeom>
            <a:avLst/>
            <a:gdLst/>
            <a:ahLst/>
            <a:cxnLst>
              <a:cxn ang="0">
                <a:pos x="415" y="114"/>
              </a:cxn>
              <a:cxn ang="0">
                <a:pos x="387" y="114"/>
              </a:cxn>
              <a:cxn ang="0">
                <a:pos x="415" y="60"/>
              </a:cxn>
              <a:cxn ang="0">
                <a:pos x="295" y="60"/>
              </a:cxn>
              <a:cxn ang="0">
                <a:pos x="334" y="104"/>
              </a:cxn>
              <a:cxn ang="0">
                <a:pos x="320" y="60"/>
              </a:cxn>
              <a:cxn ang="0">
                <a:pos x="389" y="60"/>
              </a:cxn>
              <a:cxn ang="0">
                <a:pos x="365" y="93"/>
              </a:cxn>
              <a:cxn ang="0">
                <a:pos x="363" y="94"/>
              </a:cxn>
              <a:cxn ang="0">
                <a:pos x="361" y="95"/>
              </a:cxn>
              <a:cxn ang="0">
                <a:pos x="360" y="97"/>
              </a:cxn>
              <a:cxn ang="0">
                <a:pos x="359" y="99"/>
              </a:cxn>
              <a:cxn ang="0">
                <a:pos x="358" y="102"/>
              </a:cxn>
              <a:cxn ang="0">
                <a:pos x="358" y="104"/>
              </a:cxn>
              <a:cxn ang="0">
                <a:pos x="358" y="107"/>
              </a:cxn>
              <a:cxn ang="0">
                <a:pos x="365" y="130"/>
              </a:cxn>
              <a:cxn ang="0">
                <a:pos x="409" y="139"/>
              </a:cxn>
              <a:cxn ang="0">
                <a:pos x="415" y="143"/>
              </a:cxn>
              <a:cxn ang="0">
                <a:pos x="382" y="413"/>
              </a:cxn>
              <a:cxn ang="0">
                <a:pos x="399" y="203"/>
              </a:cxn>
              <a:cxn ang="0">
                <a:pos x="353" y="132"/>
              </a:cxn>
              <a:cxn ang="0">
                <a:pos x="351" y="131"/>
              </a:cxn>
              <a:cxn ang="0">
                <a:pos x="349" y="129"/>
              </a:cxn>
              <a:cxn ang="0">
                <a:pos x="347" y="128"/>
              </a:cxn>
              <a:cxn ang="0">
                <a:pos x="345" y="127"/>
              </a:cxn>
              <a:cxn ang="0">
                <a:pos x="342" y="127"/>
              </a:cxn>
              <a:cxn ang="0">
                <a:pos x="316" y="131"/>
              </a:cxn>
              <a:cxn ang="0">
                <a:pos x="191" y="154"/>
              </a:cxn>
              <a:cxn ang="0">
                <a:pos x="202" y="413"/>
              </a:cxn>
              <a:cxn ang="0">
                <a:pos x="0" y="426"/>
              </a:cxn>
              <a:cxn ang="0">
                <a:pos x="216" y="439"/>
              </a:cxn>
              <a:cxn ang="0">
                <a:pos x="228" y="425"/>
              </a:cxn>
              <a:cxn ang="0">
                <a:pos x="337" y="153"/>
              </a:cxn>
              <a:cxn ang="0">
                <a:pos x="347" y="425"/>
              </a:cxn>
              <a:cxn ang="0">
                <a:pos x="360" y="439"/>
              </a:cxn>
              <a:cxn ang="0">
                <a:pos x="394" y="439"/>
              </a:cxn>
              <a:cxn ang="0">
                <a:pos x="396" y="438"/>
              </a:cxn>
              <a:cxn ang="0">
                <a:pos x="398" y="438"/>
              </a:cxn>
              <a:cxn ang="0">
                <a:pos x="400" y="437"/>
              </a:cxn>
              <a:cxn ang="0">
                <a:pos x="402" y="435"/>
              </a:cxn>
              <a:cxn ang="0">
                <a:pos x="404" y="433"/>
              </a:cxn>
              <a:cxn ang="0">
                <a:pos x="405" y="431"/>
              </a:cxn>
              <a:cxn ang="0">
                <a:pos x="406" y="429"/>
              </a:cxn>
              <a:cxn ang="0">
                <a:pos x="406" y="427"/>
              </a:cxn>
              <a:cxn ang="0">
                <a:pos x="440" y="146"/>
              </a:cxn>
              <a:cxn ang="0">
                <a:pos x="440" y="143"/>
              </a:cxn>
            </a:cxnLst>
            <a:rect l="0" t="0" r="r" b="b"/>
            <a:pathLst>
              <a:path w="440" h="439">
                <a:moveTo>
                  <a:pt x="440" y="143"/>
                </a:moveTo>
                <a:cubicBezTo>
                  <a:pt x="440" y="128"/>
                  <a:pt x="429" y="116"/>
                  <a:pt x="415" y="114"/>
                </a:cubicBezTo>
                <a:cubicBezTo>
                  <a:pt x="414" y="114"/>
                  <a:pt x="413" y="114"/>
                  <a:pt x="411" y="114"/>
                </a:cubicBezTo>
                <a:cubicBezTo>
                  <a:pt x="387" y="114"/>
                  <a:pt x="387" y="114"/>
                  <a:pt x="387" y="114"/>
                </a:cubicBezTo>
                <a:cubicBezTo>
                  <a:pt x="386" y="111"/>
                  <a:pt x="386" y="111"/>
                  <a:pt x="386" y="111"/>
                </a:cubicBezTo>
                <a:cubicBezTo>
                  <a:pt x="403" y="100"/>
                  <a:pt x="415" y="81"/>
                  <a:pt x="415" y="60"/>
                </a:cubicBezTo>
                <a:cubicBezTo>
                  <a:pt x="415" y="27"/>
                  <a:pt x="388" y="0"/>
                  <a:pt x="355" y="0"/>
                </a:cubicBezTo>
                <a:cubicBezTo>
                  <a:pt x="322" y="0"/>
                  <a:pt x="295" y="27"/>
                  <a:pt x="295" y="60"/>
                </a:cubicBezTo>
                <a:cubicBezTo>
                  <a:pt x="295" y="78"/>
                  <a:pt x="303" y="95"/>
                  <a:pt x="317" y="106"/>
                </a:cubicBezTo>
                <a:cubicBezTo>
                  <a:pt x="322" y="110"/>
                  <a:pt x="330" y="109"/>
                  <a:pt x="334" y="104"/>
                </a:cubicBezTo>
                <a:cubicBezTo>
                  <a:pt x="339" y="99"/>
                  <a:pt x="338" y="91"/>
                  <a:pt x="333" y="86"/>
                </a:cubicBezTo>
                <a:cubicBezTo>
                  <a:pt x="325" y="80"/>
                  <a:pt x="320" y="70"/>
                  <a:pt x="320" y="60"/>
                </a:cubicBezTo>
                <a:cubicBezTo>
                  <a:pt x="320" y="40"/>
                  <a:pt x="336" y="25"/>
                  <a:pt x="355" y="25"/>
                </a:cubicBezTo>
                <a:cubicBezTo>
                  <a:pt x="374" y="25"/>
                  <a:pt x="389" y="40"/>
                  <a:pt x="389" y="60"/>
                </a:cubicBezTo>
                <a:cubicBezTo>
                  <a:pt x="389" y="75"/>
                  <a:pt x="380" y="87"/>
                  <a:pt x="366" y="92"/>
                </a:cubicBezTo>
                <a:cubicBezTo>
                  <a:pt x="366" y="92"/>
                  <a:pt x="366" y="93"/>
                  <a:pt x="365" y="93"/>
                </a:cubicBezTo>
                <a:cubicBezTo>
                  <a:pt x="365" y="93"/>
                  <a:pt x="365" y="93"/>
                  <a:pt x="364" y="93"/>
                </a:cubicBezTo>
                <a:cubicBezTo>
                  <a:pt x="364" y="93"/>
                  <a:pt x="364" y="94"/>
                  <a:pt x="363" y="94"/>
                </a:cubicBezTo>
                <a:cubicBezTo>
                  <a:pt x="363" y="94"/>
                  <a:pt x="362" y="94"/>
                  <a:pt x="362" y="95"/>
                </a:cubicBezTo>
                <a:cubicBezTo>
                  <a:pt x="362" y="95"/>
                  <a:pt x="362" y="95"/>
                  <a:pt x="361" y="95"/>
                </a:cubicBezTo>
                <a:cubicBezTo>
                  <a:pt x="361" y="96"/>
                  <a:pt x="361" y="96"/>
                  <a:pt x="360" y="96"/>
                </a:cubicBezTo>
                <a:cubicBezTo>
                  <a:pt x="360" y="97"/>
                  <a:pt x="360" y="97"/>
                  <a:pt x="360" y="97"/>
                </a:cubicBezTo>
                <a:cubicBezTo>
                  <a:pt x="360" y="98"/>
                  <a:pt x="359" y="98"/>
                  <a:pt x="359" y="99"/>
                </a:cubicBezTo>
                <a:cubicBezTo>
                  <a:pt x="359" y="99"/>
                  <a:pt x="359" y="99"/>
                  <a:pt x="359" y="99"/>
                </a:cubicBezTo>
                <a:cubicBezTo>
                  <a:pt x="359" y="100"/>
                  <a:pt x="358" y="100"/>
                  <a:pt x="358" y="101"/>
                </a:cubicBezTo>
                <a:cubicBezTo>
                  <a:pt x="358" y="101"/>
                  <a:pt x="358" y="101"/>
                  <a:pt x="358" y="102"/>
                </a:cubicBezTo>
                <a:cubicBezTo>
                  <a:pt x="358" y="102"/>
                  <a:pt x="358" y="103"/>
                  <a:pt x="358" y="103"/>
                </a:cubicBezTo>
                <a:cubicBezTo>
                  <a:pt x="358" y="103"/>
                  <a:pt x="358" y="104"/>
                  <a:pt x="358" y="104"/>
                </a:cubicBezTo>
                <a:cubicBezTo>
                  <a:pt x="358" y="105"/>
                  <a:pt x="358" y="105"/>
                  <a:pt x="358" y="106"/>
                </a:cubicBezTo>
                <a:cubicBezTo>
                  <a:pt x="358" y="106"/>
                  <a:pt x="358" y="106"/>
                  <a:pt x="358" y="107"/>
                </a:cubicBezTo>
                <a:cubicBezTo>
                  <a:pt x="358" y="107"/>
                  <a:pt x="358" y="107"/>
                  <a:pt x="358" y="108"/>
                </a:cubicBezTo>
                <a:cubicBezTo>
                  <a:pt x="365" y="130"/>
                  <a:pt x="365" y="130"/>
                  <a:pt x="365" y="130"/>
                </a:cubicBezTo>
                <a:cubicBezTo>
                  <a:pt x="367" y="135"/>
                  <a:pt x="372" y="139"/>
                  <a:pt x="377" y="139"/>
                </a:cubicBezTo>
                <a:cubicBezTo>
                  <a:pt x="409" y="139"/>
                  <a:pt x="409" y="139"/>
                  <a:pt x="409" y="139"/>
                </a:cubicBezTo>
                <a:cubicBezTo>
                  <a:pt x="410" y="139"/>
                  <a:pt x="411" y="139"/>
                  <a:pt x="411" y="139"/>
                </a:cubicBezTo>
                <a:cubicBezTo>
                  <a:pt x="413" y="139"/>
                  <a:pt x="415" y="141"/>
                  <a:pt x="415" y="143"/>
                </a:cubicBezTo>
                <a:cubicBezTo>
                  <a:pt x="415" y="143"/>
                  <a:pt x="415" y="143"/>
                  <a:pt x="415" y="144"/>
                </a:cubicBezTo>
                <a:cubicBezTo>
                  <a:pt x="382" y="413"/>
                  <a:pt x="382" y="413"/>
                  <a:pt x="382" y="413"/>
                </a:cubicBezTo>
                <a:cubicBezTo>
                  <a:pt x="374" y="413"/>
                  <a:pt x="374" y="413"/>
                  <a:pt x="374" y="413"/>
                </a:cubicBezTo>
                <a:cubicBezTo>
                  <a:pt x="399" y="203"/>
                  <a:pt x="399" y="203"/>
                  <a:pt x="399" y="203"/>
                </a:cubicBezTo>
                <a:cubicBezTo>
                  <a:pt x="399" y="199"/>
                  <a:pt x="398" y="196"/>
                  <a:pt x="396" y="194"/>
                </a:cubicBezTo>
                <a:cubicBezTo>
                  <a:pt x="353" y="132"/>
                  <a:pt x="353" y="132"/>
                  <a:pt x="353" y="132"/>
                </a:cubicBezTo>
                <a:cubicBezTo>
                  <a:pt x="352" y="132"/>
                  <a:pt x="352" y="131"/>
                  <a:pt x="351" y="131"/>
                </a:cubicBezTo>
                <a:cubicBezTo>
                  <a:pt x="351" y="131"/>
                  <a:pt x="351" y="131"/>
                  <a:pt x="351" y="131"/>
                </a:cubicBezTo>
                <a:cubicBezTo>
                  <a:pt x="351" y="130"/>
                  <a:pt x="350" y="130"/>
                  <a:pt x="350" y="129"/>
                </a:cubicBezTo>
                <a:cubicBezTo>
                  <a:pt x="349" y="129"/>
                  <a:pt x="349" y="129"/>
                  <a:pt x="349" y="129"/>
                </a:cubicBezTo>
                <a:cubicBezTo>
                  <a:pt x="349" y="129"/>
                  <a:pt x="348" y="128"/>
                  <a:pt x="348" y="128"/>
                </a:cubicBezTo>
                <a:cubicBezTo>
                  <a:pt x="347" y="128"/>
                  <a:pt x="347" y="128"/>
                  <a:pt x="347" y="128"/>
                </a:cubicBezTo>
                <a:cubicBezTo>
                  <a:pt x="347" y="128"/>
                  <a:pt x="346" y="127"/>
                  <a:pt x="345" y="127"/>
                </a:cubicBezTo>
                <a:cubicBezTo>
                  <a:pt x="345" y="127"/>
                  <a:pt x="345" y="127"/>
                  <a:pt x="345" y="127"/>
                </a:cubicBezTo>
                <a:cubicBezTo>
                  <a:pt x="344" y="127"/>
                  <a:pt x="344" y="127"/>
                  <a:pt x="343" y="127"/>
                </a:cubicBezTo>
                <a:cubicBezTo>
                  <a:pt x="343" y="127"/>
                  <a:pt x="343" y="127"/>
                  <a:pt x="342" y="127"/>
                </a:cubicBezTo>
                <a:cubicBezTo>
                  <a:pt x="342" y="127"/>
                  <a:pt x="341" y="127"/>
                  <a:pt x="340" y="127"/>
                </a:cubicBezTo>
                <a:cubicBezTo>
                  <a:pt x="316" y="131"/>
                  <a:pt x="316" y="131"/>
                  <a:pt x="316" y="131"/>
                </a:cubicBezTo>
                <a:cubicBezTo>
                  <a:pt x="316" y="131"/>
                  <a:pt x="316" y="131"/>
                  <a:pt x="316" y="131"/>
                </a:cubicBezTo>
                <a:cubicBezTo>
                  <a:pt x="191" y="154"/>
                  <a:pt x="191" y="154"/>
                  <a:pt x="191" y="154"/>
                </a:cubicBezTo>
                <a:cubicBezTo>
                  <a:pt x="184" y="156"/>
                  <a:pt x="180" y="161"/>
                  <a:pt x="181" y="168"/>
                </a:cubicBezTo>
                <a:cubicBezTo>
                  <a:pt x="202" y="413"/>
                  <a:pt x="202" y="413"/>
                  <a:pt x="202" y="413"/>
                </a:cubicBezTo>
                <a:cubicBezTo>
                  <a:pt x="12" y="413"/>
                  <a:pt x="12" y="413"/>
                  <a:pt x="12" y="413"/>
                </a:cubicBezTo>
                <a:cubicBezTo>
                  <a:pt x="6" y="413"/>
                  <a:pt x="0" y="419"/>
                  <a:pt x="0" y="426"/>
                </a:cubicBezTo>
                <a:cubicBezTo>
                  <a:pt x="0" y="433"/>
                  <a:pt x="6" y="439"/>
                  <a:pt x="12" y="439"/>
                </a:cubicBezTo>
                <a:cubicBezTo>
                  <a:pt x="216" y="439"/>
                  <a:pt x="216" y="439"/>
                  <a:pt x="216" y="439"/>
                </a:cubicBezTo>
                <a:cubicBezTo>
                  <a:pt x="219" y="439"/>
                  <a:pt x="223" y="437"/>
                  <a:pt x="225" y="434"/>
                </a:cubicBezTo>
                <a:cubicBezTo>
                  <a:pt x="228" y="432"/>
                  <a:pt x="229" y="428"/>
                  <a:pt x="228" y="425"/>
                </a:cubicBezTo>
                <a:cubicBezTo>
                  <a:pt x="207" y="177"/>
                  <a:pt x="207" y="177"/>
                  <a:pt x="207" y="177"/>
                </a:cubicBezTo>
                <a:cubicBezTo>
                  <a:pt x="337" y="153"/>
                  <a:pt x="337" y="153"/>
                  <a:pt x="337" y="153"/>
                </a:cubicBezTo>
                <a:cubicBezTo>
                  <a:pt x="373" y="204"/>
                  <a:pt x="373" y="204"/>
                  <a:pt x="373" y="204"/>
                </a:cubicBezTo>
                <a:cubicBezTo>
                  <a:pt x="347" y="425"/>
                  <a:pt x="347" y="425"/>
                  <a:pt x="347" y="425"/>
                </a:cubicBezTo>
                <a:cubicBezTo>
                  <a:pt x="347" y="428"/>
                  <a:pt x="348" y="432"/>
                  <a:pt x="350" y="434"/>
                </a:cubicBezTo>
                <a:cubicBezTo>
                  <a:pt x="353" y="437"/>
                  <a:pt x="356" y="439"/>
                  <a:pt x="360" y="439"/>
                </a:cubicBezTo>
                <a:cubicBezTo>
                  <a:pt x="393" y="439"/>
                  <a:pt x="393" y="439"/>
                  <a:pt x="393" y="439"/>
                </a:cubicBezTo>
                <a:cubicBezTo>
                  <a:pt x="393" y="439"/>
                  <a:pt x="393" y="439"/>
                  <a:pt x="394" y="439"/>
                </a:cubicBezTo>
                <a:cubicBezTo>
                  <a:pt x="394" y="439"/>
                  <a:pt x="394" y="439"/>
                  <a:pt x="394" y="439"/>
                </a:cubicBezTo>
                <a:cubicBezTo>
                  <a:pt x="394" y="439"/>
                  <a:pt x="395" y="438"/>
                  <a:pt x="396" y="438"/>
                </a:cubicBezTo>
                <a:cubicBezTo>
                  <a:pt x="396" y="438"/>
                  <a:pt x="396" y="438"/>
                  <a:pt x="397" y="438"/>
                </a:cubicBezTo>
                <a:cubicBezTo>
                  <a:pt x="397" y="438"/>
                  <a:pt x="398" y="438"/>
                  <a:pt x="398" y="438"/>
                </a:cubicBezTo>
                <a:cubicBezTo>
                  <a:pt x="398" y="438"/>
                  <a:pt x="399" y="437"/>
                  <a:pt x="399" y="437"/>
                </a:cubicBezTo>
                <a:cubicBezTo>
                  <a:pt x="399" y="437"/>
                  <a:pt x="400" y="437"/>
                  <a:pt x="400" y="437"/>
                </a:cubicBezTo>
                <a:cubicBezTo>
                  <a:pt x="401" y="436"/>
                  <a:pt x="401" y="436"/>
                  <a:pt x="401" y="436"/>
                </a:cubicBezTo>
                <a:cubicBezTo>
                  <a:pt x="401" y="436"/>
                  <a:pt x="402" y="435"/>
                  <a:pt x="402" y="435"/>
                </a:cubicBezTo>
                <a:cubicBezTo>
                  <a:pt x="402" y="435"/>
                  <a:pt x="403" y="435"/>
                  <a:pt x="403" y="434"/>
                </a:cubicBezTo>
                <a:cubicBezTo>
                  <a:pt x="403" y="434"/>
                  <a:pt x="403" y="434"/>
                  <a:pt x="404" y="433"/>
                </a:cubicBezTo>
                <a:cubicBezTo>
                  <a:pt x="404" y="433"/>
                  <a:pt x="404" y="433"/>
                  <a:pt x="404" y="433"/>
                </a:cubicBezTo>
                <a:cubicBezTo>
                  <a:pt x="404" y="432"/>
                  <a:pt x="405" y="432"/>
                  <a:pt x="405" y="431"/>
                </a:cubicBezTo>
                <a:cubicBezTo>
                  <a:pt x="405" y="431"/>
                  <a:pt x="405" y="431"/>
                  <a:pt x="405" y="430"/>
                </a:cubicBezTo>
                <a:cubicBezTo>
                  <a:pt x="405" y="430"/>
                  <a:pt x="406" y="430"/>
                  <a:pt x="406" y="429"/>
                </a:cubicBezTo>
                <a:cubicBezTo>
                  <a:pt x="406" y="429"/>
                  <a:pt x="406" y="428"/>
                  <a:pt x="406" y="428"/>
                </a:cubicBezTo>
                <a:cubicBezTo>
                  <a:pt x="406" y="428"/>
                  <a:pt x="406" y="428"/>
                  <a:pt x="406" y="427"/>
                </a:cubicBezTo>
                <a:cubicBezTo>
                  <a:pt x="440" y="147"/>
                  <a:pt x="440" y="147"/>
                  <a:pt x="440" y="147"/>
                </a:cubicBezTo>
                <a:cubicBezTo>
                  <a:pt x="440" y="147"/>
                  <a:pt x="440" y="147"/>
                  <a:pt x="440" y="146"/>
                </a:cubicBezTo>
                <a:cubicBezTo>
                  <a:pt x="440" y="146"/>
                  <a:pt x="440" y="145"/>
                  <a:pt x="440" y="144"/>
                </a:cubicBezTo>
                <a:cubicBezTo>
                  <a:pt x="440" y="144"/>
                  <a:pt x="440" y="144"/>
                  <a:pt x="440" y="14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8" name="Freeform 159"/>
          <p:cNvSpPr>
            <a:spLocks/>
          </p:cNvSpPr>
          <p:nvPr userDrawn="1"/>
        </p:nvSpPr>
        <p:spPr bwMode="auto">
          <a:xfrm>
            <a:off x="1309266" y="874219"/>
            <a:ext cx="533539" cy="384572"/>
          </a:xfrm>
          <a:custGeom>
            <a:avLst/>
            <a:gdLst/>
            <a:ahLst/>
            <a:cxnLst>
              <a:cxn ang="0">
                <a:pos x="218" y="426"/>
              </a:cxn>
              <a:cxn ang="0">
                <a:pos x="411" y="426"/>
              </a:cxn>
              <a:cxn ang="0">
                <a:pos x="354" y="398"/>
              </a:cxn>
              <a:cxn ang="0">
                <a:pos x="322" y="381"/>
              </a:cxn>
              <a:cxn ang="0">
                <a:pos x="322" y="15"/>
              </a:cxn>
              <a:cxn ang="0">
                <a:pos x="337" y="0"/>
              </a:cxn>
              <a:cxn ang="0">
                <a:pos x="514" y="0"/>
              </a:cxn>
              <a:cxn ang="0">
                <a:pos x="527" y="21"/>
              </a:cxn>
              <a:cxn ang="0">
                <a:pos x="437" y="256"/>
              </a:cxn>
              <a:cxn ang="0">
                <a:pos x="517" y="277"/>
              </a:cxn>
              <a:cxn ang="0">
                <a:pos x="597" y="250"/>
              </a:cxn>
              <a:cxn ang="0">
                <a:pos x="526" y="75"/>
              </a:cxn>
              <a:cxn ang="0">
                <a:pos x="552" y="61"/>
              </a:cxn>
              <a:cxn ang="0">
                <a:pos x="628" y="245"/>
              </a:cxn>
              <a:cxn ang="0">
                <a:pos x="627" y="261"/>
              </a:cxn>
              <a:cxn ang="0">
                <a:pos x="517" y="306"/>
              </a:cxn>
              <a:cxn ang="0">
                <a:pos x="435" y="288"/>
              </a:cxn>
              <a:cxn ang="0">
                <a:pos x="406" y="253"/>
              </a:cxn>
              <a:cxn ang="0">
                <a:pos x="491" y="29"/>
              </a:cxn>
              <a:cxn ang="0">
                <a:pos x="351" y="29"/>
              </a:cxn>
              <a:cxn ang="0">
                <a:pos x="351" y="368"/>
              </a:cxn>
              <a:cxn ang="0">
                <a:pos x="436" y="410"/>
              </a:cxn>
              <a:cxn ang="0">
                <a:pos x="441" y="456"/>
              </a:cxn>
              <a:cxn ang="0">
                <a:pos x="189" y="456"/>
              </a:cxn>
              <a:cxn ang="0">
                <a:pos x="193" y="410"/>
              </a:cxn>
              <a:cxn ang="0">
                <a:pos x="278" y="368"/>
              </a:cxn>
              <a:cxn ang="0">
                <a:pos x="278" y="29"/>
              </a:cxn>
              <a:cxn ang="0">
                <a:pos x="139" y="29"/>
              </a:cxn>
              <a:cxn ang="0">
                <a:pos x="224" y="253"/>
              </a:cxn>
              <a:cxn ang="0">
                <a:pos x="194" y="288"/>
              </a:cxn>
              <a:cxn ang="0">
                <a:pos x="112" y="306"/>
              </a:cxn>
              <a:cxn ang="0">
                <a:pos x="3" y="261"/>
              </a:cxn>
              <a:cxn ang="0">
                <a:pos x="2" y="245"/>
              </a:cxn>
              <a:cxn ang="0">
                <a:pos x="78" y="61"/>
              </a:cxn>
              <a:cxn ang="0">
                <a:pos x="103" y="75"/>
              </a:cxn>
              <a:cxn ang="0">
                <a:pos x="33" y="250"/>
              </a:cxn>
              <a:cxn ang="0">
                <a:pos x="112" y="277"/>
              </a:cxn>
              <a:cxn ang="0">
                <a:pos x="192" y="256"/>
              </a:cxn>
              <a:cxn ang="0">
                <a:pos x="102" y="21"/>
              </a:cxn>
              <a:cxn ang="0">
                <a:pos x="115" y="0"/>
              </a:cxn>
              <a:cxn ang="0">
                <a:pos x="293" y="0"/>
              </a:cxn>
              <a:cxn ang="0">
                <a:pos x="307" y="15"/>
              </a:cxn>
              <a:cxn ang="0">
                <a:pos x="307" y="381"/>
              </a:cxn>
              <a:cxn ang="0">
                <a:pos x="275" y="398"/>
              </a:cxn>
              <a:cxn ang="0">
                <a:pos x="218" y="426"/>
              </a:cxn>
            </a:cxnLst>
            <a:rect l="0" t="0" r="r" b="b"/>
            <a:pathLst>
              <a:path w="630" h="456">
                <a:moveTo>
                  <a:pt x="218" y="426"/>
                </a:moveTo>
                <a:cubicBezTo>
                  <a:pt x="411" y="426"/>
                  <a:pt x="411" y="426"/>
                  <a:pt x="411" y="426"/>
                </a:cubicBezTo>
                <a:cubicBezTo>
                  <a:pt x="392" y="406"/>
                  <a:pt x="370" y="399"/>
                  <a:pt x="354" y="398"/>
                </a:cubicBezTo>
                <a:cubicBezTo>
                  <a:pt x="343" y="397"/>
                  <a:pt x="322" y="398"/>
                  <a:pt x="322" y="381"/>
                </a:cubicBezTo>
                <a:cubicBezTo>
                  <a:pt x="322" y="15"/>
                  <a:pt x="322" y="15"/>
                  <a:pt x="322" y="15"/>
                </a:cubicBezTo>
                <a:cubicBezTo>
                  <a:pt x="322" y="7"/>
                  <a:pt x="329" y="0"/>
                  <a:pt x="337" y="0"/>
                </a:cubicBezTo>
                <a:cubicBezTo>
                  <a:pt x="514" y="0"/>
                  <a:pt x="514" y="0"/>
                  <a:pt x="514" y="0"/>
                </a:cubicBezTo>
                <a:cubicBezTo>
                  <a:pt x="527" y="0"/>
                  <a:pt x="533" y="10"/>
                  <a:pt x="527" y="21"/>
                </a:cubicBezTo>
                <a:cubicBezTo>
                  <a:pt x="437" y="256"/>
                  <a:pt x="437" y="256"/>
                  <a:pt x="437" y="256"/>
                </a:cubicBezTo>
                <a:cubicBezTo>
                  <a:pt x="460" y="271"/>
                  <a:pt x="490" y="277"/>
                  <a:pt x="517" y="277"/>
                </a:cubicBezTo>
                <a:cubicBezTo>
                  <a:pt x="545" y="277"/>
                  <a:pt x="575" y="269"/>
                  <a:pt x="597" y="250"/>
                </a:cubicBezTo>
                <a:cubicBezTo>
                  <a:pt x="526" y="75"/>
                  <a:pt x="526" y="75"/>
                  <a:pt x="526" y="75"/>
                </a:cubicBezTo>
                <a:cubicBezTo>
                  <a:pt x="516" y="58"/>
                  <a:pt x="542" y="44"/>
                  <a:pt x="552" y="61"/>
                </a:cubicBezTo>
                <a:cubicBezTo>
                  <a:pt x="628" y="245"/>
                  <a:pt x="628" y="245"/>
                  <a:pt x="628" y="245"/>
                </a:cubicBezTo>
                <a:cubicBezTo>
                  <a:pt x="630" y="249"/>
                  <a:pt x="629" y="258"/>
                  <a:pt x="627" y="261"/>
                </a:cubicBezTo>
                <a:cubicBezTo>
                  <a:pt x="604" y="293"/>
                  <a:pt x="552" y="306"/>
                  <a:pt x="517" y="306"/>
                </a:cubicBezTo>
                <a:cubicBezTo>
                  <a:pt x="480" y="306"/>
                  <a:pt x="453" y="297"/>
                  <a:pt x="435" y="288"/>
                </a:cubicBezTo>
                <a:cubicBezTo>
                  <a:pt x="425" y="283"/>
                  <a:pt x="398" y="269"/>
                  <a:pt x="406" y="253"/>
                </a:cubicBezTo>
                <a:cubicBezTo>
                  <a:pt x="491" y="29"/>
                  <a:pt x="491" y="29"/>
                  <a:pt x="491" y="29"/>
                </a:cubicBezTo>
                <a:cubicBezTo>
                  <a:pt x="351" y="29"/>
                  <a:pt x="351" y="29"/>
                  <a:pt x="351" y="29"/>
                </a:cubicBezTo>
                <a:cubicBezTo>
                  <a:pt x="351" y="368"/>
                  <a:pt x="351" y="368"/>
                  <a:pt x="351" y="368"/>
                </a:cubicBezTo>
                <a:cubicBezTo>
                  <a:pt x="396" y="375"/>
                  <a:pt x="423" y="395"/>
                  <a:pt x="436" y="410"/>
                </a:cubicBezTo>
                <a:cubicBezTo>
                  <a:pt x="442" y="418"/>
                  <a:pt x="475" y="456"/>
                  <a:pt x="441" y="456"/>
                </a:cubicBezTo>
                <a:cubicBezTo>
                  <a:pt x="189" y="456"/>
                  <a:pt x="189" y="456"/>
                  <a:pt x="189" y="456"/>
                </a:cubicBezTo>
                <a:cubicBezTo>
                  <a:pt x="155" y="456"/>
                  <a:pt x="186" y="417"/>
                  <a:pt x="193" y="410"/>
                </a:cubicBezTo>
                <a:cubicBezTo>
                  <a:pt x="211" y="394"/>
                  <a:pt x="242" y="373"/>
                  <a:pt x="278" y="368"/>
                </a:cubicBezTo>
                <a:cubicBezTo>
                  <a:pt x="278" y="29"/>
                  <a:pt x="278" y="29"/>
                  <a:pt x="278" y="29"/>
                </a:cubicBezTo>
                <a:cubicBezTo>
                  <a:pt x="139" y="29"/>
                  <a:pt x="139" y="29"/>
                  <a:pt x="139" y="29"/>
                </a:cubicBezTo>
                <a:cubicBezTo>
                  <a:pt x="224" y="253"/>
                  <a:pt x="224" y="253"/>
                  <a:pt x="224" y="253"/>
                </a:cubicBezTo>
                <a:cubicBezTo>
                  <a:pt x="232" y="269"/>
                  <a:pt x="204" y="283"/>
                  <a:pt x="194" y="288"/>
                </a:cubicBezTo>
                <a:cubicBezTo>
                  <a:pt x="176" y="297"/>
                  <a:pt x="149" y="306"/>
                  <a:pt x="112" y="306"/>
                </a:cubicBezTo>
                <a:cubicBezTo>
                  <a:pt x="77" y="306"/>
                  <a:pt x="25" y="293"/>
                  <a:pt x="3" y="261"/>
                </a:cubicBezTo>
                <a:cubicBezTo>
                  <a:pt x="0" y="258"/>
                  <a:pt x="0" y="249"/>
                  <a:pt x="2" y="245"/>
                </a:cubicBezTo>
                <a:cubicBezTo>
                  <a:pt x="78" y="61"/>
                  <a:pt x="78" y="61"/>
                  <a:pt x="78" y="61"/>
                </a:cubicBezTo>
                <a:cubicBezTo>
                  <a:pt x="87" y="44"/>
                  <a:pt x="113" y="58"/>
                  <a:pt x="103" y="75"/>
                </a:cubicBezTo>
                <a:cubicBezTo>
                  <a:pt x="33" y="250"/>
                  <a:pt x="33" y="250"/>
                  <a:pt x="33" y="250"/>
                </a:cubicBezTo>
                <a:cubicBezTo>
                  <a:pt x="54" y="269"/>
                  <a:pt x="84" y="277"/>
                  <a:pt x="112" y="277"/>
                </a:cubicBezTo>
                <a:cubicBezTo>
                  <a:pt x="140" y="277"/>
                  <a:pt x="169" y="271"/>
                  <a:pt x="192" y="256"/>
                </a:cubicBezTo>
                <a:cubicBezTo>
                  <a:pt x="102" y="21"/>
                  <a:pt x="102" y="21"/>
                  <a:pt x="102" y="21"/>
                </a:cubicBezTo>
                <a:cubicBezTo>
                  <a:pt x="96" y="10"/>
                  <a:pt x="102" y="0"/>
                  <a:pt x="115" y="0"/>
                </a:cubicBezTo>
                <a:cubicBezTo>
                  <a:pt x="293" y="0"/>
                  <a:pt x="293" y="0"/>
                  <a:pt x="293" y="0"/>
                </a:cubicBezTo>
                <a:cubicBezTo>
                  <a:pt x="300" y="0"/>
                  <a:pt x="307" y="7"/>
                  <a:pt x="307" y="15"/>
                </a:cubicBezTo>
                <a:cubicBezTo>
                  <a:pt x="307" y="381"/>
                  <a:pt x="307" y="381"/>
                  <a:pt x="307" y="381"/>
                </a:cubicBezTo>
                <a:cubicBezTo>
                  <a:pt x="307" y="398"/>
                  <a:pt x="286" y="396"/>
                  <a:pt x="275" y="398"/>
                </a:cubicBezTo>
                <a:cubicBezTo>
                  <a:pt x="256" y="402"/>
                  <a:pt x="234" y="412"/>
                  <a:pt x="218" y="42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9" name="Freeform 226"/>
          <p:cNvSpPr>
            <a:spLocks/>
          </p:cNvSpPr>
          <p:nvPr userDrawn="1"/>
        </p:nvSpPr>
        <p:spPr bwMode="auto">
          <a:xfrm>
            <a:off x="1384295" y="3301223"/>
            <a:ext cx="383481" cy="389335"/>
          </a:xfrm>
          <a:custGeom>
            <a:avLst/>
            <a:gdLst/>
            <a:ahLst/>
            <a:cxnLst>
              <a:cxn ang="0">
                <a:pos x="167" y="32"/>
              </a:cxn>
              <a:cxn ang="0">
                <a:pos x="110" y="81"/>
              </a:cxn>
              <a:cxn ang="0">
                <a:pos x="42" y="119"/>
              </a:cxn>
              <a:cxn ang="0">
                <a:pos x="68" y="178"/>
              </a:cxn>
              <a:cxn ang="0">
                <a:pos x="38" y="206"/>
              </a:cxn>
              <a:cxn ang="0">
                <a:pos x="7" y="267"/>
              </a:cxn>
              <a:cxn ang="0">
                <a:pos x="79" y="305"/>
              </a:cxn>
              <a:cxn ang="0">
                <a:pos x="89" y="337"/>
              </a:cxn>
              <a:cxn ang="0">
                <a:pos x="68" y="386"/>
              </a:cxn>
              <a:cxn ang="0">
                <a:pos x="127" y="412"/>
              </a:cxn>
              <a:cxn ang="0">
                <a:pos x="205" y="402"/>
              </a:cxn>
              <a:cxn ang="0">
                <a:pos x="262" y="449"/>
              </a:cxn>
              <a:cxn ang="0">
                <a:pos x="300" y="378"/>
              </a:cxn>
              <a:cxn ang="0">
                <a:pos x="349" y="390"/>
              </a:cxn>
              <a:cxn ang="0">
                <a:pos x="407" y="329"/>
              </a:cxn>
              <a:cxn ang="0">
                <a:pos x="383" y="260"/>
              </a:cxn>
              <a:cxn ang="0">
                <a:pos x="444" y="194"/>
              </a:cxn>
              <a:cxn ang="0">
                <a:pos x="276" y="171"/>
              </a:cxn>
              <a:cxn ang="0">
                <a:pos x="271" y="190"/>
              </a:cxn>
              <a:cxn ang="0">
                <a:pos x="235" y="291"/>
              </a:cxn>
              <a:cxn ang="0">
                <a:pos x="227" y="155"/>
              </a:cxn>
              <a:cxn ang="0">
                <a:pos x="239" y="317"/>
              </a:cxn>
              <a:cxn ang="0">
                <a:pos x="302" y="189"/>
              </a:cxn>
              <a:cxn ang="0">
                <a:pos x="422" y="216"/>
              </a:cxn>
              <a:cxn ang="0">
                <a:pos x="353" y="272"/>
              </a:cxn>
              <a:cxn ang="0">
                <a:pos x="381" y="337"/>
              </a:cxn>
              <a:cxn ang="0">
                <a:pos x="364" y="365"/>
              </a:cxn>
              <a:cxn ang="0">
                <a:pos x="273" y="375"/>
              </a:cxn>
              <a:cxn ang="0">
                <a:pos x="250" y="425"/>
              </a:cxn>
              <a:cxn ang="0">
                <a:pos x="231" y="397"/>
              </a:cxn>
              <a:cxn ang="0">
                <a:pos x="159" y="365"/>
              </a:cxn>
              <a:cxn ang="0">
                <a:pos x="92" y="374"/>
              </a:cxn>
              <a:cxn ang="0">
                <a:pos x="120" y="325"/>
              </a:cxn>
              <a:cxn ang="0">
                <a:pos x="83" y="279"/>
              </a:cxn>
              <a:cxn ang="0">
                <a:pos x="28" y="244"/>
              </a:cxn>
              <a:cxn ang="0">
                <a:pos x="89" y="216"/>
              </a:cxn>
              <a:cxn ang="0">
                <a:pos x="90" y="164"/>
              </a:cxn>
              <a:cxn ang="0">
                <a:pos x="70" y="110"/>
              </a:cxn>
              <a:cxn ang="0">
                <a:pos x="177" y="89"/>
              </a:cxn>
              <a:cxn ang="0">
                <a:pos x="200" y="36"/>
              </a:cxn>
              <a:cxn ang="0">
                <a:pos x="220" y="64"/>
              </a:cxn>
              <a:cxn ang="0">
                <a:pos x="292" y="95"/>
              </a:cxn>
              <a:cxn ang="0">
                <a:pos x="359" y="87"/>
              </a:cxn>
              <a:cxn ang="0">
                <a:pos x="338" y="114"/>
              </a:cxn>
              <a:cxn ang="0">
                <a:pos x="375" y="115"/>
              </a:cxn>
              <a:cxn ang="0">
                <a:pos x="354" y="50"/>
              </a:cxn>
              <a:cxn ang="0">
                <a:pos x="278" y="72"/>
              </a:cxn>
              <a:cxn ang="0">
                <a:pos x="246" y="59"/>
              </a:cxn>
              <a:cxn ang="0">
                <a:pos x="189" y="12"/>
              </a:cxn>
            </a:cxnLst>
            <a:rect l="0" t="0" r="r" b="b"/>
            <a:pathLst>
              <a:path w="455" h="460">
                <a:moveTo>
                  <a:pt x="189" y="12"/>
                </a:moveTo>
                <a:cubicBezTo>
                  <a:pt x="180" y="16"/>
                  <a:pt x="172" y="23"/>
                  <a:pt x="167" y="31"/>
                </a:cubicBezTo>
                <a:cubicBezTo>
                  <a:pt x="167" y="32"/>
                  <a:pt x="167" y="32"/>
                  <a:pt x="167" y="32"/>
                </a:cubicBezTo>
                <a:cubicBezTo>
                  <a:pt x="159" y="49"/>
                  <a:pt x="153" y="66"/>
                  <a:pt x="151" y="83"/>
                </a:cubicBezTo>
                <a:cubicBezTo>
                  <a:pt x="148" y="90"/>
                  <a:pt x="142" y="96"/>
                  <a:pt x="135" y="98"/>
                </a:cubicBezTo>
                <a:cubicBezTo>
                  <a:pt x="123" y="100"/>
                  <a:pt x="112" y="92"/>
                  <a:pt x="110" y="81"/>
                </a:cubicBezTo>
                <a:cubicBezTo>
                  <a:pt x="109" y="76"/>
                  <a:pt x="106" y="72"/>
                  <a:pt x="101" y="71"/>
                </a:cubicBezTo>
                <a:cubicBezTo>
                  <a:pt x="79" y="63"/>
                  <a:pt x="54" y="77"/>
                  <a:pt x="45" y="101"/>
                </a:cubicBezTo>
                <a:cubicBezTo>
                  <a:pt x="43" y="107"/>
                  <a:pt x="42" y="113"/>
                  <a:pt x="42" y="119"/>
                </a:cubicBezTo>
                <a:cubicBezTo>
                  <a:pt x="42" y="123"/>
                  <a:pt x="42" y="127"/>
                  <a:pt x="43" y="131"/>
                </a:cubicBezTo>
                <a:cubicBezTo>
                  <a:pt x="44" y="131"/>
                  <a:pt x="44" y="132"/>
                  <a:pt x="44" y="132"/>
                </a:cubicBezTo>
                <a:cubicBezTo>
                  <a:pt x="50" y="149"/>
                  <a:pt x="58" y="165"/>
                  <a:pt x="68" y="178"/>
                </a:cubicBezTo>
                <a:cubicBezTo>
                  <a:pt x="70" y="182"/>
                  <a:pt x="71" y="185"/>
                  <a:pt x="71" y="189"/>
                </a:cubicBezTo>
                <a:cubicBezTo>
                  <a:pt x="71" y="193"/>
                  <a:pt x="70" y="197"/>
                  <a:pt x="67" y="201"/>
                </a:cubicBezTo>
                <a:cubicBezTo>
                  <a:pt x="61" y="210"/>
                  <a:pt x="48" y="213"/>
                  <a:pt x="38" y="206"/>
                </a:cubicBezTo>
                <a:cubicBezTo>
                  <a:pt x="34" y="204"/>
                  <a:pt x="29" y="203"/>
                  <a:pt x="25" y="205"/>
                </a:cubicBezTo>
                <a:cubicBezTo>
                  <a:pt x="15" y="210"/>
                  <a:pt x="8" y="218"/>
                  <a:pt x="4" y="229"/>
                </a:cubicBezTo>
                <a:cubicBezTo>
                  <a:pt x="0" y="241"/>
                  <a:pt x="1" y="255"/>
                  <a:pt x="7" y="267"/>
                </a:cubicBezTo>
                <a:cubicBezTo>
                  <a:pt x="11" y="276"/>
                  <a:pt x="18" y="283"/>
                  <a:pt x="26" y="289"/>
                </a:cubicBezTo>
                <a:cubicBezTo>
                  <a:pt x="27" y="289"/>
                  <a:pt x="27" y="289"/>
                  <a:pt x="27" y="289"/>
                </a:cubicBezTo>
                <a:cubicBezTo>
                  <a:pt x="44" y="297"/>
                  <a:pt x="62" y="303"/>
                  <a:pt x="79" y="305"/>
                </a:cubicBezTo>
                <a:cubicBezTo>
                  <a:pt x="78" y="305"/>
                  <a:pt x="78" y="305"/>
                  <a:pt x="77" y="305"/>
                </a:cubicBezTo>
                <a:cubicBezTo>
                  <a:pt x="85" y="307"/>
                  <a:pt x="91" y="313"/>
                  <a:pt x="93" y="321"/>
                </a:cubicBezTo>
                <a:cubicBezTo>
                  <a:pt x="94" y="327"/>
                  <a:pt x="93" y="332"/>
                  <a:pt x="89" y="337"/>
                </a:cubicBezTo>
                <a:cubicBezTo>
                  <a:pt x="86" y="342"/>
                  <a:pt x="81" y="345"/>
                  <a:pt x="76" y="346"/>
                </a:cubicBezTo>
                <a:cubicBezTo>
                  <a:pt x="71" y="347"/>
                  <a:pt x="67" y="350"/>
                  <a:pt x="66" y="355"/>
                </a:cubicBezTo>
                <a:cubicBezTo>
                  <a:pt x="62" y="365"/>
                  <a:pt x="63" y="376"/>
                  <a:pt x="68" y="386"/>
                </a:cubicBezTo>
                <a:cubicBezTo>
                  <a:pt x="73" y="397"/>
                  <a:pt x="84" y="406"/>
                  <a:pt x="96" y="411"/>
                </a:cubicBezTo>
                <a:cubicBezTo>
                  <a:pt x="106" y="414"/>
                  <a:pt x="116" y="415"/>
                  <a:pt x="126" y="412"/>
                </a:cubicBezTo>
                <a:cubicBezTo>
                  <a:pt x="126" y="412"/>
                  <a:pt x="127" y="412"/>
                  <a:pt x="127" y="412"/>
                </a:cubicBezTo>
                <a:cubicBezTo>
                  <a:pt x="144" y="406"/>
                  <a:pt x="159" y="398"/>
                  <a:pt x="173" y="388"/>
                </a:cubicBezTo>
                <a:cubicBezTo>
                  <a:pt x="180" y="384"/>
                  <a:pt x="189" y="384"/>
                  <a:pt x="196" y="388"/>
                </a:cubicBezTo>
                <a:cubicBezTo>
                  <a:pt x="200" y="392"/>
                  <a:pt x="204" y="396"/>
                  <a:pt x="205" y="402"/>
                </a:cubicBezTo>
                <a:cubicBezTo>
                  <a:pt x="206" y="407"/>
                  <a:pt x="205" y="413"/>
                  <a:pt x="201" y="418"/>
                </a:cubicBezTo>
                <a:cubicBezTo>
                  <a:pt x="199" y="422"/>
                  <a:pt x="198" y="427"/>
                  <a:pt x="200" y="431"/>
                </a:cubicBezTo>
                <a:cubicBezTo>
                  <a:pt x="211" y="452"/>
                  <a:pt x="238" y="460"/>
                  <a:pt x="262" y="449"/>
                </a:cubicBezTo>
                <a:cubicBezTo>
                  <a:pt x="271" y="445"/>
                  <a:pt x="278" y="438"/>
                  <a:pt x="284" y="429"/>
                </a:cubicBezTo>
                <a:cubicBezTo>
                  <a:pt x="284" y="429"/>
                  <a:pt x="284" y="429"/>
                  <a:pt x="284" y="428"/>
                </a:cubicBezTo>
                <a:cubicBezTo>
                  <a:pt x="292" y="412"/>
                  <a:pt x="297" y="396"/>
                  <a:pt x="300" y="378"/>
                </a:cubicBezTo>
                <a:cubicBezTo>
                  <a:pt x="302" y="370"/>
                  <a:pt x="308" y="365"/>
                  <a:pt x="316" y="363"/>
                </a:cubicBezTo>
                <a:cubicBezTo>
                  <a:pt x="327" y="361"/>
                  <a:pt x="338" y="368"/>
                  <a:pt x="341" y="380"/>
                </a:cubicBezTo>
                <a:cubicBezTo>
                  <a:pt x="342" y="384"/>
                  <a:pt x="345" y="388"/>
                  <a:pt x="349" y="390"/>
                </a:cubicBezTo>
                <a:cubicBezTo>
                  <a:pt x="372" y="398"/>
                  <a:pt x="397" y="384"/>
                  <a:pt x="405" y="359"/>
                </a:cubicBezTo>
                <a:cubicBezTo>
                  <a:pt x="409" y="350"/>
                  <a:pt x="409" y="339"/>
                  <a:pt x="407" y="330"/>
                </a:cubicBezTo>
                <a:cubicBezTo>
                  <a:pt x="407" y="330"/>
                  <a:pt x="407" y="329"/>
                  <a:pt x="407" y="329"/>
                </a:cubicBezTo>
                <a:cubicBezTo>
                  <a:pt x="400" y="311"/>
                  <a:pt x="392" y="295"/>
                  <a:pt x="382" y="281"/>
                </a:cubicBezTo>
                <a:cubicBezTo>
                  <a:pt x="382" y="282"/>
                  <a:pt x="382" y="282"/>
                  <a:pt x="383" y="282"/>
                </a:cubicBezTo>
                <a:cubicBezTo>
                  <a:pt x="379" y="275"/>
                  <a:pt x="379" y="267"/>
                  <a:pt x="383" y="260"/>
                </a:cubicBezTo>
                <a:cubicBezTo>
                  <a:pt x="390" y="250"/>
                  <a:pt x="403" y="248"/>
                  <a:pt x="413" y="254"/>
                </a:cubicBezTo>
                <a:cubicBezTo>
                  <a:pt x="417" y="257"/>
                  <a:pt x="422" y="257"/>
                  <a:pt x="426" y="255"/>
                </a:cubicBezTo>
                <a:cubicBezTo>
                  <a:pt x="447" y="245"/>
                  <a:pt x="455" y="218"/>
                  <a:pt x="444" y="194"/>
                </a:cubicBezTo>
                <a:cubicBezTo>
                  <a:pt x="440" y="185"/>
                  <a:pt x="433" y="177"/>
                  <a:pt x="424" y="172"/>
                </a:cubicBezTo>
                <a:cubicBezTo>
                  <a:pt x="424" y="172"/>
                  <a:pt x="424" y="172"/>
                  <a:pt x="423" y="172"/>
                </a:cubicBezTo>
                <a:cubicBezTo>
                  <a:pt x="373" y="148"/>
                  <a:pt x="322" y="148"/>
                  <a:pt x="276" y="171"/>
                </a:cubicBezTo>
                <a:cubicBezTo>
                  <a:pt x="273" y="173"/>
                  <a:pt x="271" y="176"/>
                  <a:pt x="270" y="180"/>
                </a:cubicBezTo>
                <a:cubicBezTo>
                  <a:pt x="269" y="183"/>
                  <a:pt x="269" y="187"/>
                  <a:pt x="271" y="190"/>
                </a:cubicBezTo>
                <a:cubicBezTo>
                  <a:pt x="271" y="190"/>
                  <a:pt x="271" y="190"/>
                  <a:pt x="271" y="190"/>
                </a:cubicBezTo>
                <a:cubicBezTo>
                  <a:pt x="272" y="191"/>
                  <a:pt x="272" y="191"/>
                  <a:pt x="272" y="192"/>
                </a:cubicBezTo>
                <a:cubicBezTo>
                  <a:pt x="279" y="200"/>
                  <a:pt x="284" y="210"/>
                  <a:pt x="285" y="221"/>
                </a:cubicBezTo>
                <a:cubicBezTo>
                  <a:pt x="291" y="254"/>
                  <a:pt x="268" y="285"/>
                  <a:pt x="235" y="291"/>
                </a:cubicBezTo>
                <a:cubicBezTo>
                  <a:pt x="202" y="296"/>
                  <a:pt x="171" y="273"/>
                  <a:pt x="165" y="240"/>
                </a:cubicBezTo>
                <a:cubicBezTo>
                  <a:pt x="160" y="207"/>
                  <a:pt x="182" y="176"/>
                  <a:pt x="216" y="170"/>
                </a:cubicBezTo>
                <a:cubicBezTo>
                  <a:pt x="223" y="169"/>
                  <a:pt x="228" y="162"/>
                  <a:pt x="227" y="155"/>
                </a:cubicBezTo>
                <a:cubicBezTo>
                  <a:pt x="225" y="148"/>
                  <a:pt x="218" y="143"/>
                  <a:pt x="211" y="144"/>
                </a:cubicBezTo>
                <a:cubicBezTo>
                  <a:pt x="164" y="152"/>
                  <a:pt x="131" y="197"/>
                  <a:pt x="139" y="245"/>
                </a:cubicBezTo>
                <a:cubicBezTo>
                  <a:pt x="147" y="292"/>
                  <a:pt x="192" y="325"/>
                  <a:pt x="239" y="317"/>
                </a:cubicBezTo>
                <a:cubicBezTo>
                  <a:pt x="282" y="310"/>
                  <a:pt x="313" y="273"/>
                  <a:pt x="313" y="230"/>
                </a:cubicBezTo>
                <a:cubicBezTo>
                  <a:pt x="313" y="226"/>
                  <a:pt x="312" y="221"/>
                  <a:pt x="312" y="216"/>
                </a:cubicBezTo>
                <a:cubicBezTo>
                  <a:pt x="310" y="207"/>
                  <a:pt x="307" y="197"/>
                  <a:pt x="302" y="189"/>
                </a:cubicBezTo>
                <a:cubicBezTo>
                  <a:pt x="337" y="176"/>
                  <a:pt x="373" y="178"/>
                  <a:pt x="411" y="195"/>
                </a:cubicBezTo>
                <a:cubicBezTo>
                  <a:pt x="415" y="197"/>
                  <a:pt x="418" y="201"/>
                  <a:pt x="420" y="205"/>
                </a:cubicBezTo>
                <a:cubicBezTo>
                  <a:pt x="422" y="209"/>
                  <a:pt x="422" y="213"/>
                  <a:pt x="422" y="216"/>
                </a:cubicBezTo>
                <a:cubicBezTo>
                  <a:pt x="422" y="221"/>
                  <a:pt x="421" y="225"/>
                  <a:pt x="419" y="228"/>
                </a:cubicBezTo>
                <a:cubicBezTo>
                  <a:pt x="398" y="219"/>
                  <a:pt x="374" y="226"/>
                  <a:pt x="361" y="245"/>
                </a:cubicBezTo>
                <a:cubicBezTo>
                  <a:pt x="356" y="253"/>
                  <a:pt x="353" y="262"/>
                  <a:pt x="353" y="272"/>
                </a:cubicBezTo>
                <a:cubicBezTo>
                  <a:pt x="353" y="280"/>
                  <a:pt x="355" y="288"/>
                  <a:pt x="360" y="296"/>
                </a:cubicBezTo>
                <a:cubicBezTo>
                  <a:pt x="360" y="296"/>
                  <a:pt x="360" y="297"/>
                  <a:pt x="360" y="297"/>
                </a:cubicBezTo>
                <a:cubicBezTo>
                  <a:pt x="369" y="308"/>
                  <a:pt x="376" y="322"/>
                  <a:pt x="381" y="337"/>
                </a:cubicBezTo>
                <a:cubicBezTo>
                  <a:pt x="382" y="338"/>
                  <a:pt x="382" y="340"/>
                  <a:pt x="382" y="342"/>
                </a:cubicBezTo>
                <a:cubicBezTo>
                  <a:pt x="382" y="345"/>
                  <a:pt x="381" y="348"/>
                  <a:pt x="380" y="350"/>
                </a:cubicBezTo>
                <a:cubicBezTo>
                  <a:pt x="377" y="359"/>
                  <a:pt x="371" y="364"/>
                  <a:pt x="364" y="365"/>
                </a:cubicBezTo>
                <a:cubicBezTo>
                  <a:pt x="355" y="345"/>
                  <a:pt x="333" y="332"/>
                  <a:pt x="311" y="337"/>
                </a:cubicBezTo>
                <a:cubicBezTo>
                  <a:pt x="293" y="340"/>
                  <a:pt x="278" y="354"/>
                  <a:pt x="274" y="372"/>
                </a:cubicBezTo>
                <a:cubicBezTo>
                  <a:pt x="273" y="373"/>
                  <a:pt x="273" y="374"/>
                  <a:pt x="273" y="375"/>
                </a:cubicBezTo>
                <a:cubicBezTo>
                  <a:pt x="273" y="374"/>
                  <a:pt x="273" y="374"/>
                  <a:pt x="273" y="373"/>
                </a:cubicBezTo>
                <a:cubicBezTo>
                  <a:pt x="271" y="388"/>
                  <a:pt x="267" y="402"/>
                  <a:pt x="261" y="416"/>
                </a:cubicBezTo>
                <a:cubicBezTo>
                  <a:pt x="258" y="420"/>
                  <a:pt x="255" y="423"/>
                  <a:pt x="250" y="425"/>
                </a:cubicBezTo>
                <a:cubicBezTo>
                  <a:pt x="242" y="429"/>
                  <a:pt x="233" y="428"/>
                  <a:pt x="228" y="424"/>
                </a:cubicBezTo>
                <a:cubicBezTo>
                  <a:pt x="230" y="418"/>
                  <a:pt x="232" y="412"/>
                  <a:pt x="232" y="406"/>
                </a:cubicBezTo>
                <a:cubicBezTo>
                  <a:pt x="232" y="403"/>
                  <a:pt x="231" y="400"/>
                  <a:pt x="231" y="397"/>
                </a:cubicBezTo>
                <a:cubicBezTo>
                  <a:pt x="228" y="384"/>
                  <a:pt x="221" y="373"/>
                  <a:pt x="211" y="366"/>
                </a:cubicBezTo>
                <a:cubicBezTo>
                  <a:pt x="195" y="356"/>
                  <a:pt x="176" y="355"/>
                  <a:pt x="160" y="365"/>
                </a:cubicBezTo>
                <a:cubicBezTo>
                  <a:pt x="159" y="365"/>
                  <a:pt x="159" y="365"/>
                  <a:pt x="159" y="365"/>
                </a:cubicBezTo>
                <a:cubicBezTo>
                  <a:pt x="147" y="374"/>
                  <a:pt x="133" y="381"/>
                  <a:pt x="119" y="386"/>
                </a:cubicBezTo>
                <a:cubicBezTo>
                  <a:pt x="115" y="387"/>
                  <a:pt x="110" y="387"/>
                  <a:pt x="105" y="386"/>
                </a:cubicBezTo>
                <a:cubicBezTo>
                  <a:pt x="99" y="383"/>
                  <a:pt x="94" y="379"/>
                  <a:pt x="92" y="374"/>
                </a:cubicBezTo>
                <a:cubicBezTo>
                  <a:pt x="91" y="373"/>
                  <a:pt x="91" y="371"/>
                  <a:pt x="91" y="369"/>
                </a:cubicBezTo>
                <a:cubicBezTo>
                  <a:pt x="99" y="366"/>
                  <a:pt x="106" y="360"/>
                  <a:pt x="112" y="352"/>
                </a:cubicBezTo>
                <a:cubicBezTo>
                  <a:pt x="117" y="344"/>
                  <a:pt x="120" y="335"/>
                  <a:pt x="120" y="325"/>
                </a:cubicBezTo>
                <a:cubicBezTo>
                  <a:pt x="120" y="322"/>
                  <a:pt x="119" y="319"/>
                  <a:pt x="119" y="316"/>
                </a:cubicBezTo>
                <a:cubicBezTo>
                  <a:pt x="115" y="298"/>
                  <a:pt x="102" y="284"/>
                  <a:pt x="84" y="279"/>
                </a:cubicBezTo>
                <a:cubicBezTo>
                  <a:pt x="84" y="279"/>
                  <a:pt x="83" y="279"/>
                  <a:pt x="83" y="279"/>
                </a:cubicBezTo>
                <a:cubicBezTo>
                  <a:pt x="69" y="277"/>
                  <a:pt x="54" y="272"/>
                  <a:pt x="40" y="265"/>
                </a:cubicBezTo>
                <a:cubicBezTo>
                  <a:pt x="36" y="263"/>
                  <a:pt x="33" y="260"/>
                  <a:pt x="31" y="255"/>
                </a:cubicBezTo>
                <a:cubicBezTo>
                  <a:pt x="29" y="252"/>
                  <a:pt x="28" y="248"/>
                  <a:pt x="28" y="244"/>
                </a:cubicBezTo>
                <a:cubicBezTo>
                  <a:pt x="28" y="242"/>
                  <a:pt x="29" y="240"/>
                  <a:pt x="29" y="238"/>
                </a:cubicBezTo>
                <a:cubicBezTo>
                  <a:pt x="30" y="236"/>
                  <a:pt x="31" y="235"/>
                  <a:pt x="32" y="233"/>
                </a:cubicBezTo>
                <a:cubicBezTo>
                  <a:pt x="52" y="241"/>
                  <a:pt x="77" y="235"/>
                  <a:pt x="89" y="216"/>
                </a:cubicBezTo>
                <a:cubicBezTo>
                  <a:pt x="95" y="208"/>
                  <a:pt x="97" y="198"/>
                  <a:pt x="97" y="189"/>
                </a:cubicBezTo>
                <a:cubicBezTo>
                  <a:pt x="97" y="181"/>
                  <a:pt x="95" y="172"/>
                  <a:pt x="91" y="165"/>
                </a:cubicBezTo>
                <a:cubicBezTo>
                  <a:pt x="91" y="164"/>
                  <a:pt x="90" y="164"/>
                  <a:pt x="90" y="164"/>
                </a:cubicBezTo>
                <a:cubicBezTo>
                  <a:pt x="82" y="152"/>
                  <a:pt x="75" y="139"/>
                  <a:pt x="69" y="124"/>
                </a:cubicBezTo>
                <a:cubicBezTo>
                  <a:pt x="69" y="122"/>
                  <a:pt x="69" y="121"/>
                  <a:pt x="69" y="119"/>
                </a:cubicBezTo>
                <a:cubicBezTo>
                  <a:pt x="69" y="116"/>
                  <a:pt x="69" y="113"/>
                  <a:pt x="70" y="110"/>
                </a:cubicBezTo>
                <a:cubicBezTo>
                  <a:pt x="73" y="102"/>
                  <a:pt x="80" y="96"/>
                  <a:pt x="87" y="96"/>
                </a:cubicBezTo>
                <a:cubicBezTo>
                  <a:pt x="95" y="116"/>
                  <a:pt x="117" y="128"/>
                  <a:pt x="140" y="124"/>
                </a:cubicBezTo>
                <a:cubicBezTo>
                  <a:pt x="158" y="120"/>
                  <a:pt x="172" y="107"/>
                  <a:pt x="177" y="89"/>
                </a:cubicBezTo>
                <a:cubicBezTo>
                  <a:pt x="177" y="89"/>
                  <a:pt x="177" y="88"/>
                  <a:pt x="177" y="88"/>
                </a:cubicBezTo>
                <a:cubicBezTo>
                  <a:pt x="179" y="74"/>
                  <a:pt x="183" y="59"/>
                  <a:pt x="190" y="45"/>
                </a:cubicBezTo>
                <a:cubicBezTo>
                  <a:pt x="193" y="41"/>
                  <a:pt x="196" y="38"/>
                  <a:pt x="200" y="36"/>
                </a:cubicBezTo>
                <a:cubicBezTo>
                  <a:pt x="208" y="32"/>
                  <a:pt x="217" y="33"/>
                  <a:pt x="223" y="37"/>
                </a:cubicBezTo>
                <a:cubicBezTo>
                  <a:pt x="220" y="43"/>
                  <a:pt x="219" y="49"/>
                  <a:pt x="219" y="55"/>
                </a:cubicBezTo>
                <a:cubicBezTo>
                  <a:pt x="219" y="58"/>
                  <a:pt x="219" y="61"/>
                  <a:pt x="220" y="64"/>
                </a:cubicBezTo>
                <a:cubicBezTo>
                  <a:pt x="222" y="77"/>
                  <a:pt x="230" y="87"/>
                  <a:pt x="240" y="94"/>
                </a:cubicBezTo>
                <a:cubicBezTo>
                  <a:pt x="254" y="104"/>
                  <a:pt x="273" y="105"/>
                  <a:pt x="288" y="97"/>
                </a:cubicBezTo>
                <a:cubicBezTo>
                  <a:pt x="289" y="97"/>
                  <a:pt x="291" y="96"/>
                  <a:pt x="292" y="95"/>
                </a:cubicBezTo>
                <a:cubicBezTo>
                  <a:pt x="303" y="87"/>
                  <a:pt x="317" y="80"/>
                  <a:pt x="332" y="74"/>
                </a:cubicBezTo>
                <a:cubicBezTo>
                  <a:pt x="336" y="73"/>
                  <a:pt x="341" y="74"/>
                  <a:pt x="345" y="75"/>
                </a:cubicBezTo>
                <a:cubicBezTo>
                  <a:pt x="351" y="77"/>
                  <a:pt x="356" y="81"/>
                  <a:pt x="359" y="87"/>
                </a:cubicBezTo>
                <a:cubicBezTo>
                  <a:pt x="359" y="88"/>
                  <a:pt x="360" y="90"/>
                  <a:pt x="360" y="92"/>
                </a:cubicBezTo>
                <a:cubicBezTo>
                  <a:pt x="353" y="95"/>
                  <a:pt x="346" y="100"/>
                  <a:pt x="341" y="106"/>
                </a:cubicBezTo>
                <a:cubicBezTo>
                  <a:pt x="339" y="108"/>
                  <a:pt x="338" y="111"/>
                  <a:pt x="338" y="114"/>
                </a:cubicBezTo>
                <a:cubicBezTo>
                  <a:pt x="338" y="118"/>
                  <a:pt x="340" y="122"/>
                  <a:pt x="344" y="125"/>
                </a:cubicBezTo>
                <a:cubicBezTo>
                  <a:pt x="349" y="129"/>
                  <a:pt x="358" y="128"/>
                  <a:pt x="362" y="122"/>
                </a:cubicBezTo>
                <a:cubicBezTo>
                  <a:pt x="365" y="118"/>
                  <a:pt x="370" y="116"/>
                  <a:pt x="375" y="115"/>
                </a:cubicBezTo>
                <a:cubicBezTo>
                  <a:pt x="379" y="114"/>
                  <a:pt x="383" y="111"/>
                  <a:pt x="385" y="106"/>
                </a:cubicBezTo>
                <a:cubicBezTo>
                  <a:pt x="388" y="96"/>
                  <a:pt x="388" y="85"/>
                  <a:pt x="383" y="75"/>
                </a:cubicBezTo>
                <a:cubicBezTo>
                  <a:pt x="377" y="64"/>
                  <a:pt x="367" y="54"/>
                  <a:pt x="354" y="50"/>
                </a:cubicBezTo>
                <a:cubicBezTo>
                  <a:pt x="345" y="47"/>
                  <a:pt x="334" y="46"/>
                  <a:pt x="325" y="48"/>
                </a:cubicBezTo>
                <a:cubicBezTo>
                  <a:pt x="325" y="49"/>
                  <a:pt x="324" y="49"/>
                  <a:pt x="324" y="49"/>
                </a:cubicBezTo>
                <a:cubicBezTo>
                  <a:pt x="307" y="55"/>
                  <a:pt x="291" y="63"/>
                  <a:pt x="278" y="72"/>
                </a:cubicBezTo>
                <a:cubicBezTo>
                  <a:pt x="278" y="73"/>
                  <a:pt x="278" y="73"/>
                  <a:pt x="277" y="73"/>
                </a:cubicBezTo>
                <a:cubicBezTo>
                  <a:pt x="270" y="77"/>
                  <a:pt x="262" y="77"/>
                  <a:pt x="255" y="72"/>
                </a:cubicBezTo>
                <a:cubicBezTo>
                  <a:pt x="250" y="69"/>
                  <a:pt x="247" y="64"/>
                  <a:pt x="246" y="59"/>
                </a:cubicBezTo>
                <a:cubicBezTo>
                  <a:pt x="245" y="53"/>
                  <a:pt x="246" y="48"/>
                  <a:pt x="249" y="43"/>
                </a:cubicBezTo>
                <a:cubicBezTo>
                  <a:pt x="252" y="39"/>
                  <a:pt x="252" y="34"/>
                  <a:pt x="250" y="30"/>
                </a:cubicBezTo>
                <a:cubicBezTo>
                  <a:pt x="240" y="8"/>
                  <a:pt x="213" y="0"/>
                  <a:pt x="189" y="1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3" name="Freeform 247"/>
          <p:cNvSpPr>
            <a:spLocks/>
          </p:cNvSpPr>
          <p:nvPr userDrawn="1"/>
        </p:nvSpPr>
        <p:spPr bwMode="auto">
          <a:xfrm>
            <a:off x="1420023" y="1789078"/>
            <a:ext cx="312025" cy="384572"/>
          </a:xfrm>
          <a:custGeom>
            <a:avLst/>
            <a:gdLst/>
            <a:ahLst/>
            <a:cxnLst>
              <a:cxn ang="0">
                <a:pos x="305" y="0"/>
              </a:cxn>
              <a:cxn ang="0">
                <a:pos x="292" y="13"/>
              </a:cxn>
              <a:cxn ang="0">
                <a:pos x="283" y="299"/>
              </a:cxn>
              <a:cxn ang="0">
                <a:pos x="208" y="299"/>
              </a:cxn>
              <a:cxn ang="0">
                <a:pos x="202" y="102"/>
              </a:cxn>
              <a:cxn ang="0">
                <a:pos x="189" y="89"/>
              </a:cxn>
              <a:cxn ang="0">
                <a:pos x="148" y="89"/>
              </a:cxn>
              <a:cxn ang="0">
                <a:pos x="134" y="102"/>
              </a:cxn>
              <a:cxn ang="0">
                <a:pos x="128" y="299"/>
              </a:cxn>
              <a:cxn ang="0">
                <a:pos x="66" y="299"/>
              </a:cxn>
              <a:cxn ang="0">
                <a:pos x="56" y="304"/>
              </a:cxn>
              <a:cxn ang="0">
                <a:pos x="3" y="376"/>
              </a:cxn>
              <a:cxn ang="0">
                <a:pos x="0" y="384"/>
              </a:cxn>
              <a:cxn ang="0">
                <a:pos x="0" y="443"/>
              </a:cxn>
              <a:cxn ang="0">
                <a:pos x="14" y="457"/>
              </a:cxn>
              <a:cxn ang="0">
                <a:pos x="27" y="443"/>
              </a:cxn>
              <a:cxn ang="0">
                <a:pos x="27" y="388"/>
              </a:cxn>
              <a:cxn ang="0">
                <a:pos x="73" y="326"/>
              </a:cxn>
              <a:cxn ang="0">
                <a:pos x="141" y="326"/>
              </a:cxn>
              <a:cxn ang="0">
                <a:pos x="155" y="313"/>
              </a:cxn>
              <a:cxn ang="0">
                <a:pos x="160" y="116"/>
              </a:cxn>
              <a:cxn ang="0">
                <a:pos x="176" y="116"/>
              </a:cxn>
              <a:cxn ang="0">
                <a:pos x="182" y="313"/>
              </a:cxn>
              <a:cxn ang="0">
                <a:pos x="195" y="326"/>
              </a:cxn>
              <a:cxn ang="0">
                <a:pos x="296" y="326"/>
              </a:cxn>
              <a:cxn ang="0">
                <a:pos x="310" y="313"/>
              </a:cxn>
              <a:cxn ang="0">
                <a:pos x="318" y="27"/>
              </a:cxn>
              <a:cxn ang="0">
                <a:pos x="333" y="27"/>
              </a:cxn>
              <a:cxn ang="0">
                <a:pos x="342" y="443"/>
              </a:cxn>
              <a:cxn ang="0">
                <a:pos x="355" y="457"/>
              </a:cxn>
              <a:cxn ang="0">
                <a:pos x="368" y="443"/>
              </a:cxn>
              <a:cxn ang="0">
                <a:pos x="360" y="13"/>
              </a:cxn>
              <a:cxn ang="0">
                <a:pos x="346" y="0"/>
              </a:cxn>
              <a:cxn ang="0">
                <a:pos x="305" y="0"/>
              </a:cxn>
            </a:cxnLst>
            <a:rect l="0" t="0" r="r" b="b"/>
            <a:pathLst>
              <a:path w="368" h="457">
                <a:moveTo>
                  <a:pt x="305" y="0"/>
                </a:moveTo>
                <a:cubicBezTo>
                  <a:pt x="298" y="0"/>
                  <a:pt x="292" y="6"/>
                  <a:pt x="292" y="13"/>
                </a:cubicBezTo>
                <a:cubicBezTo>
                  <a:pt x="292" y="13"/>
                  <a:pt x="284" y="275"/>
                  <a:pt x="283" y="299"/>
                </a:cubicBezTo>
                <a:cubicBezTo>
                  <a:pt x="267" y="299"/>
                  <a:pt x="225" y="299"/>
                  <a:pt x="208" y="299"/>
                </a:cubicBezTo>
                <a:cubicBezTo>
                  <a:pt x="207" y="276"/>
                  <a:pt x="202" y="102"/>
                  <a:pt x="202" y="102"/>
                </a:cubicBezTo>
                <a:cubicBezTo>
                  <a:pt x="202" y="95"/>
                  <a:pt x="196" y="89"/>
                  <a:pt x="189" y="89"/>
                </a:cubicBezTo>
                <a:cubicBezTo>
                  <a:pt x="148" y="89"/>
                  <a:pt x="148" y="89"/>
                  <a:pt x="148" y="89"/>
                </a:cubicBezTo>
                <a:cubicBezTo>
                  <a:pt x="140" y="89"/>
                  <a:pt x="134" y="95"/>
                  <a:pt x="134" y="102"/>
                </a:cubicBezTo>
                <a:cubicBezTo>
                  <a:pt x="134" y="102"/>
                  <a:pt x="129" y="276"/>
                  <a:pt x="128" y="299"/>
                </a:cubicBezTo>
                <a:cubicBezTo>
                  <a:pt x="111" y="299"/>
                  <a:pt x="66" y="299"/>
                  <a:pt x="66" y="299"/>
                </a:cubicBezTo>
                <a:cubicBezTo>
                  <a:pt x="62" y="299"/>
                  <a:pt x="58" y="301"/>
                  <a:pt x="56" y="304"/>
                </a:cubicBezTo>
                <a:cubicBezTo>
                  <a:pt x="3" y="376"/>
                  <a:pt x="3" y="376"/>
                  <a:pt x="3" y="376"/>
                </a:cubicBezTo>
                <a:cubicBezTo>
                  <a:pt x="1" y="378"/>
                  <a:pt x="0" y="381"/>
                  <a:pt x="0" y="384"/>
                </a:cubicBezTo>
                <a:cubicBezTo>
                  <a:pt x="0" y="443"/>
                  <a:pt x="0" y="443"/>
                  <a:pt x="0" y="443"/>
                </a:cubicBezTo>
                <a:cubicBezTo>
                  <a:pt x="0" y="451"/>
                  <a:pt x="6" y="457"/>
                  <a:pt x="14" y="457"/>
                </a:cubicBezTo>
                <a:cubicBezTo>
                  <a:pt x="21" y="457"/>
                  <a:pt x="27" y="451"/>
                  <a:pt x="27" y="443"/>
                </a:cubicBezTo>
                <a:cubicBezTo>
                  <a:pt x="27" y="443"/>
                  <a:pt x="27" y="396"/>
                  <a:pt x="27" y="388"/>
                </a:cubicBezTo>
                <a:cubicBezTo>
                  <a:pt x="31" y="382"/>
                  <a:pt x="67" y="334"/>
                  <a:pt x="73" y="326"/>
                </a:cubicBezTo>
                <a:cubicBezTo>
                  <a:pt x="84" y="326"/>
                  <a:pt x="141" y="326"/>
                  <a:pt x="141" y="326"/>
                </a:cubicBezTo>
                <a:cubicBezTo>
                  <a:pt x="149" y="326"/>
                  <a:pt x="155" y="320"/>
                  <a:pt x="155" y="313"/>
                </a:cubicBezTo>
                <a:cubicBezTo>
                  <a:pt x="155" y="313"/>
                  <a:pt x="160" y="138"/>
                  <a:pt x="160" y="116"/>
                </a:cubicBezTo>
                <a:cubicBezTo>
                  <a:pt x="167" y="116"/>
                  <a:pt x="169" y="116"/>
                  <a:pt x="176" y="116"/>
                </a:cubicBezTo>
                <a:cubicBezTo>
                  <a:pt x="176" y="138"/>
                  <a:pt x="182" y="313"/>
                  <a:pt x="182" y="313"/>
                </a:cubicBezTo>
                <a:cubicBezTo>
                  <a:pt x="182" y="320"/>
                  <a:pt x="188" y="326"/>
                  <a:pt x="195" y="326"/>
                </a:cubicBezTo>
                <a:cubicBezTo>
                  <a:pt x="296" y="326"/>
                  <a:pt x="296" y="326"/>
                  <a:pt x="296" y="326"/>
                </a:cubicBezTo>
                <a:cubicBezTo>
                  <a:pt x="304" y="326"/>
                  <a:pt x="309" y="320"/>
                  <a:pt x="310" y="313"/>
                </a:cubicBezTo>
                <a:cubicBezTo>
                  <a:pt x="310" y="313"/>
                  <a:pt x="317" y="50"/>
                  <a:pt x="318" y="27"/>
                </a:cubicBezTo>
                <a:cubicBezTo>
                  <a:pt x="325" y="27"/>
                  <a:pt x="327" y="27"/>
                  <a:pt x="333" y="27"/>
                </a:cubicBezTo>
                <a:cubicBezTo>
                  <a:pt x="334" y="51"/>
                  <a:pt x="342" y="443"/>
                  <a:pt x="342" y="443"/>
                </a:cubicBezTo>
                <a:cubicBezTo>
                  <a:pt x="342" y="451"/>
                  <a:pt x="348" y="457"/>
                  <a:pt x="355" y="457"/>
                </a:cubicBezTo>
                <a:cubicBezTo>
                  <a:pt x="363" y="456"/>
                  <a:pt x="368" y="450"/>
                  <a:pt x="368" y="443"/>
                </a:cubicBezTo>
                <a:cubicBezTo>
                  <a:pt x="360" y="13"/>
                  <a:pt x="360" y="13"/>
                  <a:pt x="360" y="13"/>
                </a:cubicBezTo>
                <a:cubicBezTo>
                  <a:pt x="359" y="6"/>
                  <a:pt x="354" y="0"/>
                  <a:pt x="346" y="0"/>
                </a:cubicBezTo>
                <a:lnTo>
                  <a:pt x="305"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grpSp>
        <p:nvGrpSpPr>
          <p:cNvPr id="55" name="Group 270"/>
          <p:cNvGrpSpPr>
            <a:grpSpLocks noChangeAspect="1"/>
          </p:cNvGrpSpPr>
          <p:nvPr userDrawn="1"/>
        </p:nvGrpSpPr>
        <p:grpSpPr bwMode="auto">
          <a:xfrm>
            <a:off x="1414664" y="2262268"/>
            <a:ext cx="322744" cy="347663"/>
            <a:chOff x="1543" y="1791"/>
            <a:chExt cx="271" cy="292"/>
          </a:xfrm>
          <a:noFill/>
        </p:grpSpPr>
        <p:sp>
          <p:nvSpPr>
            <p:cNvPr id="115" name="Line 271"/>
            <p:cNvSpPr>
              <a:spLocks noChangeShapeType="1"/>
            </p:cNvSpPr>
            <p:nvPr/>
          </p:nvSpPr>
          <p:spPr bwMode="auto">
            <a:xfrm>
              <a:off x="1581" y="1894"/>
              <a:ext cx="1" cy="1"/>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72"/>
            <p:cNvSpPr>
              <a:spLocks/>
            </p:cNvSpPr>
            <p:nvPr/>
          </p:nvSpPr>
          <p:spPr bwMode="auto">
            <a:xfrm>
              <a:off x="1543" y="1791"/>
              <a:ext cx="271" cy="292"/>
            </a:xfrm>
            <a:custGeom>
              <a:avLst/>
              <a:gdLst/>
              <a:ahLst/>
              <a:cxnLst>
                <a:cxn ang="0">
                  <a:pos x="354" y="302"/>
                </a:cxn>
                <a:cxn ang="0">
                  <a:pos x="328" y="384"/>
                </a:cxn>
                <a:cxn ang="0">
                  <a:pos x="146" y="366"/>
                </a:cxn>
                <a:cxn ang="0">
                  <a:pos x="4" y="261"/>
                </a:cxn>
                <a:cxn ang="0">
                  <a:pos x="51" y="140"/>
                </a:cxn>
                <a:cxn ang="0">
                  <a:pos x="108" y="139"/>
                </a:cxn>
                <a:cxn ang="0">
                  <a:pos x="121" y="104"/>
                </a:cxn>
                <a:cxn ang="0">
                  <a:pos x="167" y="122"/>
                </a:cxn>
                <a:cxn ang="0">
                  <a:pos x="119" y="30"/>
                </a:cxn>
                <a:cxn ang="0">
                  <a:pos x="175" y="41"/>
                </a:cxn>
                <a:cxn ang="0">
                  <a:pos x="209" y="118"/>
                </a:cxn>
                <a:cxn ang="0">
                  <a:pos x="252" y="4"/>
                </a:cxn>
                <a:cxn ang="0">
                  <a:pos x="309" y="23"/>
                </a:cxn>
                <a:cxn ang="0">
                  <a:pos x="264" y="136"/>
                </a:cxn>
                <a:cxn ang="0">
                  <a:pos x="329" y="93"/>
                </a:cxn>
                <a:cxn ang="0">
                  <a:pos x="382" y="119"/>
                </a:cxn>
                <a:cxn ang="0">
                  <a:pos x="299" y="170"/>
                </a:cxn>
                <a:cxn ang="0">
                  <a:pos x="345" y="188"/>
                </a:cxn>
                <a:cxn ang="0">
                  <a:pos x="335" y="222"/>
                </a:cxn>
                <a:cxn ang="0">
                  <a:pos x="374" y="258"/>
                </a:cxn>
                <a:cxn ang="0">
                  <a:pos x="97" y="180"/>
                </a:cxn>
              </a:cxnLst>
              <a:rect l="0" t="0" r="r" b="b"/>
              <a:pathLst>
                <a:path w="382" h="410">
                  <a:moveTo>
                    <a:pt x="354" y="302"/>
                  </a:moveTo>
                  <a:cubicBezTo>
                    <a:pt x="328" y="384"/>
                    <a:pt x="328" y="384"/>
                    <a:pt x="328" y="384"/>
                  </a:cubicBezTo>
                  <a:cubicBezTo>
                    <a:pt x="328" y="384"/>
                    <a:pt x="252" y="410"/>
                    <a:pt x="146" y="366"/>
                  </a:cubicBezTo>
                  <a:cubicBezTo>
                    <a:pt x="44" y="324"/>
                    <a:pt x="0" y="267"/>
                    <a:pt x="4" y="261"/>
                  </a:cubicBezTo>
                  <a:cubicBezTo>
                    <a:pt x="7" y="255"/>
                    <a:pt x="51" y="140"/>
                    <a:pt x="51" y="140"/>
                  </a:cubicBezTo>
                  <a:cubicBezTo>
                    <a:pt x="51" y="140"/>
                    <a:pt x="49" y="129"/>
                    <a:pt x="108" y="139"/>
                  </a:cubicBezTo>
                  <a:cubicBezTo>
                    <a:pt x="121" y="104"/>
                    <a:pt x="121" y="104"/>
                    <a:pt x="121" y="104"/>
                  </a:cubicBezTo>
                  <a:cubicBezTo>
                    <a:pt x="121" y="104"/>
                    <a:pt x="165" y="123"/>
                    <a:pt x="167" y="122"/>
                  </a:cubicBezTo>
                  <a:cubicBezTo>
                    <a:pt x="166" y="122"/>
                    <a:pt x="119" y="30"/>
                    <a:pt x="119" y="30"/>
                  </a:cubicBezTo>
                  <a:cubicBezTo>
                    <a:pt x="119" y="30"/>
                    <a:pt x="158" y="32"/>
                    <a:pt x="175" y="41"/>
                  </a:cubicBezTo>
                  <a:cubicBezTo>
                    <a:pt x="180" y="52"/>
                    <a:pt x="209" y="118"/>
                    <a:pt x="209" y="118"/>
                  </a:cubicBezTo>
                  <a:cubicBezTo>
                    <a:pt x="252" y="4"/>
                    <a:pt x="252" y="4"/>
                    <a:pt x="252" y="4"/>
                  </a:cubicBezTo>
                  <a:cubicBezTo>
                    <a:pt x="252" y="4"/>
                    <a:pt x="280" y="0"/>
                    <a:pt x="309" y="23"/>
                  </a:cubicBezTo>
                  <a:cubicBezTo>
                    <a:pt x="305" y="36"/>
                    <a:pt x="264" y="136"/>
                    <a:pt x="264" y="136"/>
                  </a:cubicBezTo>
                  <a:cubicBezTo>
                    <a:pt x="329" y="93"/>
                    <a:pt x="329" y="93"/>
                    <a:pt x="329" y="93"/>
                  </a:cubicBezTo>
                  <a:cubicBezTo>
                    <a:pt x="329" y="93"/>
                    <a:pt x="361" y="98"/>
                    <a:pt x="382" y="119"/>
                  </a:cubicBezTo>
                  <a:cubicBezTo>
                    <a:pt x="369" y="126"/>
                    <a:pt x="299" y="170"/>
                    <a:pt x="299" y="170"/>
                  </a:cubicBezTo>
                  <a:cubicBezTo>
                    <a:pt x="299" y="170"/>
                    <a:pt x="345" y="189"/>
                    <a:pt x="345" y="188"/>
                  </a:cubicBezTo>
                  <a:cubicBezTo>
                    <a:pt x="345" y="186"/>
                    <a:pt x="335" y="222"/>
                    <a:pt x="335" y="222"/>
                  </a:cubicBezTo>
                  <a:cubicBezTo>
                    <a:pt x="335" y="222"/>
                    <a:pt x="355" y="238"/>
                    <a:pt x="374" y="258"/>
                  </a:cubicBezTo>
                  <a:cubicBezTo>
                    <a:pt x="372" y="260"/>
                    <a:pt x="231" y="293"/>
                    <a:pt x="97" y="180"/>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17" name="Freeform 308"/>
          <p:cNvSpPr>
            <a:spLocks/>
          </p:cNvSpPr>
          <p:nvPr userDrawn="1"/>
        </p:nvSpPr>
        <p:spPr bwMode="auto">
          <a:xfrm>
            <a:off x="1382508" y="2754851"/>
            <a:ext cx="387054" cy="395288"/>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8" name="Freeform 636"/>
          <p:cNvSpPr>
            <a:spLocks/>
          </p:cNvSpPr>
          <p:nvPr userDrawn="1"/>
        </p:nvSpPr>
        <p:spPr bwMode="auto">
          <a:xfrm>
            <a:off x="1408114" y="1335215"/>
            <a:ext cx="335843" cy="335754"/>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9" name="Freeform 147"/>
          <p:cNvSpPr>
            <a:spLocks noEditPoints="1"/>
          </p:cNvSpPr>
          <p:nvPr userDrawn="1"/>
        </p:nvSpPr>
        <p:spPr bwMode="auto">
          <a:xfrm>
            <a:off x="6551400" y="871838"/>
            <a:ext cx="369190" cy="389335"/>
          </a:xfrm>
          <a:custGeom>
            <a:avLst/>
            <a:gdLst/>
            <a:ahLst/>
            <a:cxnLst>
              <a:cxn ang="0">
                <a:pos x="396" y="240"/>
              </a:cxn>
              <a:cxn ang="0">
                <a:pos x="390" y="131"/>
              </a:cxn>
              <a:cxn ang="0">
                <a:pos x="425" y="72"/>
              </a:cxn>
              <a:cxn ang="0">
                <a:pos x="424" y="61"/>
              </a:cxn>
              <a:cxn ang="0">
                <a:pos x="375" y="1"/>
              </a:cxn>
              <a:cxn ang="0">
                <a:pos x="36" y="92"/>
              </a:cxn>
              <a:cxn ang="0">
                <a:pos x="0" y="151"/>
              </a:cxn>
              <a:cxn ang="0">
                <a:pos x="39" y="217"/>
              </a:cxn>
              <a:cxn ang="0">
                <a:pos x="203" y="288"/>
              </a:cxn>
              <a:cxn ang="0">
                <a:pos x="26" y="343"/>
              </a:cxn>
              <a:cxn ang="0">
                <a:pos x="36" y="452"/>
              </a:cxn>
              <a:cxn ang="0">
                <a:pos x="64" y="460"/>
              </a:cxn>
              <a:cxn ang="0">
                <a:pos x="70" y="458"/>
              </a:cxn>
              <a:cxn ang="0">
                <a:pos x="402" y="368"/>
              </a:cxn>
              <a:cxn ang="0">
                <a:pos x="436" y="300"/>
              </a:cxn>
              <a:cxn ang="0">
                <a:pos x="52" y="356"/>
              </a:cxn>
              <a:cxn ang="0">
                <a:pos x="57" y="358"/>
              </a:cxn>
              <a:cxn ang="0">
                <a:pos x="72" y="393"/>
              </a:cxn>
              <a:cxn ang="0">
                <a:pos x="72" y="397"/>
              </a:cxn>
              <a:cxn ang="0">
                <a:pos x="72" y="400"/>
              </a:cxn>
              <a:cxn ang="0">
                <a:pos x="72" y="403"/>
              </a:cxn>
              <a:cxn ang="0">
                <a:pos x="72" y="406"/>
              </a:cxn>
              <a:cxn ang="0">
                <a:pos x="72" y="409"/>
              </a:cxn>
              <a:cxn ang="0">
                <a:pos x="72" y="412"/>
              </a:cxn>
              <a:cxn ang="0">
                <a:pos x="71" y="414"/>
              </a:cxn>
              <a:cxn ang="0">
                <a:pos x="71" y="417"/>
              </a:cxn>
              <a:cxn ang="0">
                <a:pos x="70" y="419"/>
              </a:cxn>
              <a:cxn ang="0">
                <a:pos x="68" y="423"/>
              </a:cxn>
              <a:cxn ang="0">
                <a:pos x="68" y="425"/>
              </a:cxn>
              <a:cxn ang="0">
                <a:pos x="67" y="426"/>
              </a:cxn>
              <a:cxn ang="0">
                <a:pos x="66" y="428"/>
              </a:cxn>
              <a:cxn ang="0">
                <a:pos x="65" y="429"/>
              </a:cxn>
              <a:cxn ang="0">
                <a:pos x="61" y="433"/>
              </a:cxn>
              <a:cxn ang="0">
                <a:pos x="53" y="431"/>
              </a:cxn>
              <a:cxn ang="0">
                <a:pos x="46" y="360"/>
              </a:cxn>
              <a:cxn ang="0">
                <a:pos x="96" y="423"/>
              </a:cxn>
              <a:cxn ang="0">
                <a:pos x="99" y="406"/>
              </a:cxn>
              <a:cxn ang="0">
                <a:pos x="99" y="400"/>
              </a:cxn>
              <a:cxn ang="0">
                <a:pos x="98" y="387"/>
              </a:cxn>
              <a:cxn ang="0">
                <a:pos x="98" y="383"/>
              </a:cxn>
              <a:cxn ang="0">
                <a:pos x="97" y="378"/>
              </a:cxn>
              <a:cxn ang="0">
                <a:pos x="96" y="375"/>
              </a:cxn>
              <a:cxn ang="0">
                <a:pos x="95" y="371"/>
              </a:cxn>
              <a:cxn ang="0">
                <a:pos x="93" y="367"/>
              </a:cxn>
              <a:cxn ang="0">
                <a:pos x="92" y="364"/>
              </a:cxn>
              <a:cxn ang="0">
                <a:pos x="91" y="361"/>
              </a:cxn>
              <a:cxn ang="0">
                <a:pos x="89" y="357"/>
              </a:cxn>
              <a:cxn ang="0">
                <a:pos x="87" y="354"/>
              </a:cxn>
              <a:cxn ang="0">
                <a:pos x="86" y="351"/>
              </a:cxn>
              <a:cxn ang="0">
                <a:pos x="84" y="348"/>
              </a:cxn>
              <a:cxn ang="0">
                <a:pos x="247" y="303"/>
              </a:cxn>
              <a:cxn ang="0">
                <a:pos x="257" y="291"/>
              </a:cxn>
              <a:cxn ang="0">
                <a:pos x="50" y="193"/>
              </a:cxn>
              <a:cxn ang="0">
                <a:pos x="27" y="151"/>
              </a:cxn>
              <a:cxn ang="0">
                <a:pos x="378" y="27"/>
              </a:cxn>
              <a:cxn ang="0">
                <a:pos x="398" y="64"/>
              </a:cxn>
              <a:cxn ang="0">
                <a:pos x="399" y="73"/>
              </a:cxn>
              <a:cxn ang="0">
                <a:pos x="208" y="158"/>
              </a:cxn>
              <a:cxn ang="0">
                <a:pos x="127" y="138"/>
              </a:cxn>
              <a:cxn ang="0">
                <a:pos x="134" y="155"/>
              </a:cxn>
              <a:cxn ang="0">
                <a:pos x="386" y="265"/>
              </a:cxn>
              <a:cxn ang="0">
                <a:pos x="410" y="310"/>
              </a:cxn>
            </a:cxnLst>
            <a:rect l="0" t="0" r="r" b="b"/>
            <a:pathLst>
              <a:path w="436" h="461">
                <a:moveTo>
                  <a:pt x="436" y="300"/>
                </a:moveTo>
                <a:cubicBezTo>
                  <a:pt x="433" y="271"/>
                  <a:pt x="426" y="251"/>
                  <a:pt x="396" y="240"/>
                </a:cubicBezTo>
                <a:cubicBezTo>
                  <a:pt x="393" y="238"/>
                  <a:pt x="316" y="205"/>
                  <a:pt x="246" y="175"/>
                </a:cubicBezTo>
                <a:cubicBezTo>
                  <a:pt x="288" y="162"/>
                  <a:pt x="390" y="131"/>
                  <a:pt x="390" y="131"/>
                </a:cubicBezTo>
                <a:cubicBezTo>
                  <a:pt x="391" y="131"/>
                  <a:pt x="391" y="130"/>
                  <a:pt x="391" y="130"/>
                </a:cubicBezTo>
                <a:cubicBezTo>
                  <a:pt x="418" y="119"/>
                  <a:pt x="425" y="92"/>
                  <a:pt x="425" y="72"/>
                </a:cubicBezTo>
                <a:cubicBezTo>
                  <a:pt x="425" y="68"/>
                  <a:pt x="425" y="65"/>
                  <a:pt x="425" y="61"/>
                </a:cubicBezTo>
                <a:cubicBezTo>
                  <a:pt x="424" y="61"/>
                  <a:pt x="424" y="61"/>
                  <a:pt x="424" y="61"/>
                </a:cubicBezTo>
                <a:cubicBezTo>
                  <a:pt x="422" y="39"/>
                  <a:pt x="413" y="20"/>
                  <a:pt x="400" y="9"/>
                </a:cubicBezTo>
                <a:cubicBezTo>
                  <a:pt x="393" y="3"/>
                  <a:pt x="384" y="0"/>
                  <a:pt x="375" y="1"/>
                </a:cubicBezTo>
                <a:cubicBezTo>
                  <a:pt x="374" y="1"/>
                  <a:pt x="374" y="1"/>
                  <a:pt x="373" y="1"/>
                </a:cubicBezTo>
                <a:cubicBezTo>
                  <a:pt x="36" y="92"/>
                  <a:pt x="36" y="92"/>
                  <a:pt x="36" y="92"/>
                </a:cubicBezTo>
                <a:cubicBezTo>
                  <a:pt x="35" y="92"/>
                  <a:pt x="35" y="92"/>
                  <a:pt x="35" y="92"/>
                </a:cubicBezTo>
                <a:cubicBezTo>
                  <a:pt x="13" y="99"/>
                  <a:pt x="0" y="122"/>
                  <a:pt x="0" y="151"/>
                </a:cubicBezTo>
                <a:cubicBezTo>
                  <a:pt x="0" y="154"/>
                  <a:pt x="0" y="158"/>
                  <a:pt x="1" y="161"/>
                </a:cubicBezTo>
                <a:cubicBezTo>
                  <a:pt x="4" y="196"/>
                  <a:pt x="20" y="207"/>
                  <a:pt x="39" y="217"/>
                </a:cubicBezTo>
                <a:cubicBezTo>
                  <a:pt x="39" y="217"/>
                  <a:pt x="39" y="217"/>
                  <a:pt x="39" y="217"/>
                </a:cubicBezTo>
                <a:cubicBezTo>
                  <a:pt x="39" y="217"/>
                  <a:pt x="155" y="267"/>
                  <a:pt x="203" y="288"/>
                </a:cubicBezTo>
                <a:cubicBezTo>
                  <a:pt x="157" y="300"/>
                  <a:pt x="58" y="327"/>
                  <a:pt x="48" y="330"/>
                </a:cubicBezTo>
                <a:cubicBezTo>
                  <a:pt x="39" y="331"/>
                  <a:pt x="32" y="335"/>
                  <a:pt x="26" y="343"/>
                </a:cubicBezTo>
                <a:cubicBezTo>
                  <a:pt x="15" y="356"/>
                  <a:pt x="10" y="377"/>
                  <a:pt x="12" y="399"/>
                </a:cubicBezTo>
                <a:cubicBezTo>
                  <a:pt x="14" y="421"/>
                  <a:pt x="23" y="441"/>
                  <a:pt x="36" y="452"/>
                </a:cubicBezTo>
                <a:cubicBezTo>
                  <a:pt x="44" y="458"/>
                  <a:pt x="53" y="461"/>
                  <a:pt x="62" y="460"/>
                </a:cubicBezTo>
                <a:cubicBezTo>
                  <a:pt x="62" y="460"/>
                  <a:pt x="63" y="460"/>
                  <a:pt x="64" y="460"/>
                </a:cubicBezTo>
                <a:cubicBezTo>
                  <a:pt x="64" y="460"/>
                  <a:pt x="64" y="460"/>
                  <a:pt x="64" y="460"/>
                </a:cubicBezTo>
                <a:cubicBezTo>
                  <a:pt x="66" y="459"/>
                  <a:pt x="68" y="459"/>
                  <a:pt x="70" y="458"/>
                </a:cubicBezTo>
                <a:cubicBezTo>
                  <a:pt x="86" y="454"/>
                  <a:pt x="401" y="369"/>
                  <a:pt x="401" y="369"/>
                </a:cubicBezTo>
                <a:cubicBezTo>
                  <a:pt x="401" y="369"/>
                  <a:pt x="402" y="369"/>
                  <a:pt x="402" y="368"/>
                </a:cubicBezTo>
                <a:cubicBezTo>
                  <a:pt x="424" y="361"/>
                  <a:pt x="436" y="339"/>
                  <a:pt x="436" y="310"/>
                </a:cubicBezTo>
                <a:cubicBezTo>
                  <a:pt x="436" y="307"/>
                  <a:pt x="436" y="303"/>
                  <a:pt x="436" y="300"/>
                </a:cubicBezTo>
                <a:close/>
                <a:moveTo>
                  <a:pt x="46" y="360"/>
                </a:moveTo>
                <a:cubicBezTo>
                  <a:pt x="48" y="358"/>
                  <a:pt x="50" y="356"/>
                  <a:pt x="52" y="356"/>
                </a:cubicBezTo>
                <a:cubicBezTo>
                  <a:pt x="53" y="356"/>
                  <a:pt x="55" y="357"/>
                  <a:pt x="57" y="358"/>
                </a:cubicBezTo>
                <a:cubicBezTo>
                  <a:pt x="57" y="358"/>
                  <a:pt x="57" y="358"/>
                  <a:pt x="57" y="358"/>
                </a:cubicBezTo>
                <a:cubicBezTo>
                  <a:pt x="63" y="363"/>
                  <a:pt x="70" y="375"/>
                  <a:pt x="72" y="393"/>
                </a:cubicBezTo>
                <a:cubicBezTo>
                  <a:pt x="72" y="393"/>
                  <a:pt x="72" y="393"/>
                  <a:pt x="72" y="393"/>
                </a:cubicBezTo>
                <a:cubicBezTo>
                  <a:pt x="72" y="393"/>
                  <a:pt x="72" y="393"/>
                  <a:pt x="72" y="393"/>
                </a:cubicBezTo>
                <a:cubicBezTo>
                  <a:pt x="72" y="394"/>
                  <a:pt x="72" y="396"/>
                  <a:pt x="72" y="397"/>
                </a:cubicBezTo>
                <a:cubicBezTo>
                  <a:pt x="72" y="397"/>
                  <a:pt x="72" y="398"/>
                  <a:pt x="72" y="398"/>
                </a:cubicBezTo>
                <a:cubicBezTo>
                  <a:pt x="72" y="399"/>
                  <a:pt x="72" y="399"/>
                  <a:pt x="72" y="400"/>
                </a:cubicBezTo>
                <a:cubicBezTo>
                  <a:pt x="72" y="401"/>
                  <a:pt x="72" y="401"/>
                  <a:pt x="72" y="402"/>
                </a:cubicBezTo>
                <a:cubicBezTo>
                  <a:pt x="72" y="402"/>
                  <a:pt x="72" y="403"/>
                  <a:pt x="72" y="403"/>
                </a:cubicBezTo>
                <a:cubicBezTo>
                  <a:pt x="72" y="404"/>
                  <a:pt x="72" y="405"/>
                  <a:pt x="72" y="406"/>
                </a:cubicBezTo>
                <a:cubicBezTo>
                  <a:pt x="72" y="406"/>
                  <a:pt x="72" y="406"/>
                  <a:pt x="72" y="406"/>
                </a:cubicBezTo>
                <a:cubicBezTo>
                  <a:pt x="72" y="407"/>
                  <a:pt x="72" y="408"/>
                  <a:pt x="72" y="408"/>
                </a:cubicBezTo>
                <a:cubicBezTo>
                  <a:pt x="72" y="409"/>
                  <a:pt x="72" y="409"/>
                  <a:pt x="72" y="409"/>
                </a:cubicBezTo>
                <a:cubicBezTo>
                  <a:pt x="72" y="410"/>
                  <a:pt x="72" y="410"/>
                  <a:pt x="72" y="411"/>
                </a:cubicBezTo>
                <a:cubicBezTo>
                  <a:pt x="72" y="411"/>
                  <a:pt x="72" y="412"/>
                  <a:pt x="72" y="412"/>
                </a:cubicBezTo>
                <a:cubicBezTo>
                  <a:pt x="71" y="412"/>
                  <a:pt x="71" y="413"/>
                  <a:pt x="71" y="413"/>
                </a:cubicBezTo>
                <a:cubicBezTo>
                  <a:pt x="71" y="414"/>
                  <a:pt x="71" y="414"/>
                  <a:pt x="71" y="414"/>
                </a:cubicBezTo>
                <a:cubicBezTo>
                  <a:pt x="71" y="415"/>
                  <a:pt x="71" y="415"/>
                  <a:pt x="71" y="416"/>
                </a:cubicBezTo>
                <a:cubicBezTo>
                  <a:pt x="71" y="416"/>
                  <a:pt x="71" y="416"/>
                  <a:pt x="71" y="417"/>
                </a:cubicBezTo>
                <a:cubicBezTo>
                  <a:pt x="70" y="417"/>
                  <a:pt x="70" y="418"/>
                  <a:pt x="70" y="418"/>
                </a:cubicBezTo>
                <a:cubicBezTo>
                  <a:pt x="70" y="418"/>
                  <a:pt x="70" y="418"/>
                  <a:pt x="70" y="419"/>
                </a:cubicBezTo>
                <a:cubicBezTo>
                  <a:pt x="70" y="420"/>
                  <a:pt x="69" y="421"/>
                  <a:pt x="69" y="422"/>
                </a:cubicBezTo>
                <a:cubicBezTo>
                  <a:pt x="69" y="423"/>
                  <a:pt x="68" y="423"/>
                  <a:pt x="68" y="423"/>
                </a:cubicBezTo>
                <a:cubicBezTo>
                  <a:pt x="68" y="423"/>
                  <a:pt x="68" y="424"/>
                  <a:pt x="68" y="424"/>
                </a:cubicBezTo>
                <a:cubicBezTo>
                  <a:pt x="68" y="424"/>
                  <a:pt x="68" y="425"/>
                  <a:pt x="68" y="425"/>
                </a:cubicBezTo>
                <a:cubicBezTo>
                  <a:pt x="67" y="425"/>
                  <a:pt x="67" y="425"/>
                  <a:pt x="67" y="426"/>
                </a:cubicBezTo>
                <a:cubicBezTo>
                  <a:pt x="67" y="426"/>
                  <a:pt x="67" y="426"/>
                  <a:pt x="67" y="426"/>
                </a:cubicBezTo>
                <a:cubicBezTo>
                  <a:pt x="67" y="427"/>
                  <a:pt x="66" y="427"/>
                  <a:pt x="66" y="427"/>
                </a:cubicBezTo>
                <a:cubicBezTo>
                  <a:pt x="66" y="427"/>
                  <a:pt x="66" y="428"/>
                  <a:pt x="66" y="428"/>
                </a:cubicBezTo>
                <a:cubicBezTo>
                  <a:pt x="66" y="428"/>
                  <a:pt x="66" y="428"/>
                  <a:pt x="65" y="429"/>
                </a:cubicBezTo>
                <a:cubicBezTo>
                  <a:pt x="65" y="429"/>
                  <a:pt x="65" y="429"/>
                  <a:pt x="65" y="429"/>
                </a:cubicBezTo>
                <a:cubicBezTo>
                  <a:pt x="65" y="429"/>
                  <a:pt x="65" y="430"/>
                  <a:pt x="64" y="430"/>
                </a:cubicBezTo>
                <a:cubicBezTo>
                  <a:pt x="64" y="431"/>
                  <a:pt x="62" y="432"/>
                  <a:pt x="61" y="433"/>
                </a:cubicBezTo>
                <a:cubicBezTo>
                  <a:pt x="61" y="433"/>
                  <a:pt x="60" y="433"/>
                  <a:pt x="58" y="434"/>
                </a:cubicBezTo>
                <a:cubicBezTo>
                  <a:pt x="56" y="433"/>
                  <a:pt x="55" y="432"/>
                  <a:pt x="53" y="431"/>
                </a:cubicBezTo>
                <a:cubicBezTo>
                  <a:pt x="48" y="426"/>
                  <a:pt x="40" y="415"/>
                  <a:pt x="39" y="396"/>
                </a:cubicBezTo>
                <a:cubicBezTo>
                  <a:pt x="37" y="378"/>
                  <a:pt x="42" y="365"/>
                  <a:pt x="46" y="360"/>
                </a:cubicBezTo>
                <a:close/>
                <a:moveTo>
                  <a:pt x="393" y="343"/>
                </a:moveTo>
                <a:cubicBezTo>
                  <a:pt x="392" y="344"/>
                  <a:pt x="158" y="407"/>
                  <a:pt x="96" y="423"/>
                </a:cubicBezTo>
                <a:cubicBezTo>
                  <a:pt x="98" y="418"/>
                  <a:pt x="99" y="412"/>
                  <a:pt x="99" y="407"/>
                </a:cubicBezTo>
                <a:cubicBezTo>
                  <a:pt x="99" y="406"/>
                  <a:pt x="99" y="406"/>
                  <a:pt x="99" y="406"/>
                </a:cubicBezTo>
                <a:cubicBezTo>
                  <a:pt x="99" y="405"/>
                  <a:pt x="99" y="404"/>
                  <a:pt x="99" y="404"/>
                </a:cubicBezTo>
                <a:cubicBezTo>
                  <a:pt x="99" y="403"/>
                  <a:pt x="99" y="402"/>
                  <a:pt x="99" y="400"/>
                </a:cubicBezTo>
                <a:cubicBezTo>
                  <a:pt x="99" y="397"/>
                  <a:pt x="99" y="394"/>
                  <a:pt x="99" y="391"/>
                </a:cubicBezTo>
                <a:cubicBezTo>
                  <a:pt x="99" y="389"/>
                  <a:pt x="98" y="388"/>
                  <a:pt x="98" y="387"/>
                </a:cubicBezTo>
                <a:cubicBezTo>
                  <a:pt x="98" y="386"/>
                  <a:pt x="98" y="386"/>
                  <a:pt x="98" y="386"/>
                </a:cubicBezTo>
                <a:cubicBezTo>
                  <a:pt x="98" y="385"/>
                  <a:pt x="98" y="384"/>
                  <a:pt x="98" y="383"/>
                </a:cubicBezTo>
                <a:cubicBezTo>
                  <a:pt x="98" y="383"/>
                  <a:pt x="97" y="382"/>
                  <a:pt x="97" y="382"/>
                </a:cubicBezTo>
                <a:cubicBezTo>
                  <a:pt x="97" y="381"/>
                  <a:pt x="97" y="380"/>
                  <a:pt x="97" y="378"/>
                </a:cubicBezTo>
                <a:cubicBezTo>
                  <a:pt x="97" y="378"/>
                  <a:pt x="97" y="378"/>
                  <a:pt x="97" y="378"/>
                </a:cubicBezTo>
                <a:cubicBezTo>
                  <a:pt x="96" y="377"/>
                  <a:pt x="96" y="376"/>
                  <a:pt x="96" y="375"/>
                </a:cubicBezTo>
                <a:cubicBezTo>
                  <a:pt x="96" y="375"/>
                  <a:pt x="96" y="374"/>
                  <a:pt x="96" y="374"/>
                </a:cubicBezTo>
                <a:cubicBezTo>
                  <a:pt x="95" y="373"/>
                  <a:pt x="95" y="372"/>
                  <a:pt x="95" y="371"/>
                </a:cubicBezTo>
                <a:cubicBezTo>
                  <a:pt x="95" y="371"/>
                  <a:pt x="95" y="371"/>
                  <a:pt x="95" y="370"/>
                </a:cubicBezTo>
                <a:cubicBezTo>
                  <a:pt x="94" y="369"/>
                  <a:pt x="94" y="368"/>
                  <a:pt x="93" y="367"/>
                </a:cubicBezTo>
                <a:cubicBezTo>
                  <a:pt x="93" y="367"/>
                  <a:pt x="93" y="367"/>
                  <a:pt x="93" y="367"/>
                </a:cubicBezTo>
                <a:cubicBezTo>
                  <a:pt x="93" y="366"/>
                  <a:pt x="93" y="365"/>
                  <a:pt x="92" y="364"/>
                </a:cubicBezTo>
                <a:cubicBezTo>
                  <a:pt x="92" y="363"/>
                  <a:pt x="92" y="363"/>
                  <a:pt x="92" y="363"/>
                </a:cubicBezTo>
                <a:cubicBezTo>
                  <a:pt x="92" y="362"/>
                  <a:pt x="91" y="361"/>
                  <a:pt x="91" y="361"/>
                </a:cubicBezTo>
                <a:cubicBezTo>
                  <a:pt x="91" y="360"/>
                  <a:pt x="91" y="360"/>
                  <a:pt x="90" y="360"/>
                </a:cubicBezTo>
                <a:cubicBezTo>
                  <a:pt x="90" y="359"/>
                  <a:pt x="90" y="358"/>
                  <a:pt x="89" y="357"/>
                </a:cubicBezTo>
                <a:cubicBezTo>
                  <a:pt x="89" y="357"/>
                  <a:pt x="89" y="356"/>
                  <a:pt x="89" y="356"/>
                </a:cubicBezTo>
                <a:cubicBezTo>
                  <a:pt x="88" y="355"/>
                  <a:pt x="88" y="355"/>
                  <a:pt x="87" y="354"/>
                </a:cubicBezTo>
                <a:cubicBezTo>
                  <a:pt x="87" y="353"/>
                  <a:pt x="87" y="353"/>
                  <a:pt x="87" y="353"/>
                </a:cubicBezTo>
                <a:cubicBezTo>
                  <a:pt x="87" y="352"/>
                  <a:pt x="86" y="352"/>
                  <a:pt x="86" y="351"/>
                </a:cubicBezTo>
                <a:cubicBezTo>
                  <a:pt x="86" y="351"/>
                  <a:pt x="85" y="350"/>
                  <a:pt x="85" y="350"/>
                </a:cubicBezTo>
                <a:cubicBezTo>
                  <a:pt x="85" y="349"/>
                  <a:pt x="84" y="349"/>
                  <a:pt x="84" y="348"/>
                </a:cubicBezTo>
                <a:cubicBezTo>
                  <a:pt x="84" y="348"/>
                  <a:pt x="84" y="348"/>
                  <a:pt x="83" y="348"/>
                </a:cubicBezTo>
                <a:cubicBezTo>
                  <a:pt x="126" y="336"/>
                  <a:pt x="247" y="303"/>
                  <a:pt x="247" y="303"/>
                </a:cubicBezTo>
                <a:cubicBezTo>
                  <a:pt x="253" y="302"/>
                  <a:pt x="256" y="297"/>
                  <a:pt x="257" y="292"/>
                </a:cubicBezTo>
                <a:cubicBezTo>
                  <a:pt x="257" y="291"/>
                  <a:pt x="257" y="291"/>
                  <a:pt x="257" y="291"/>
                </a:cubicBezTo>
                <a:cubicBezTo>
                  <a:pt x="257" y="285"/>
                  <a:pt x="254" y="280"/>
                  <a:pt x="249" y="278"/>
                </a:cubicBezTo>
                <a:cubicBezTo>
                  <a:pt x="249" y="278"/>
                  <a:pt x="51" y="193"/>
                  <a:pt x="50" y="193"/>
                </a:cubicBezTo>
                <a:cubicBezTo>
                  <a:pt x="36" y="186"/>
                  <a:pt x="29" y="181"/>
                  <a:pt x="27" y="158"/>
                </a:cubicBezTo>
                <a:cubicBezTo>
                  <a:pt x="27" y="156"/>
                  <a:pt x="27" y="153"/>
                  <a:pt x="27" y="151"/>
                </a:cubicBezTo>
                <a:cubicBezTo>
                  <a:pt x="27" y="134"/>
                  <a:pt x="33" y="121"/>
                  <a:pt x="43" y="117"/>
                </a:cubicBezTo>
                <a:cubicBezTo>
                  <a:pt x="45" y="117"/>
                  <a:pt x="375" y="28"/>
                  <a:pt x="378" y="27"/>
                </a:cubicBezTo>
                <a:cubicBezTo>
                  <a:pt x="380" y="27"/>
                  <a:pt x="382" y="29"/>
                  <a:pt x="383" y="30"/>
                </a:cubicBezTo>
                <a:cubicBezTo>
                  <a:pt x="389" y="34"/>
                  <a:pt x="396" y="46"/>
                  <a:pt x="398" y="64"/>
                </a:cubicBezTo>
                <a:cubicBezTo>
                  <a:pt x="398" y="65"/>
                  <a:pt x="398" y="65"/>
                  <a:pt x="398" y="65"/>
                </a:cubicBezTo>
                <a:cubicBezTo>
                  <a:pt x="398" y="66"/>
                  <a:pt x="399" y="69"/>
                  <a:pt x="399" y="73"/>
                </a:cubicBezTo>
                <a:cubicBezTo>
                  <a:pt x="399" y="83"/>
                  <a:pt x="396" y="99"/>
                  <a:pt x="382" y="105"/>
                </a:cubicBezTo>
                <a:cubicBezTo>
                  <a:pt x="380" y="106"/>
                  <a:pt x="211" y="157"/>
                  <a:pt x="208" y="158"/>
                </a:cubicBezTo>
                <a:cubicBezTo>
                  <a:pt x="184" y="148"/>
                  <a:pt x="145" y="131"/>
                  <a:pt x="145" y="131"/>
                </a:cubicBezTo>
                <a:cubicBezTo>
                  <a:pt x="138" y="128"/>
                  <a:pt x="130" y="131"/>
                  <a:pt x="127" y="138"/>
                </a:cubicBezTo>
                <a:cubicBezTo>
                  <a:pt x="127" y="139"/>
                  <a:pt x="126" y="141"/>
                  <a:pt x="126" y="143"/>
                </a:cubicBezTo>
                <a:cubicBezTo>
                  <a:pt x="126" y="148"/>
                  <a:pt x="129" y="153"/>
                  <a:pt x="134" y="155"/>
                </a:cubicBezTo>
                <a:cubicBezTo>
                  <a:pt x="386" y="264"/>
                  <a:pt x="386" y="264"/>
                  <a:pt x="386" y="264"/>
                </a:cubicBezTo>
                <a:cubicBezTo>
                  <a:pt x="386" y="264"/>
                  <a:pt x="386" y="264"/>
                  <a:pt x="386" y="265"/>
                </a:cubicBezTo>
                <a:cubicBezTo>
                  <a:pt x="401" y="270"/>
                  <a:pt x="407" y="277"/>
                  <a:pt x="409" y="302"/>
                </a:cubicBezTo>
                <a:cubicBezTo>
                  <a:pt x="410" y="305"/>
                  <a:pt x="410" y="307"/>
                  <a:pt x="410" y="310"/>
                </a:cubicBezTo>
                <a:cubicBezTo>
                  <a:pt x="410" y="327"/>
                  <a:pt x="404" y="339"/>
                  <a:pt x="393" y="34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20" name="Freeform 421"/>
          <p:cNvSpPr>
            <a:spLocks noEditPoints="1"/>
          </p:cNvSpPr>
          <p:nvPr userDrawn="1"/>
        </p:nvSpPr>
        <p:spPr bwMode="auto">
          <a:xfrm>
            <a:off x="6599038" y="3304200"/>
            <a:ext cx="273915" cy="383381"/>
          </a:xfrm>
          <a:custGeom>
            <a:avLst/>
            <a:gdLst/>
            <a:ahLst/>
            <a:cxnLst>
              <a:cxn ang="0">
                <a:pos x="163" y="453"/>
              </a:cxn>
              <a:cxn ang="0">
                <a:pos x="97" y="425"/>
              </a:cxn>
              <a:cxn ang="0">
                <a:pos x="0" y="100"/>
              </a:cxn>
              <a:cxn ang="0">
                <a:pos x="4" y="70"/>
              </a:cxn>
              <a:cxn ang="0">
                <a:pos x="14" y="58"/>
              </a:cxn>
              <a:cxn ang="0">
                <a:pos x="62" y="29"/>
              </a:cxn>
              <a:cxn ang="0">
                <a:pos x="163" y="0"/>
              </a:cxn>
              <a:cxn ang="0">
                <a:pos x="311" y="58"/>
              </a:cxn>
              <a:cxn ang="0">
                <a:pos x="318" y="83"/>
              </a:cxn>
              <a:cxn ang="0">
                <a:pos x="295" y="79"/>
              </a:cxn>
              <a:cxn ang="0">
                <a:pos x="251" y="52"/>
              </a:cxn>
              <a:cxn ang="0">
                <a:pos x="85" y="47"/>
              </a:cxn>
              <a:cxn ang="0">
                <a:pos x="28" y="82"/>
              </a:cxn>
              <a:cxn ang="0">
                <a:pos x="27" y="100"/>
              </a:cxn>
              <a:cxn ang="0">
                <a:pos x="115" y="404"/>
              </a:cxn>
              <a:cxn ang="0">
                <a:pos x="162" y="427"/>
              </a:cxn>
              <a:cxn ang="0">
                <a:pos x="183" y="423"/>
              </a:cxn>
              <a:cxn ang="0">
                <a:pos x="287" y="257"/>
              </a:cxn>
              <a:cxn ang="0">
                <a:pos x="258" y="261"/>
              </a:cxn>
              <a:cxn ang="0">
                <a:pos x="146" y="334"/>
              </a:cxn>
              <a:cxn ang="0">
                <a:pos x="69" y="286"/>
              </a:cxn>
              <a:cxn ang="0">
                <a:pos x="58" y="202"/>
              </a:cxn>
              <a:cxn ang="0">
                <a:pos x="162" y="107"/>
              </a:cxn>
              <a:cxn ang="0">
                <a:pos x="229" y="139"/>
              </a:cxn>
              <a:cxn ang="0">
                <a:pos x="237" y="220"/>
              </a:cxn>
              <a:cxn ang="0">
                <a:pos x="215" y="261"/>
              </a:cxn>
              <a:cxn ang="0">
                <a:pos x="195" y="273"/>
              </a:cxn>
              <a:cxn ang="0">
                <a:pos x="179" y="264"/>
              </a:cxn>
              <a:cxn ang="0">
                <a:pos x="167" y="271"/>
              </a:cxn>
              <a:cxn ang="0">
                <a:pos x="115" y="273"/>
              </a:cxn>
              <a:cxn ang="0">
                <a:pos x="93" y="232"/>
              </a:cxn>
              <a:cxn ang="0">
                <a:pos x="118" y="170"/>
              </a:cxn>
              <a:cxn ang="0">
                <a:pos x="160" y="152"/>
              </a:cxn>
              <a:cxn ang="0">
                <a:pos x="199" y="174"/>
              </a:cxn>
              <a:cxn ang="0">
                <a:pos x="205" y="226"/>
              </a:cxn>
              <a:cxn ang="0">
                <a:pos x="218" y="186"/>
              </a:cxn>
              <a:cxn ang="0">
                <a:pos x="178" y="136"/>
              </a:cxn>
              <a:cxn ang="0">
                <a:pos x="112" y="156"/>
              </a:cxn>
              <a:cxn ang="0">
                <a:pos x="82" y="230"/>
              </a:cxn>
              <a:cxn ang="0">
                <a:pos x="117" y="301"/>
              </a:cxn>
              <a:cxn ang="0">
                <a:pos x="211" y="279"/>
              </a:cxn>
              <a:cxn ang="0">
                <a:pos x="249" y="224"/>
              </a:cxn>
              <a:cxn ang="0">
                <a:pos x="298" y="126"/>
              </a:cxn>
              <a:cxn ang="0">
                <a:pos x="302" y="121"/>
              </a:cxn>
              <a:cxn ang="0">
                <a:pos x="311" y="117"/>
              </a:cxn>
              <a:cxn ang="0">
                <a:pos x="311" y="117"/>
              </a:cxn>
              <a:cxn ang="0">
                <a:pos x="311" y="117"/>
              </a:cxn>
              <a:cxn ang="0">
                <a:pos x="320" y="120"/>
              </a:cxn>
              <a:cxn ang="0">
                <a:pos x="322" y="122"/>
              </a:cxn>
              <a:cxn ang="0">
                <a:pos x="322" y="122"/>
              </a:cxn>
              <a:cxn ang="0">
                <a:pos x="324" y="131"/>
              </a:cxn>
              <a:cxn ang="0">
                <a:pos x="228" y="425"/>
              </a:cxn>
              <a:cxn ang="0">
                <a:pos x="163" y="453"/>
              </a:cxn>
              <a:cxn ang="0">
                <a:pos x="172" y="231"/>
              </a:cxn>
              <a:cxn ang="0">
                <a:pos x="180" y="212"/>
              </a:cxn>
              <a:cxn ang="0">
                <a:pos x="176" y="188"/>
              </a:cxn>
              <a:cxn ang="0">
                <a:pos x="160" y="179"/>
              </a:cxn>
              <a:cxn ang="0">
                <a:pos x="137" y="188"/>
              </a:cxn>
              <a:cxn ang="0">
                <a:pos x="120" y="232"/>
              </a:cxn>
              <a:cxn ang="0">
                <a:pos x="128" y="249"/>
              </a:cxn>
              <a:cxn ang="0">
                <a:pos x="154" y="248"/>
              </a:cxn>
            </a:cxnLst>
            <a:rect l="0" t="0" r="r" b="b"/>
            <a:pathLst>
              <a:path w="324" h="453">
                <a:moveTo>
                  <a:pt x="163" y="453"/>
                </a:moveTo>
                <a:cubicBezTo>
                  <a:pt x="163" y="453"/>
                  <a:pt x="163" y="453"/>
                  <a:pt x="163" y="453"/>
                </a:cubicBezTo>
                <a:cubicBezTo>
                  <a:pt x="163" y="453"/>
                  <a:pt x="163" y="453"/>
                  <a:pt x="163" y="453"/>
                </a:cubicBezTo>
                <a:cubicBezTo>
                  <a:pt x="163" y="453"/>
                  <a:pt x="163" y="453"/>
                  <a:pt x="163" y="453"/>
                </a:cubicBezTo>
                <a:cubicBezTo>
                  <a:pt x="163" y="453"/>
                  <a:pt x="163" y="453"/>
                  <a:pt x="163" y="453"/>
                </a:cubicBezTo>
                <a:cubicBezTo>
                  <a:pt x="154" y="453"/>
                  <a:pt x="144" y="452"/>
                  <a:pt x="133" y="448"/>
                </a:cubicBezTo>
                <a:cubicBezTo>
                  <a:pt x="133" y="448"/>
                  <a:pt x="133" y="448"/>
                  <a:pt x="133" y="448"/>
                </a:cubicBezTo>
                <a:cubicBezTo>
                  <a:pt x="122" y="443"/>
                  <a:pt x="110" y="436"/>
                  <a:pt x="97" y="425"/>
                </a:cubicBezTo>
                <a:cubicBezTo>
                  <a:pt x="97" y="425"/>
                  <a:pt x="97" y="425"/>
                  <a:pt x="97" y="425"/>
                </a:cubicBezTo>
                <a:cubicBezTo>
                  <a:pt x="66" y="398"/>
                  <a:pt x="25" y="347"/>
                  <a:pt x="13" y="261"/>
                </a:cubicBezTo>
                <a:cubicBezTo>
                  <a:pt x="13" y="261"/>
                  <a:pt x="13" y="261"/>
                  <a:pt x="13" y="261"/>
                </a:cubicBezTo>
                <a:cubicBezTo>
                  <a:pt x="8" y="228"/>
                  <a:pt x="0" y="145"/>
                  <a:pt x="0" y="100"/>
                </a:cubicBezTo>
                <a:cubicBezTo>
                  <a:pt x="0" y="100"/>
                  <a:pt x="0" y="100"/>
                  <a:pt x="0" y="100"/>
                </a:cubicBezTo>
                <a:cubicBezTo>
                  <a:pt x="0" y="90"/>
                  <a:pt x="1" y="83"/>
                  <a:pt x="2" y="76"/>
                </a:cubicBezTo>
                <a:cubicBezTo>
                  <a:pt x="2" y="76"/>
                  <a:pt x="2" y="76"/>
                  <a:pt x="2" y="76"/>
                </a:cubicBezTo>
                <a:cubicBezTo>
                  <a:pt x="2" y="74"/>
                  <a:pt x="3" y="72"/>
                  <a:pt x="4" y="70"/>
                </a:cubicBezTo>
                <a:cubicBezTo>
                  <a:pt x="4" y="70"/>
                  <a:pt x="4" y="70"/>
                  <a:pt x="4" y="70"/>
                </a:cubicBezTo>
                <a:cubicBezTo>
                  <a:pt x="4" y="68"/>
                  <a:pt x="5" y="66"/>
                  <a:pt x="7" y="64"/>
                </a:cubicBezTo>
                <a:cubicBezTo>
                  <a:pt x="7" y="64"/>
                  <a:pt x="7" y="64"/>
                  <a:pt x="7" y="64"/>
                </a:cubicBezTo>
                <a:cubicBezTo>
                  <a:pt x="9" y="62"/>
                  <a:pt x="11" y="61"/>
                  <a:pt x="14" y="58"/>
                </a:cubicBezTo>
                <a:cubicBezTo>
                  <a:pt x="14" y="58"/>
                  <a:pt x="14" y="58"/>
                  <a:pt x="14"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0"/>
                  <a:pt x="163" y="0"/>
                </a:cubicBezTo>
                <a:cubicBezTo>
                  <a:pt x="163" y="0"/>
                  <a:pt x="163" y="0"/>
                  <a:pt x="163" y="0"/>
                </a:cubicBezTo>
                <a:cubicBezTo>
                  <a:pt x="163" y="0"/>
                  <a:pt x="163" y="0"/>
                  <a:pt x="163" y="0"/>
                </a:cubicBezTo>
                <a:cubicBezTo>
                  <a:pt x="194" y="0"/>
                  <a:pt x="226" y="11"/>
                  <a:pt x="252" y="23"/>
                </a:cubicBezTo>
                <a:cubicBezTo>
                  <a:pt x="252" y="23"/>
                  <a:pt x="252" y="23"/>
                  <a:pt x="252" y="23"/>
                </a:cubicBezTo>
                <a:cubicBezTo>
                  <a:pt x="279" y="36"/>
                  <a:pt x="300" y="50"/>
                  <a:pt x="311" y="58"/>
                </a:cubicBezTo>
                <a:cubicBezTo>
                  <a:pt x="311" y="58"/>
                  <a:pt x="311" y="58"/>
                  <a:pt x="311" y="58"/>
                </a:cubicBezTo>
                <a:cubicBezTo>
                  <a:pt x="314" y="61"/>
                  <a:pt x="316" y="62"/>
                  <a:pt x="318" y="64"/>
                </a:cubicBezTo>
                <a:cubicBezTo>
                  <a:pt x="318" y="64"/>
                  <a:pt x="318" y="64"/>
                  <a:pt x="318" y="64"/>
                </a:cubicBezTo>
                <a:cubicBezTo>
                  <a:pt x="324" y="70"/>
                  <a:pt x="324" y="78"/>
                  <a:pt x="318" y="83"/>
                </a:cubicBezTo>
                <a:cubicBezTo>
                  <a:pt x="318" y="83"/>
                  <a:pt x="318" y="83"/>
                  <a:pt x="318" y="83"/>
                </a:cubicBezTo>
                <a:cubicBezTo>
                  <a:pt x="313" y="88"/>
                  <a:pt x="305" y="88"/>
                  <a:pt x="300" y="83"/>
                </a:cubicBezTo>
                <a:cubicBezTo>
                  <a:pt x="300" y="83"/>
                  <a:pt x="300" y="83"/>
                  <a:pt x="300" y="83"/>
                </a:cubicBezTo>
                <a:cubicBezTo>
                  <a:pt x="299" y="83"/>
                  <a:pt x="298" y="81"/>
                  <a:pt x="295" y="79"/>
                </a:cubicBezTo>
                <a:cubicBezTo>
                  <a:pt x="295" y="79"/>
                  <a:pt x="295" y="79"/>
                  <a:pt x="295" y="79"/>
                </a:cubicBezTo>
                <a:cubicBezTo>
                  <a:pt x="292" y="77"/>
                  <a:pt x="289" y="75"/>
                  <a:pt x="284" y="72"/>
                </a:cubicBezTo>
                <a:cubicBezTo>
                  <a:pt x="284" y="72"/>
                  <a:pt x="284" y="72"/>
                  <a:pt x="284" y="72"/>
                </a:cubicBezTo>
                <a:cubicBezTo>
                  <a:pt x="276" y="66"/>
                  <a:pt x="264" y="59"/>
                  <a:pt x="251" y="52"/>
                </a:cubicBezTo>
                <a:cubicBezTo>
                  <a:pt x="251" y="52"/>
                  <a:pt x="251" y="52"/>
                  <a:pt x="251" y="52"/>
                </a:cubicBezTo>
                <a:cubicBezTo>
                  <a:pt x="225" y="39"/>
                  <a:pt x="192" y="27"/>
                  <a:pt x="163" y="27"/>
                </a:cubicBezTo>
                <a:cubicBezTo>
                  <a:pt x="163" y="27"/>
                  <a:pt x="163" y="27"/>
                  <a:pt x="163" y="27"/>
                </a:cubicBezTo>
                <a:cubicBezTo>
                  <a:pt x="163" y="27"/>
                  <a:pt x="163" y="27"/>
                  <a:pt x="163" y="27"/>
                </a:cubicBezTo>
                <a:cubicBezTo>
                  <a:pt x="137" y="27"/>
                  <a:pt x="109" y="36"/>
                  <a:pt x="85" y="47"/>
                </a:cubicBezTo>
                <a:cubicBezTo>
                  <a:pt x="85" y="47"/>
                  <a:pt x="85" y="47"/>
                  <a:pt x="85" y="47"/>
                </a:cubicBezTo>
                <a:cubicBezTo>
                  <a:pt x="60" y="59"/>
                  <a:pt x="40" y="72"/>
                  <a:pt x="31" y="79"/>
                </a:cubicBezTo>
                <a:cubicBezTo>
                  <a:pt x="31" y="79"/>
                  <a:pt x="31" y="79"/>
                  <a:pt x="31" y="79"/>
                </a:cubicBezTo>
                <a:cubicBezTo>
                  <a:pt x="30" y="80"/>
                  <a:pt x="29" y="81"/>
                  <a:pt x="28" y="82"/>
                </a:cubicBezTo>
                <a:cubicBezTo>
                  <a:pt x="28" y="82"/>
                  <a:pt x="28" y="82"/>
                  <a:pt x="28" y="82"/>
                </a:cubicBezTo>
                <a:cubicBezTo>
                  <a:pt x="28" y="82"/>
                  <a:pt x="28" y="83"/>
                  <a:pt x="28" y="84"/>
                </a:cubicBezTo>
                <a:cubicBezTo>
                  <a:pt x="28" y="84"/>
                  <a:pt x="28" y="84"/>
                  <a:pt x="28" y="84"/>
                </a:cubicBezTo>
                <a:cubicBezTo>
                  <a:pt x="27" y="87"/>
                  <a:pt x="27" y="93"/>
                  <a:pt x="27" y="100"/>
                </a:cubicBezTo>
                <a:cubicBezTo>
                  <a:pt x="27" y="100"/>
                  <a:pt x="27" y="100"/>
                  <a:pt x="27" y="100"/>
                </a:cubicBezTo>
                <a:cubicBezTo>
                  <a:pt x="27" y="142"/>
                  <a:pt x="34" y="227"/>
                  <a:pt x="39" y="257"/>
                </a:cubicBezTo>
                <a:cubicBezTo>
                  <a:pt x="39" y="257"/>
                  <a:pt x="39" y="257"/>
                  <a:pt x="39" y="257"/>
                </a:cubicBezTo>
                <a:cubicBezTo>
                  <a:pt x="51" y="337"/>
                  <a:pt x="88" y="381"/>
                  <a:pt x="115" y="404"/>
                </a:cubicBezTo>
                <a:cubicBezTo>
                  <a:pt x="115" y="404"/>
                  <a:pt x="115" y="404"/>
                  <a:pt x="115" y="404"/>
                </a:cubicBezTo>
                <a:cubicBezTo>
                  <a:pt x="126" y="414"/>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5" y="426"/>
                  <a:pt x="183" y="423"/>
                </a:cubicBezTo>
                <a:cubicBezTo>
                  <a:pt x="183" y="423"/>
                  <a:pt x="183" y="423"/>
                  <a:pt x="183" y="423"/>
                </a:cubicBezTo>
                <a:cubicBezTo>
                  <a:pt x="190" y="420"/>
                  <a:pt x="200" y="414"/>
                  <a:pt x="211" y="404"/>
                </a:cubicBezTo>
                <a:cubicBezTo>
                  <a:pt x="211" y="404"/>
                  <a:pt x="211" y="404"/>
                  <a:pt x="211" y="404"/>
                </a:cubicBezTo>
                <a:cubicBezTo>
                  <a:pt x="238" y="381"/>
                  <a:pt x="275" y="337"/>
                  <a:pt x="287" y="257"/>
                </a:cubicBezTo>
                <a:cubicBezTo>
                  <a:pt x="287" y="257"/>
                  <a:pt x="287" y="257"/>
                  <a:pt x="287" y="257"/>
                </a:cubicBezTo>
                <a:cubicBezTo>
                  <a:pt x="288" y="245"/>
                  <a:pt x="291" y="224"/>
                  <a:pt x="293" y="200"/>
                </a:cubicBezTo>
                <a:cubicBezTo>
                  <a:pt x="293" y="200"/>
                  <a:pt x="293" y="200"/>
                  <a:pt x="293" y="200"/>
                </a:cubicBezTo>
                <a:cubicBezTo>
                  <a:pt x="282" y="220"/>
                  <a:pt x="270" y="242"/>
                  <a:pt x="258" y="261"/>
                </a:cubicBezTo>
                <a:cubicBezTo>
                  <a:pt x="258" y="261"/>
                  <a:pt x="258" y="261"/>
                  <a:pt x="258" y="261"/>
                </a:cubicBezTo>
                <a:cubicBezTo>
                  <a:pt x="248" y="276"/>
                  <a:pt x="239" y="289"/>
                  <a:pt x="229" y="298"/>
                </a:cubicBezTo>
                <a:cubicBezTo>
                  <a:pt x="229" y="298"/>
                  <a:pt x="229" y="298"/>
                  <a:pt x="229" y="298"/>
                </a:cubicBezTo>
                <a:cubicBezTo>
                  <a:pt x="205" y="322"/>
                  <a:pt x="174" y="334"/>
                  <a:pt x="146" y="334"/>
                </a:cubicBezTo>
                <a:cubicBezTo>
                  <a:pt x="146" y="334"/>
                  <a:pt x="146" y="334"/>
                  <a:pt x="146" y="334"/>
                </a:cubicBezTo>
                <a:cubicBezTo>
                  <a:pt x="131" y="334"/>
                  <a:pt x="117" y="331"/>
                  <a:pt x="104" y="324"/>
                </a:cubicBezTo>
                <a:cubicBezTo>
                  <a:pt x="104" y="324"/>
                  <a:pt x="104" y="324"/>
                  <a:pt x="104" y="324"/>
                </a:cubicBezTo>
                <a:cubicBezTo>
                  <a:pt x="90" y="316"/>
                  <a:pt x="78" y="303"/>
                  <a:pt x="69" y="286"/>
                </a:cubicBezTo>
                <a:cubicBezTo>
                  <a:pt x="69" y="286"/>
                  <a:pt x="69" y="286"/>
                  <a:pt x="69" y="286"/>
                </a:cubicBezTo>
                <a:cubicBezTo>
                  <a:pt x="60" y="270"/>
                  <a:pt x="55" y="251"/>
                  <a:pt x="55" y="230"/>
                </a:cubicBezTo>
                <a:cubicBezTo>
                  <a:pt x="55" y="230"/>
                  <a:pt x="55" y="230"/>
                  <a:pt x="55" y="230"/>
                </a:cubicBezTo>
                <a:cubicBezTo>
                  <a:pt x="55" y="221"/>
                  <a:pt x="56" y="211"/>
                  <a:pt x="58" y="202"/>
                </a:cubicBezTo>
                <a:cubicBezTo>
                  <a:pt x="58" y="202"/>
                  <a:pt x="58" y="202"/>
                  <a:pt x="58" y="202"/>
                </a:cubicBezTo>
                <a:cubicBezTo>
                  <a:pt x="64" y="178"/>
                  <a:pt x="76" y="155"/>
                  <a:pt x="93" y="138"/>
                </a:cubicBezTo>
                <a:cubicBezTo>
                  <a:pt x="93" y="138"/>
                  <a:pt x="93" y="138"/>
                  <a:pt x="93" y="138"/>
                </a:cubicBezTo>
                <a:cubicBezTo>
                  <a:pt x="111" y="120"/>
                  <a:pt x="134" y="107"/>
                  <a:pt x="162" y="107"/>
                </a:cubicBezTo>
                <a:cubicBezTo>
                  <a:pt x="162" y="107"/>
                  <a:pt x="162" y="107"/>
                  <a:pt x="162" y="107"/>
                </a:cubicBezTo>
                <a:cubicBezTo>
                  <a:pt x="169" y="107"/>
                  <a:pt x="176" y="108"/>
                  <a:pt x="184" y="110"/>
                </a:cubicBezTo>
                <a:cubicBezTo>
                  <a:pt x="184" y="110"/>
                  <a:pt x="184" y="110"/>
                  <a:pt x="184" y="110"/>
                </a:cubicBezTo>
                <a:cubicBezTo>
                  <a:pt x="204" y="114"/>
                  <a:pt x="219" y="125"/>
                  <a:pt x="229" y="139"/>
                </a:cubicBezTo>
                <a:cubicBezTo>
                  <a:pt x="229" y="139"/>
                  <a:pt x="229" y="139"/>
                  <a:pt x="229" y="139"/>
                </a:cubicBezTo>
                <a:cubicBezTo>
                  <a:pt x="240" y="152"/>
                  <a:pt x="245" y="169"/>
                  <a:pt x="245" y="186"/>
                </a:cubicBezTo>
                <a:cubicBezTo>
                  <a:pt x="245" y="186"/>
                  <a:pt x="245" y="186"/>
                  <a:pt x="245" y="186"/>
                </a:cubicBezTo>
                <a:cubicBezTo>
                  <a:pt x="245" y="197"/>
                  <a:pt x="242" y="209"/>
                  <a:pt x="237" y="220"/>
                </a:cubicBezTo>
                <a:cubicBezTo>
                  <a:pt x="237" y="220"/>
                  <a:pt x="237" y="220"/>
                  <a:pt x="237" y="220"/>
                </a:cubicBezTo>
                <a:cubicBezTo>
                  <a:pt x="234" y="227"/>
                  <a:pt x="231" y="235"/>
                  <a:pt x="227" y="242"/>
                </a:cubicBezTo>
                <a:cubicBezTo>
                  <a:pt x="227" y="242"/>
                  <a:pt x="227" y="242"/>
                  <a:pt x="227" y="242"/>
                </a:cubicBezTo>
                <a:cubicBezTo>
                  <a:pt x="223" y="249"/>
                  <a:pt x="219" y="255"/>
                  <a:pt x="215" y="261"/>
                </a:cubicBezTo>
                <a:cubicBezTo>
                  <a:pt x="215" y="261"/>
                  <a:pt x="215" y="261"/>
                  <a:pt x="215" y="261"/>
                </a:cubicBezTo>
                <a:cubicBezTo>
                  <a:pt x="212" y="264"/>
                  <a:pt x="210" y="268"/>
                  <a:pt x="205" y="270"/>
                </a:cubicBezTo>
                <a:cubicBezTo>
                  <a:pt x="205" y="270"/>
                  <a:pt x="205" y="270"/>
                  <a:pt x="205" y="270"/>
                </a:cubicBezTo>
                <a:cubicBezTo>
                  <a:pt x="203" y="272"/>
                  <a:pt x="199" y="273"/>
                  <a:pt x="195" y="273"/>
                </a:cubicBezTo>
                <a:cubicBezTo>
                  <a:pt x="195" y="273"/>
                  <a:pt x="195" y="273"/>
                  <a:pt x="195" y="273"/>
                </a:cubicBezTo>
                <a:cubicBezTo>
                  <a:pt x="191" y="274"/>
                  <a:pt x="188" y="272"/>
                  <a:pt x="185" y="270"/>
                </a:cubicBezTo>
                <a:cubicBezTo>
                  <a:pt x="185" y="270"/>
                  <a:pt x="185" y="270"/>
                  <a:pt x="185" y="270"/>
                </a:cubicBezTo>
                <a:cubicBezTo>
                  <a:pt x="182" y="269"/>
                  <a:pt x="180" y="266"/>
                  <a:pt x="179" y="264"/>
                </a:cubicBezTo>
                <a:cubicBezTo>
                  <a:pt x="179" y="264"/>
                  <a:pt x="179" y="264"/>
                  <a:pt x="179" y="264"/>
                </a:cubicBezTo>
                <a:cubicBezTo>
                  <a:pt x="179" y="264"/>
                  <a:pt x="179" y="264"/>
                  <a:pt x="179" y="263"/>
                </a:cubicBezTo>
                <a:cubicBezTo>
                  <a:pt x="179" y="263"/>
                  <a:pt x="179" y="263"/>
                  <a:pt x="179" y="263"/>
                </a:cubicBezTo>
                <a:cubicBezTo>
                  <a:pt x="175" y="266"/>
                  <a:pt x="172" y="269"/>
                  <a:pt x="167" y="271"/>
                </a:cubicBezTo>
                <a:cubicBezTo>
                  <a:pt x="167" y="271"/>
                  <a:pt x="167" y="271"/>
                  <a:pt x="167" y="271"/>
                </a:cubicBezTo>
                <a:cubicBezTo>
                  <a:pt x="159" y="276"/>
                  <a:pt x="149" y="279"/>
                  <a:pt x="139" y="279"/>
                </a:cubicBezTo>
                <a:cubicBezTo>
                  <a:pt x="139" y="279"/>
                  <a:pt x="139" y="279"/>
                  <a:pt x="139" y="279"/>
                </a:cubicBezTo>
                <a:cubicBezTo>
                  <a:pt x="131" y="279"/>
                  <a:pt x="123" y="277"/>
                  <a:pt x="115" y="273"/>
                </a:cubicBezTo>
                <a:cubicBezTo>
                  <a:pt x="115" y="273"/>
                  <a:pt x="115" y="273"/>
                  <a:pt x="115" y="273"/>
                </a:cubicBezTo>
                <a:cubicBezTo>
                  <a:pt x="107" y="269"/>
                  <a:pt x="100" y="262"/>
                  <a:pt x="97" y="253"/>
                </a:cubicBezTo>
                <a:cubicBezTo>
                  <a:pt x="97" y="253"/>
                  <a:pt x="97" y="253"/>
                  <a:pt x="97" y="253"/>
                </a:cubicBezTo>
                <a:cubicBezTo>
                  <a:pt x="94" y="246"/>
                  <a:pt x="93" y="239"/>
                  <a:pt x="93" y="232"/>
                </a:cubicBezTo>
                <a:cubicBezTo>
                  <a:pt x="93" y="232"/>
                  <a:pt x="93" y="232"/>
                  <a:pt x="93" y="232"/>
                </a:cubicBezTo>
                <a:cubicBezTo>
                  <a:pt x="93" y="219"/>
                  <a:pt x="96" y="207"/>
                  <a:pt x="101" y="196"/>
                </a:cubicBezTo>
                <a:cubicBezTo>
                  <a:pt x="101" y="196"/>
                  <a:pt x="101" y="196"/>
                  <a:pt x="101" y="196"/>
                </a:cubicBezTo>
                <a:cubicBezTo>
                  <a:pt x="106" y="186"/>
                  <a:pt x="111" y="176"/>
                  <a:pt x="118" y="170"/>
                </a:cubicBezTo>
                <a:cubicBezTo>
                  <a:pt x="118" y="170"/>
                  <a:pt x="118" y="170"/>
                  <a:pt x="118" y="170"/>
                </a:cubicBezTo>
                <a:cubicBezTo>
                  <a:pt x="123" y="165"/>
                  <a:pt x="129" y="161"/>
                  <a:pt x="136" y="157"/>
                </a:cubicBezTo>
                <a:cubicBezTo>
                  <a:pt x="136" y="157"/>
                  <a:pt x="136" y="157"/>
                  <a:pt x="136" y="157"/>
                </a:cubicBezTo>
                <a:cubicBezTo>
                  <a:pt x="143" y="154"/>
                  <a:pt x="151" y="152"/>
                  <a:pt x="160" y="152"/>
                </a:cubicBezTo>
                <a:cubicBezTo>
                  <a:pt x="160" y="152"/>
                  <a:pt x="160" y="152"/>
                  <a:pt x="160" y="152"/>
                </a:cubicBezTo>
                <a:cubicBezTo>
                  <a:pt x="167" y="152"/>
                  <a:pt x="174" y="154"/>
                  <a:pt x="181" y="157"/>
                </a:cubicBezTo>
                <a:cubicBezTo>
                  <a:pt x="181" y="157"/>
                  <a:pt x="181" y="157"/>
                  <a:pt x="181" y="157"/>
                </a:cubicBezTo>
                <a:cubicBezTo>
                  <a:pt x="188" y="161"/>
                  <a:pt x="194" y="166"/>
                  <a:pt x="199" y="174"/>
                </a:cubicBezTo>
                <a:cubicBezTo>
                  <a:pt x="199" y="174"/>
                  <a:pt x="199" y="174"/>
                  <a:pt x="199" y="174"/>
                </a:cubicBezTo>
                <a:cubicBezTo>
                  <a:pt x="205" y="184"/>
                  <a:pt x="207" y="195"/>
                  <a:pt x="207" y="205"/>
                </a:cubicBezTo>
                <a:cubicBezTo>
                  <a:pt x="207" y="205"/>
                  <a:pt x="207" y="205"/>
                  <a:pt x="207" y="205"/>
                </a:cubicBezTo>
                <a:cubicBezTo>
                  <a:pt x="207" y="212"/>
                  <a:pt x="206" y="219"/>
                  <a:pt x="205" y="226"/>
                </a:cubicBezTo>
                <a:cubicBezTo>
                  <a:pt x="205" y="226"/>
                  <a:pt x="205" y="226"/>
                  <a:pt x="205" y="226"/>
                </a:cubicBezTo>
                <a:cubicBezTo>
                  <a:pt x="208" y="220"/>
                  <a:pt x="210" y="215"/>
                  <a:pt x="213" y="209"/>
                </a:cubicBezTo>
                <a:cubicBezTo>
                  <a:pt x="213" y="209"/>
                  <a:pt x="213" y="209"/>
                  <a:pt x="213" y="209"/>
                </a:cubicBezTo>
                <a:cubicBezTo>
                  <a:pt x="216" y="201"/>
                  <a:pt x="218" y="193"/>
                  <a:pt x="218" y="186"/>
                </a:cubicBezTo>
                <a:cubicBezTo>
                  <a:pt x="218" y="186"/>
                  <a:pt x="218" y="186"/>
                  <a:pt x="218" y="186"/>
                </a:cubicBezTo>
                <a:cubicBezTo>
                  <a:pt x="218" y="174"/>
                  <a:pt x="215" y="163"/>
                  <a:pt x="208" y="155"/>
                </a:cubicBezTo>
                <a:cubicBezTo>
                  <a:pt x="208" y="155"/>
                  <a:pt x="208" y="155"/>
                  <a:pt x="208" y="155"/>
                </a:cubicBezTo>
                <a:cubicBezTo>
                  <a:pt x="201" y="146"/>
                  <a:pt x="192" y="139"/>
                  <a:pt x="178" y="136"/>
                </a:cubicBezTo>
                <a:cubicBezTo>
                  <a:pt x="178" y="136"/>
                  <a:pt x="178" y="136"/>
                  <a:pt x="178" y="136"/>
                </a:cubicBezTo>
                <a:cubicBezTo>
                  <a:pt x="172" y="135"/>
                  <a:pt x="167" y="134"/>
                  <a:pt x="162" y="134"/>
                </a:cubicBezTo>
                <a:cubicBezTo>
                  <a:pt x="162" y="134"/>
                  <a:pt x="162" y="134"/>
                  <a:pt x="162" y="134"/>
                </a:cubicBezTo>
                <a:cubicBezTo>
                  <a:pt x="143" y="134"/>
                  <a:pt x="126" y="143"/>
                  <a:pt x="112" y="156"/>
                </a:cubicBezTo>
                <a:cubicBezTo>
                  <a:pt x="112" y="156"/>
                  <a:pt x="112" y="156"/>
                  <a:pt x="112" y="156"/>
                </a:cubicBezTo>
                <a:cubicBezTo>
                  <a:pt x="99" y="170"/>
                  <a:pt x="89" y="189"/>
                  <a:pt x="84" y="208"/>
                </a:cubicBezTo>
                <a:cubicBezTo>
                  <a:pt x="84" y="208"/>
                  <a:pt x="84" y="208"/>
                  <a:pt x="84" y="208"/>
                </a:cubicBezTo>
                <a:cubicBezTo>
                  <a:pt x="83" y="215"/>
                  <a:pt x="82" y="223"/>
                  <a:pt x="82" y="230"/>
                </a:cubicBezTo>
                <a:cubicBezTo>
                  <a:pt x="82" y="230"/>
                  <a:pt x="82" y="230"/>
                  <a:pt x="82" y="230"/>
                </a:cubicBezTo>
                <a:cubicBezTo>
                  <a:pt x="82" y="246"/>
                  <a:pt x="86" y="262"/>
                  <a:pt x="92" y="274"/>
                </a:cubicBezTo>
                <a:cubicBezTo>
                  <a:pt x="92" y="274"/>
                  <a:pt x="92" y="274"/>
                  <a:pt x="92" y="274"/>
                </a:cubicBezTo>
                <a:cubicBezTo>
                  <a:pt x="99" y="286"/>
                  <a:pt x="108" y="296"/>
                  <a:pt x="117" y="301"/>
                </a:cubicBezTo>
                <a:cubicBezTo>
                  <a:pt x="117" y="301"/>
                  <a:pt x="117" y="301"/>
                  <a:pt x="117" y="301"/>
                </a:cubicBezTo>
                <a:cubicBezTo>
                  <a:pt x="125" y="305"/>
                  <a:pt x="135" y="308"/>
                  <a:pt x="146" y="308"/>
                </a:cubicBezTo>
                <a:cubicBezTo>
                  <a:pt x="146" y="308"/>
                  <a:pt x="146" y="308"/>
                  <a:pt x="146" y="308"/>
                </a:cubicBezTo>
                <a:cubicBezTo>
                  <a:pt x="167" y="308"/>
                  <a:pt x="191" y="299"/>
                  <a:pt x="211" y="279"/>
                </a:cubicBezTo>
                <a:cubicBezTo>
                  <a:pt x="211" y="279"/>
                  <a:pt x="211" y="279"/>
                  <a:pt x="211" y="279"/>
                </a:cubicBezTo>
                <a:cubicBezTo>
                  <a:pt x="216" y="274"/>
                  <a:pt x="222" y="266"/>
                  <a:pt x="229" y="256"/>
                </a:cubicBezTo>
                <a:cubicBezTo>
                  <a:pt x="229" y="256"/>
                  <a:pt x="229" y="256"/>
                  <a:pt x="229" y="256"/>
                </a:cubicBezTo>
                <a:cubicBezTo>
                  <a:pt x="235" y="247"/>
                  <a:pt x="242" y="235"/>
                  <a:pt x="249" y="224"/>
                </a:cubicBezTo>
                <a:cubicBezTo>
                  <a:pt x="249" y="224"/>
                  <a:pt x="249" y="224"/>
                  <a:pt x="249" y="224"/>
                </a:cubicBezTo>
                <a:cubicBezTo>
                  <a:pt x="263" y="200"/>
                  <a:pt x="276" y="174"/>
                  <a:pt x="286" y="154"/>
                </a:cubicBezTo>
                <a:cubicBezTo>
                  <a:pt x="286" y="154"/>
                  <a:pt x="286" y="154"/>
                  <a:pt x="286" y="154"/>
                </a:cubicBezTo>
                <a:cubicBezTo>
                  <a:pt x="292" y="141"/>
                  <a:pt x="297" y="130"/>
                  <a:pt x="298" y="126"/>
                </a:cubicBezTo>
                <a:cubicBezTo>
                  <a:pt x="298" y="126"/>
                  <a:pt x="298" y="126"/>
                  <a:pt x="298" y="126"/>
                </a:cubicBezTo>
                <a:cubicBezTo>
                  <a:pt x="298" y="126"/>
                  <a:pt x="298" y="126"/>
                  <a:pt x="298" y="126"/>
                </a:cubicBezTo>
                <a:cubicBezTo>
                  <a:pt x="299" y="124"/>
                  <a:pt x="300" y="122"/>
                  <a:pt x="302" y="121"/>
                </a:cubicBezTo>
                <a:cubicBezTo>
                  <a:pt x="302" y="121"/>
                  <a:pt x="302" y="121"/>
                  <a:pt x="302" y="121"/>
                </a:cubicBezTo>
                <a:cubicBezTo>
                  <a:pt x="304" y="118"/>
                  <a:pt x="308"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5" y="117"/>
                  <a:pt x="318" y="118"/>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1" y="121"/>
                  <a:pt x="321"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3"/>
                  <a:pt x="322" y="123"/>
                </a:cubicBezTo>
                <a:cubicBezTo>
                  <a:pt x="322" y="123"/>
                  <a:pt x="322" y="123"/>
                  <a:pt x="322" y="123"/>
                </a:cubicBezTo>
                <a:cubicBezTo>
                  <a:pt x="324" y="125"/>
                  <a:pt x="324" y="128"/>
                  <a:pt x="324" y="131"/>
                </a:cubicBezTo>
                <a:cubicBezTo>
                  <a:pt x="324" y="131"/>
                  <a:pt x="324" y="131"/>
                  <a:pt x="324" y="131"/>
                </a:cubicBezTo>
                <a:cubicBezTo>
                  <a:pt x="322" y="176"/>
                  <a:pt x="317" y="235"/>
                  <a:pt x="313" y="261"/>
                </a:cubicBezTo>
                <a:cubicBezTo>
                  <a:pt x="313" y="261"/>
                  <a:pt x="313" y="261"/>
                  <a:pt x="313" y="261"/>
                </a:cubicBezTo>
                <a:cubicBezTo>
                  <a:pt x="300" y="347"/>
                  <a:pt x="259" y="398"/>
                  <a:pt x="228" y="425"/>
                </a:cubicBezTo>
                <a:cubicBezTo>
                  <a:pt x="228" y="425"/>
                  <a:pt x="228" y="425"/>
                  <a:pt x="228" y="425"/>
                </a:cubicBezTo>
                <a:cubicBezTo>
                  <a:pt x="215" y="436"/>
                  <a:pt x="204" y="443"/>
                  <a:pt x="193" y="448"/>
                </a:cubicBezTo>
                <a:cubicBezTo>
                  <a:pt x="193" y="448"/>
                  <a:pt x="193" y="448"/>
                  <a:pt x="193" y="448"/>
                </a:cubicBezTo>
                <a:cubicBezTo>
                  <a:pt x="182" y="452"/>
                  <a:pt x="172" y="453"/>
                  <a:pt x="163" y="453"/>
                </a:cubicBezTo>
                <a:cubicBezTo>
                  <a:pt x="163" y="453"/>
                  <a:pt x="163" y="453"/>
                  <a:pt x="163" y="453"/>
                </a:cubicBezTo>
                <a:cubicBezTo>
                  <a:pt x="163" y="453"/>
                  <a:pt x="163" y="453"/>
                  <a:pt x="163" y="453"/>
                </a:cubicBezTo>
                <a:close/>
                <a:moveTo>
                  <a:pt x="154" y="248"/>
                </a:moveTo>
                <a:cubicBezTo>
                  <a:pt x="162" y="243"/>
                  <a:pt x="168" y="237"/>
                  <a:pt x="172" y="231"/>
                </a:cubicBezTo>
                <a:cubicBezTo>
                  <a:pt x="172" y="231"/>
                  <a:pt x="172" y="231"/>
                  <a:pt x="172" y="231"/>
                </a:cubicBezTo>
                <a:cubicBezTo>
                  <a:pt x="176" y="225"/>
                  <a:pt x="178" y="220"/>
                  <a:pt x="179" y="216"/>
                </a:cubicBezTo>
                <a:cubicBezTo>
                  <a:pt x="179" y="216"/>
                  <a:pt x="179" y="216"/>
                  <a:pt x="179" y="216"/>
                </a:cubicBezTo>
                <a:cubicBezTo>
                  <a:pt x="180" y="214"/>
                  <a:pt x="180" y="213"/>
                  <a:pt x="180" y="212"/>
                </a:cubicBezTo>
                <a:cubicBezTo>
                  <a:pt x="180" y="212"/>
                  <a:pt x="180" y="212"/>
                  <a:pt x="180" y="212"/>
                </a:cubicBezTo>
                <a:cubicBezTo>
                  <a:pt x="180" y="210"/>
                  <a:pt x="180" y="207"/>
                  <a:pt x="180" y="205"/>
                </a:cubicBezTo>
                <a:cubicBezTo>
                  <a:pt x="180" y="205"/>
                  <a:pt x="180" y="205"/>
                  <a:pt x="180" y="205"/>
                </a:cubicBezTo>
                <a:cubicBezTo>
                  <a:pt x="180" y="198"/>
                  <a:pt x="179" y="193"/>
                  <a:pt x="176" y="188"/>
                </a:cubicBezTo>
                <a:cubicBezTo>
                  <a:pt x="176" y="188"/>
                  <a:pt x="176" y="188"/>
                  <a:pt x="176" y="188"/>
                </a:cubicBezTo>
                <a:cubicBezTo>
                  <a:pt x="174" y="185"/>
                  <a:pt x="171" y="182"/>
                  <a:pt x="169" y="181"/>
                </a:cubicBezTo>
                <a:cubicBezTo>
                  <a:pt x="169" y="181"/>
                  <a:pt x="169" y="181"/>
                  <a:pt x="169" y="181"/>
                </a:cubicBezTo>
                <a:cubicBezTo>
                  <a:pt x="166" y="180"/>
                  <a:pt x="163" y="179"/>
                  <a:pt x="160" y="179"/>
                </a:cubicBezTo>
                <a:cubicBezTo>
                  <a:pt x="160" y="179"/>
                  <a:pt x="160" y="179"/>
                  <a:pt x="160" y="179"/>
                </a:cubicBezTo>
                <a:cubicBezTo>
                  <a:pt x="156" y="179"/>
                  <a:pt x="151" y="180"/>
                  <a:pt x="147" y="182"/>
                </a:cubicBezTo>
                <a:cubicBezTo>
                  <a:pt x="147" y="182"/>
                  <a:pt x="147" y="182"/>
                  <a:pt x="147" y="182"/>
                </a:cubicBezTo>
                <a:cubicBezTo>
                  <a:pt x="143" y="184"/>
                  <a:pt x="139" y="186"/>
                  <a:pt x="137" y="188"/>
                </a:cubicBezTo>
                <a:cubicBezTo>
                  <a:pt x="137" y="188"/>
                  <a:pt x="137" y="188"/>
                  <a:pt x="137" y="188"/>
                </a:cubicBezTo>
                <a:cubicBezTo>
                  <a:pt x="134" y="192"/>
                  <a:pt x="129" y="199"/>
                  <a:pt x="125" y="207"/>
                </a:cubicBezTo>
                <a:cubicBezTo>
                  <a:pt x="125" y="207"/>
                  <a:pt x="125" y="207"/>
                  <a:pt x="125" y="207"/>
                </a:cubicBezTo>
                <a:cubicBezTo>
                  <a:pt x="122" y="215"/>
                  <a:pt x="120" y="224"/>
                  <a:pt x="120" y="232"/>
                </a:cubicBezTo>
                <a:cubicBezTo>
                  <a:pt x="120" y="232"/>
                  <a:pt x="120" y="232"/>
                  <a:pt x="120" y="232"/>
                </a:cubicBezTo>
                <a:cubicBezTo>
                  <a:pt x="120" y="236"/>
                  <a:pt x="120" y="240"/>
                  <a:pt x="122" y="243"/>
                </a:cubicBezTo>
                <a:cubicBezTo>
                  <a:pt x="122" y="243"/>
                  <a:pt x="122" y="243"/>
                  <a:pt x="122" y="243"/>
                </a:cubicBezTo>
                <a:cubicBezTo>
                  <a:pt x="123" y="246"/>
                  <a:pt x="125" y="248"/>
                  <a:pt x="128" y="249"/>
                </a:cubicBezTo>
                <a:cubicBezTo>
                  <a:pt x="128" y="249"/>
                  <a:pt x="128" y="249"/>
                  <a:pt x="128" y="249"/>
                </a:cubicBezTo>
                <a:cubicBezTo>
                  <a:pt x="131" y="251"/>
                  <a:pt x="135" y="252"/>
                  <a:pt x="139" y="252"/>
                </a:cubicBezTo>
                <a:cubicBezTo>
                  <a:pt x="139" y="252"/>
                  <a:pt x="139" y="252"/>
                  <a:pt x="139" y="252"/>
                </a:cubicBezTo>
                <a:cubicBezTo>
                  <a:pt x="145" y="252"/>
                  <a:pt x="150" y="250"/>
                  <a:pt x="154" y="24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21" name="Freeform 533"/>
          <p:cNvSpPr>
            <a:spLocks/>
          </p:cNvSpPr>
          <p:nvPr userDrawn="1"/>
        </p:nvSpPr>
        <p:spPr bwMode="auto">
          <a:xfrm>
            <a:off x="6541873" y="2314656"/>
            <a:ext cx="388245" cy="242888"/>
          </a:xfrm>
          <a:custGeom>
            <a:avLst/>
            <a:gdLst/>
            <a:ahLst/>
            <a:cxnLst>
              <a:cxn ang="0">
                <a:pos x="225" y="0"/>
              </a:cxn>
              <a:cxn ang="0">
                <a:pos x="199" y="31"/>
              </a:cxn>
              <a:cxn ang="0">
                <a:pos x="199" y="39"/>
              </a:cxn>
              <a:cxn ang="0">
                <a:pos x="122" y="39"/>
              </a:cxn>
              <a:cxn ang="0">
                <a:pos x="92" y="70"/>
              </a:cxn>
              <a:cxn ang="0">
                <a:pos x="92" y="70"/>
              </a:cxn>
              <a:cxn ang="0">
                <a:pos x="105" y="84"/>
              </a:cxn>
              <a:cxn ang="0">
                <a:pos x="118" y="70"/>
              </a:cxn>
              <a:cxn ang="0">
                <a:pos x="118" y="70"/>
              </a:cxn>
              <a:cxn ang="0">
                <a:pos x="122" y="66"/>
              </a:cxn>
              <a:cxn ang="0">
                <a:pos x="213" y="66"/>
              </a:cxn>
              <a:cxn ang="0">
                <a:pos x="226" y="53"/>
              </a:cxn>
              <a:cxn ang="0">
                <a:pos x="226" y="31"/>
              </a:cxn>
              <a:cxn ang="0">
                <a:pos x="227" y="26"/>
              </a:cxn>
              <a:cxn ang="0">
                <a:pos x="323" y="26"/>
              </a:cxn>
              <a:cxn ang="0">
                <a:pos x="324" y="31"/>
              </a:cxn>
              <a:cxn ang="0">
                <a:pos x="324" y="53"/>
              </a:cxn>
              <a:cxn ang="0">
                <a:pos x="337" y="66"/>
              </a:cxn>
              <a:cxn ang="0">
                <a:pos x="428" y="66"/>
              </a:cxn>
              <a:cxn ang="0">
                <a:pos x="431" y="70"/>
              </a:cxn>
              <a:cxn ang="0">
                <a:pos x="431" y="257"/>
              </a:cxn>
              <a:cxn ang="0">
                <a:pos x="428" y="261"/>
              </a:cxn>
              <a:cxn ang="0">
                <a:pos x="122" y="261"/>
              </a:cxn>
              <a:cxn ang="0">
                <a:pos x="111" y="251"/>
              </a:cxn>
              <a:cxn ang="0">
                <a:pos x="111" y="250"/>
              </a:cxn>
              <a:cxn ang="0">
                <a:pos x="35" y="125"/>
              </a:cxn>
              <a:cxn ang="0">
                <a:pos x="34" y="124"/>
              </a:cxn>
              <a:cxn ang="0">
                <a:pos x="32" y="120"/>
              </a:cxn>
              <a:cxn ang="0">
                <a:pos x="331" y="120"/>
              </a:cxn>
              <a:cxn ang="0">
                <a:pos x="396" y="236"/>
              </a:cxn>
              <a:cxn ang="0">
                <a:pos x="414" y="241"/>
              </a:cxn>
              <a:cxn ang="0">
                <a:pos x="419" y="222"/>
              </a:cxn>
              <a:cxn ang="0">
                <a:pos x="351" y="100"/>
              </a:cxn>
              <a:cxn ang="0">
                <a:pos x="339" y="94"/>
              </a:cxn>
              <a:cxn ang="0">
                <a:pos x="31" y="94"/>
              </a:cxn>
              <a:cxn ang="0">
                <a:pos x="7" y="106"/>
              </a:cxn>
              <a:cxn ang="0">
                <a:pos x="12" y="139"/>
              </a:cxn>
              <a:cxn ang="0">
                <a:pos x="12" y="139"/>
              </a:cxn>
              <a:cxn ang="0">
                <a:pos x="88" y="264"/>
              </a:cxn>
              <a:cxn ang="0">
                <a:pos x="88" y="264"/>
              </a:cxn>
              <a:cxn ang="0">
                <a:pos x="122" y="288"/>
              </a:cxn>
              <a:cxn ang="0">
                <a:pos x="428" y="288"/>
              </a:cxn>
              <a:cxn ang="0">
                <a:pos x="458" y="257"/>
              </a:cxn>
              <a:cxn ang="0">
                <a:pos x="458" y="70"/>
              </a:cxn>
              <a:cxn ang="0">
                <a:pos x="428" y="39"/>
              </a:cxn>
              <a:cxn ang="0">
                <a:pos x="350" y="39"/>
              </a:cxn>
              <a:cxn ang="0">
                <a:pos x="350" y="31"/>
              </a:cxn>
              <a:cxn ang="0">
                <a:pos x="325" y="0"/>
              </a:cxn>
              <a:cxn ang="0">
                <a:pos x="225" y="0"/>
              </a:cxn>
            </a:cxnLst>
            <a:rect l="0" t="0" r="r" b="b"/>
            <a:pathLst>
              <a:path w="458" h="288">
                <a:moveTo>
                  <a:pt x="225" y="0"/>
                </a:moveTo>
                <a:cubicBezTo>
                  <a:pt x="211" y="0"/>
                  <a:pt x="199" y="13"/>
                  <a:pt x="199" y="31"/>
                </a:cubicBezTo>
                <a:cubicBezTo>
                  <a:pt x="199" y="31"/>
                  <a:pt x="199" y="35"/>
                  <a:pt x="199" y="39"/>
                </a:cubicBezTo>
                <a:cubicBezTo>
                  <a:pt x="180" y="39"/>
                  <a:pt x="122" y="39"/>
                  <a:pt x="122" y="39"/>
                </a:cubicBezTo>
                <a:cubicBezTo>
                  <a:pt x="105" y="39"/>
                  <a:pt x="92" y="53"/>
                  <a:pt x="92" y="70"/>
                </a:cubicBezTo>
                <a:cubicBezTo>
                  <a:pt x="92" y="70"/>
                  <a:pt x="92" y="70"/>
                  <a:pt x="92" y="70"/>
                </a:cubicBezTo>
                <a:cubicBezTo>
                  <a:pt x="92" y="78"/>
                  <a:pt x="98" y="84"/>
                  <a:pt x="105" y="84"/>
                </a:cubicBezTo>
                <a:cubicBezTo>
                  <a:pt x="112" y="84"/>
                  <a:pt x="118" y="78"/>
                  <a:pt x="118" y="70"/>
                </a:cubicBezTo>
                <a:cubicBezTo>
                  <a:pt x="118" y="70"/>
                  <a:pt x="118" y="70"/>
                  <a:pt x="118" y="70"/>
                </a:cubicBezTo>
                <a:cubicBezTo>
                  <a:pt x="118" y="68"/>
                  <a:pt x="120" y="66"/>
                  <a:pt x="122" y="66"/>
                </a:cubicBezTo>
                <a:cubicBezTo>
                  <a:pt x="213" y="66"/>
                  <a:pt x="213" y="66"/>
                  <a:pt x="213" y="66"/>
                </a:cubicBezTo>
                <a:cubicBezTo>
                  <a:pt x="220" y="66"/>
                  <a:pt x="226" y="60"/>
                  <a:pt x="226" y="53"/>
                </a:cubicBezTo>
                <a:cubicBezTo>
                  <a:pt x="226" y="31"/>
                  <a:pt x="226" y="31"/>
                  <a:pt x="226" y="31"/>
                </a:cubicBezTo>
                <a:cubicBezTo>
                  <a:pt x="226" y="29"/>
                  <a:pt x="227" y="27"/>
                  <a:pt x="227" y="26"/>
                </a:cubicBezTo>
                <a:cubicBezTo>
                  <a:pt x="231" y="26"/>
                  <a:pt x="319" y="26"/>
                  <a:pt x="323" y="26"/>
                </a:cubicBezTo>
                <a:cubicBezTo>
                  <a:pt x="323" y="27"/>
                  <a:pt x="324" y="29"/>
                  <a:pt x="324" y="31"/>
                </a:cubicBezTo>
                <a:cubicBezTo>
                  <a:pt x="324" y="53"/>
                  <a:pt x="324" y="53"/>
                  <a:pt x="324" y="53"/>
                </a:cubicBezTo>
                <a:cubicBezTo>
                  <a:pt x="324" y="60"/>
                  <a:pt x="330" y="66"/>
                  <a:pt x="337" y="66"/>
                </a:cubicBezTo>
                <a:cubicBezTo>
                  <a:pt x="428" y="66"/>
                  <a:pt x="428" y="66"/>
                  <a:pt x="428" y="66"/>
                </a:cubicBezTo>
                <a:cubicBezTo>
                  <a:pt x="430" y="66"/>
                  <a:pt x="431" y="68"/>
                  <a:pt x="431" y="70"/>
                </a:cubicBezTo>
                <a:cubicBezTo>
                  <a:pt x="431" y="257"/>
                  <a:pt x="431" y="257"/>
                  <a:pt x="431" y="257"/>
                </a:cubicBezTo>
                <a:cubicBezTo>
                  <a:pt x="431" y="259"/>
                  <a:pt x="430" y="261"/>
                  <a:pt x="428" y="261"/>
                </a:cubicBezTo>
                <a:cubicBezTo>
                  <a:pt x="122" y="261"/>
                  <a:pt x="122" y="261"/>
                  <a:pt x="122" y="261"/>
                </a:cubicBezTo>
                <a:cubicBezTo>
                  <a:pt x="120" y="261"/>
                  <a:pt x="115" y="257"/>
                  <a:pt x="111" y="251"/>
                </a:cubicBezTo>
                <a:cubicBezTo>
                  <a:pt x="111" y="250"/>
                  <a:pt x="111" y="250"/>
                  <a:pt x="111" y="250"/>
                </a:cubicBezTo>
                <a:cubicBezTo>
                  <a:pt x="35" y="125"/>
                  <a:pt x="35" y="125"/>
                  <a:pt x="35" y="125"/>
                </a:cubicBezTo>
                <a:cubicBezTo>
                  <a:pt x="35" y="125"/>
                  <a:pt x="34" y="125"/>
                  <a:pt x="34" y="124"/>
                </a:cubicBezTo>
                <a:cubicBezTo>
                  <a:pt x="34" y="123"/>
                  <a:pt x="33" y="122"/>
                  <a:pt x="32" y="120"/>
                </a:cubicBezTo>
                <a:cubicBezTo>
                  <a:pt x="34" y="120"/>
                  <a:pt x="316" y="120"/>
                  <a:pt x="331" y="120"/>
                </a:cubicBezTo>
                <a:cubicBezTo>
                  <a:pt x="338" y="132"/>
                  <a:pt x="396" y="236"/>
                  <a:pt x="396" y="236"/>
                </a:cubicBezTo>
                <a:cubicBezTo>
                  <a:pt x="400" y="242"/>
                  <a:pt x="408" y="244"/>
                  <a:pt x="414" y="241"/>
                </a:cubicBezTo>
                <a:cubicBezTo>
                  <a:pt x="421" y="237"/>
                  <a:pt x="423" y="229"/>
                  <a:pt x="419" y="222"/>
                </a:cubicBezTo>
                <a:cubicBezTo>
                  <a:pt x="351" y="100"/>
                  <a:pt x="351" y="100"/>
                  <a:pt x="351" y="100"/>
                </a:cubicBezTo>
                <a:cubicBezTo>
                  <a:pt x="348" y="96"/>
                  <a:pt x="344" y="94"/>
                  <a:pt x="339" y="94"/>
                </a:cubicBezTo>
                <a:cubicBezTo>
                  <a:pt x="31" y="94"/>
                  <a:pt x="31" y="94"/>
                  <a:pt x="31" y="94"/>
                </a:cubicBezTo>
                <a:cubicBezTo>
                  <a:pt x="17" y="94"/>
                  <a:pt x="10" y="100"/>
                  <a:pt x="7" y="106"/>
                </a:cubicBezTo>
                <a:cubicBezTo>
                  <a:pt x="0" y="119"/>
                  <a:pt x="10" y="136"/>
                  <a:pt x="12" y="139"/>
                </a:cubicBezTo>
                <a:cubicBezTo>
                  <a:pt x="12" y="139"/>
                  <a:pt x="12" y="139"/>
                  <a:pt x="12" y="139"/>
                </a:cubicBezTo>
                <a:cubicBezTo>
                  <a:pt x="88" y="264"/>
                  <a:pt x="88" y="264"/>
                  <a:pt x="88" y="264"/>
                </a:cubicBezTo>
                <a:cubicBezTo>
                  <a:pt x="88" y="264"/>
                  <a:pt x="88" y="264"/>
                  <a:pt x="88" y="264"/>
                </a:cubicBezTo>
                <a:cubicBezTo>
                  <a:pt x="96" y="279"/>
                  <a:pt x="109" y="288"/>
                  <a:pt x="122" y="288"/>
                </a:cubicBezTo>
                <a:cubicBezTo>
                  <a:pt x="428" y="288"/>
                  <a:pt x="428" y="288"/>
                  <a:pt x="428" y="288"/>
                </a:cubicBezTo>
                <a:cubicBezTo>
                  <a:pt x="444" y="288"/>
                  <a:pt x="458" y="274"/>
                  <a:pt x="458" y="257"/>
                </a:cubicBezTo>
                <a:cubicBezTo>
                  <a:pt x="458" y="70"/>
                  <a:pt x="458" y="70"/>
                  <a:pt x="458" y="70"/>
                </a:cubicBezTo>
                <a:cubicBezTo>
                  <a:pt x="458" y="53"/>
                  <a:pt x="444" y="39"/>
                  <a:pt x="428" y="39"/>
                </a:cubicBezTo>
                <a:cubicBezTo>
                  <a:pt x="428" y="39"/>
                  <a:pt x="370" y="39"/>
                  <a:pt x="350" y="39"/>
                </a:cubicBezTo>
                <a:cubicBezTo>
                  <a:pt x="350" y="35"/>
                  <a:pt x="350" y="31"/>
                  <a:pt x="350" y="31"/>
                </a:cubicBezTo>
                <a:cubicBezTo>
                  <a:pt x="350" y="13"/>
                  <a:pt x="339" y="0"/>
                  <a:pt x="325" y="0"/>
                </a:cubicBezTo>
                <a:lnTo>
                  <a:pt x="225"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22" name="Freeform 568"/>
          <p:cNvSpPr>
            <a:spLocks/>
          </p:cNvSpPr>
          <p:nvPr userDrawn="1"/>
        </p:nvSpPr>
        <p:spPr bwMode="auto">
          <a:xfrm>
            <a:off x="6567478" y="3823845"/>
            <a:ext cx="337035" cy="336947"/>
          </a:xfrm>
          <a:custGeom>
            <a:avLst/>
            <a:gdLst/>
            <a:ahLst/>
            <a:cxnLst>
              <a:cxn ang="0">
                <a:pos x="22" y="290"/>
              </a:cxn>
              <a:cxn ang="0">
                <a:pos x="52" y="66"/>
              </a:cxn>
              <a:cxn ang="0">
                <a:pos x="40" y="127"/>
              </a:cxn>
              <a:cxn ang="0">
                <a:pos x="130" y="361"/>
              </a:cxn>
              <a:cxn ang="0">
                <a:pos x="186" y="339"/>
              </a:cxn>
              <a:cxn ang="0">
                <a:pos x="183" y="322"/>
              </a:cxn>
              <a:cxn ang="0">
                <a:pos x="154" y="278"/>
              </a:cxn>
              <a:cxn ang="0">
                <a:pos x="163" y="257"/>
              </a:cxn>
              <a:cxn ang="0">
                <a:pos x="103" y="213"/>
              </a:cxn>
              <a:cxn ang="0">
                <a:pos x="69" y="113"/>
              </a:cxn>
              <a:cxn ang="0">
                <a:pos x="84" y="69"/>
              </a:cxn>
              <a:cxn ang="0">
                <a:pos x="93" y="31"/>
              </a:cxn>
              <a:cxn ang="0">
                <a:pos x="127" y="19"/>
              </a:cxn>
              <a:cxn ang="0">
                <a:pos x="147" y="29"/>
              </a:cxn>
              <a:cxn ang="0">
                <a:pos x="199" y="41"/>
              </a:cxn>
              <a:cxn ang="0">
                <a:pos x="249" y="91"/>
              </a:cxn>
              <a:cxn ang="0">
                <a:pos x="250" y="102"/>
              </a:cxn>
              <a:cxn ang="0">
                <a:pos x="238" y="119"/>
              </a:cxn>
              <a:cxn ang="0">
                <a:pos x="181" y="172"/>
              </a:cxn>
              <a:cxn ang="0">
                <a:pos x="172" y="167"/>
              </a:cxn>
              <a:cxn ang="0">
                <a:pos x="165" y="161"/>
              </a:cxn>
              <a:cxn ang="0">
                <a:pos x="151" y="167"/>
              </a:cxn>
              <a:cxn ang="0">
                <a:pos x="156" y="181"/>
              </a:cxn>
              <a:cxn ang="0">
                <a:pos x="177" y="197"/>
              </a:cxn>
              <a:cxn ang="0">
                <a:pos x="188" y="213"/>
              </a:cxn>
              <a:cxn ang="0">
                <a:pos x="201" y="208"/>
              </a:cxn>
              <a:cxn ang="0">
                <a:pos x="256" y="225"/>
              </a:cxn>
              <a:cxn ang="0">
                <a:pos x="330" y="259"/>
              </a:cxn>
              <a:cxn ang="0">
                <a:pos x="315" y="307"/>
              </a:cxn>
              <a:cxn ang="0">
                <a:pos x="283" y="354"/>
              </a:cxn>
              <a:cxn ang="0">
                <a:pos x="352" y="113"/>
              </a:cxn>
              <a:cxn ang="0">
                <a:pos x="170" y="26"/>
              </a:cxn>
              <a:cxn ang="0">
                <a:pos x="199" y="0"/>
              </a:cxn>
              <a:cxn ang="0">
                <a:pos x="399" y="200"/>
              </a:cxn>
              <a:cxn ang="0">
                <a:pos x="222" y="398"/>
              </a:cxn>
              <a:cxn ang="0">
                <a:pos x="265" y="324"/>
              </a:cxn>
              <a:cxn ang="0">
                <a:pos x="309" y="273"/>
              </a:cxn>
              <a:cxn ang="0">
                <a:pos x="208" y="233"/>
              </a:cxn>
              <a:cxn ang="0">
                <a:pos x="166" y="226"/>
              </a:cxn>
              <a:cxn ang="0">
                <a:pos x="132" y="192"/>
              </a:cxn>
              <a:cxn ang="0">
                <a:pos x="148" y="140"/>
              </a:cxn>
              <a:cxn ang="0">
                <a:pos x="182" y="144"/>
              </a:cxn>
              <a:cxn ang="0">
                <a:pos x="225" y="97"/>
              </a:cxn>
              <a:cxn ang="0">
                <a:pos x="185" y="62"/>
              </a:cxn>
              <a:cxn ang="0">
                <a:pos x="110" y="48"/>
              </a:cxn>
              <a:cxn ang="0">
                <a:pos x="95" y="111"/>
              </a:cxn>
              <a:cxn ang="0">
                <a:pos x="102" y="179"/>
              </a:cxn>
              <a:cxn ang="0">
                <a:pos x="159" y="224"/>
              </a:cxn>
              <a:cxn ang="0">
                <a:pos x="189" y="256"/>
              </a:cxn>
              <a:cxn ang="0">
                <a:pos x="178" y="276"/>
              </a:cxn>
              <a:cxn ang="0">
                <a:pos x="183" y="287"/>
              </a:cxn>
              <a:cxn ang="0">
                <a:pos x="210" y="332"/>
              </a:cxn>
              <a:cxn ang="0">
                <a:pos x="184" y="398"/>
              </a:cxn>
            </a:cxnLst>
            <a:rect l="0" t="0" r="r" b="b"/>
            <a:pathLst>
              <a:path w="399" h="398">
                <a:moveTo>
                  <a:pt x="183" y="398"/>
                </a:moveTo>
                <a:cubicBezTo>
                  <a:pt x="182" y="398"/>
                  <a:pt x="156" y="397"/>
                  <a:pt x="122" y="384"/>
                </a:cubicBezTo>
                <a:cubicBezTo>
                  <a:pt x="89" y="370"/>
                  <a:pt x="48" y="342"/>
                  <a:pt x="22" y="290"/>
                </a:cubicBezTo>
                <a:cubicBezTo>
                  <a:pt x="6" y="259"/>
                  <a:pt x="0" y="228"/>
                  <a:pt x="0" y="200"/>
                </a:cubicBezTo>
                <a:cubicBezTo>
                  <a:pt x="0" y="168"/>
                  <a:pt x="8" y="140"/>
                  <a:pt x="18" y="117"/>
                </a:cubicBezTo>
                <a:cubicBezTo>
                  <a:pt x="29" y="94"/>
                  <a:pt x="41" y="77"/>
                  <a:pt x="52" y="66"/>
                </a:cubicBezTo>
                <a:cubicBezTo>
                  <a:pt x="56" y="61"/>
                  <a:pt x="64" y="61"/>
                  <a:pt x="68" y="66"/>
                </a:cubicBezTo>
                <a:cubicBezTo>
                  <a:pt x="73" y="70"/>
                  <a:pt x="73" y="78"/>
                  <a:pt x="69" y="82"/>
                </a:cubicBezTo>
                <a:cubicBezTo>
                  <a:pt x="61" y="90"/>
                  <a:pt x="49" y="106"/>
                  <a:pt x="40" y="127"/>
                </a:cubicBezTo>
                <a:cubicBezTo>
                  <a:pt x="31" y="147"/>
                  <a:pt x="24" y="172"/>
                  <a:pt x="24" y="200"/>
                </a:cubicBezTo>
                <a:cubicBezTo>
                  <a:pt x="24" y="225"/>
                  <a:pt x="29" y="251"/>
                  <a:pt x="43" y="279"/>
                </a:cubicBezTo>
                <a:cubicBezTo>
                  <a:pt x="66" y="325"/>
                  <a:pt x="100" y="349"/>
                  <a:pt x="130" y="361"/>
                </a:cubicBezTo>
                <a:cubicBezTo>
                  <a:pt x="149" y="369"/>
                  <a:pt x="166" y="373"/>
                  <a:pt x="176" y="374"/>
                </a:cubicBezTo>
                <a:cubicBezTo>
                  <a:pt x="176" y="372"/>
                  <a:pt x="177" y="370"/>
                  <a:pt x="178" y="368"/>
                </a:cubicBezTo>
                <a:cubicBezTo>
                  <a:pt x="181" y="359"/>
                  <a:pt x="184" y="348"/>
                  <a:pt x="186" y="339"/>
                </a:cubicBezTo>
                <a:cubicBezTo>
                  <a:pt x="187" y="336"/>
                  <a:pt x="187" y="334"/>
                  <a:pt x="187" y="332"/>
                </a:cubicBezTo>
                <a:cubicBezTo>
                  <a:pt x="187" y="330"/>
                  <a:pt x="187" y="329"/>
                  <a:pt x="186" y="328"/>
                </a:cubicBezTo>
                <a:cubicBezTo>
                  <a:pt x="186" y="326"/>
                  <a:pt x="185" y="324"/>
                  <a:pt x="183" y="322"/>
                </a:cubicBezTo>
                <a:cubicBezTo>
                  <a:pt x="180" y="318"/>
                  <a:pt x="174" y="312"/>
                  <a:pt x="166" y="303"/>
                </a:cubicBezTo>
                <a:cubicBezTo>
                  <a:pt x="162" y="299"/>
                  <a:pt x="159" y="295"/>
                  <a:pt x="157" y="290"/>
                </a:cubicBezTo>
                <a:cubicBezTo>
                  <a:pt x="155" y="286"/>
                  <a:pt x="154" y="282"/>
                  <a:pt x="154" y="278"/>
                </a:cubicBezTo>
                <a:cubicBezTo>
                  <a:pt x="154" y="274"/>
                  <a:pt x="155" y="270"/>
                  <a:pt x="156" y="267"/>
                </a:cubicBezTo>
                <a:cubicBezTo>
                  <a:pt x="158" y="264"/>
                  <a:pt x="159" y="262"/>
                  <a:pt x="161" y="260"/>
                </a:cubicBezTo>
                <a:cubicBezTo>
                  <a:pt x="161" y="259"/>
                  <a:pt x="162" y="258"/>
                  <a:pt x="163" y="257"/>
                </a:cubicBezTo>
                <a:cubicBezTo>
                  <a:pt x="163" y="257"/>
                  <a:pt x="163" y="256"/>
                  <a:pt x="162" y="256"/>
                </a:cubicBezTo>
                <a:cubicBezTo>
                  <a:pt x="159" y="253"/>
                  <a:pt x="153" y="249"/>
                  <a:pt x="147" y="244"/>
                </a:cubicBezTo>
                <a:cubicBezTo>
                  <a:pt x="133" y="235"/>
                  <a:pt x="117" y="224"/>
                  <a:pt x="103" y="213"/>
                </a:cubicBezTo>
                <a:cubicBezTo>
                  <a:pt x="94" y="205"/>
                  <a:pt x="86" y="198"/>
                  <a:pt x="81" y="190"/>
                </a:cubicBezTo>
                <a:cubicBezTo>
                  <a:pt x="72" y="173"/>
                  <a:pt x="67" y="151"/>
                  <a:pt x="67" y="131"/>
                </a:cubicBezTo>
                <a:cubicBezTo>
                  <a:pt x="67" y="125"/>
                  <a:pt x="67" y="119"/>
                  <a:pt x="69" y="113"/>
                </a:cubicBezTo>
                <a:cubicBezTo>
                  <a:pt x="70" y="107"/>
                  <a:pt x="72" y="102"/>
                  <a:pt x="76" y="97"/>
                </a:cubicBezTo>
                <a:cubicBezTo>
                  <a:pt x="77" y="95"/>
                  <a:pt x="79" y="91"/>
                  <a:pt x="81" y="86"/>
                </a:cubicBezTo>
                <a:cubicBezTo>
                  <a:pt x="82" y="81"/>
                  <a:pt x="83" y="75"/>
                  <a:pt x="84" y="69"/>
                </a:cubicBezTo>
                <a:cubicBezTo>
                  <a:pt x="86" y="58"/>
                  <a:pt x="87" y="47"/>
                  <a:pt x="87" y="43"/>
                </a:cubicBezTo>
                <a:cubicBezTo>
                  <a:pt x="87" y="41"/>
                  <a:pt x="87" y="41"/>
                  <a:pt x="87" y="41"/>
                </a:cubicBezTo>
                <a:cubicBezTo>
                  <a:pt x="87" y="37"/>
                  <a:pt x="90" y="33"/>
                  <a:pt x="93" y="31"/>
                </a:cubicBezTo>
                <a:cubicBezTo>
                  <a:pt x="115" y="19"/>
                  <a:pt x="115" y="19"/>
                  <a:pt x="115" y="19"/>
                </a:cubicBezTo>
                <a:cubicBezTo>
                  <a:pt x="119" y="17"/>
                  <a:pt x="124" y="17"/>
                  <a:pt x="127" y="19"/>
                </a:cubicBezTo>
                <a:cubicBezTo>
                  <a:pt x="127" y="19"/>
                  <a:pt x="127" y="19"/>
                  <a:pt x="127" y="19"/>
                </a:cubicBezTo>
                <a:cubicBezTo>
                  <a:pt x="128" y="20"/>
                  <a:pt x="128" y="20"/>
                  <a:pt x="128" y="20"/>
                </a:cubicBezTo>
                <a:cubicBezTo>
                  <a:pt x="129" y="21"/>
                  <a:pt x="131" y="21"/>
                  <a:pt x="133" y="22"/>
                </a:cubicBezTo>
                <a:cubicBezTo>
                  <a:pt x="136" y="24"/>
                  <a:pt x="141" y="27"/>
                  <a:pt x="147" y="29"/>
                </a:cubicBezTo>
                <a:cubicBezTo>
                  <a:pt x="158" y="34"/>
                  <a:pt x="173" y="39"/>
                  <a:pt x="185" y="39"/>
                </a:cubicBezTo>
                <a:cubicBezTo>
                  <a:pt x="186" y="39"/>
                  <a:pt x="188" y="39"/>
                  <a:pt x="190" y="39"/>
                </a:cubicBezTo>
                <a:cubicBezTo>
                  <a:pt x="193" y="38"/>
                  <a:pt x="196" y="39"/>
                  <a:pt x="199" y="41"/>
                </a:cubicBezTo>
                <a:cubicBezTo>
                  <a:pt x="199" y="41"/>
                  <a:pt x="217" y="57"/>
                  <a:pt x="232" y="70"/>
                </a:cubicBezTo>
                <a:cubicBezTo>
                  <a:pt x="237" y="75"/>
                  <a:pt x="241" y="80"/>
                  <a:pt x="244" y="84"/>
                </a:cubicBezTo>
                <a:cubicBezTo>
                  <a:pt x="246" y="86"/>
                  <a:pt x="248" y="88"/>
                  <a:pt x="249" y="91"/>
                </a:cubicBezTo>
                <a:cubicBezTo>
                  <a:pt x="250" y="93"/>
                  <a:pt x="251" y="94"/>
                  <a:pt x="251" y="98"/>
                </a:cubicBezTo>
                <a:cubicBezTo>
                  <a:pt x="251" y="99"/>
                  <a:pt x="251" y="101"/>
                  <a:pt x="251" y="102"/>
                </a:cubicBezTo>
                <a:cubicBezTo>
                  <a:pt x="250" y="102"/>
                  <a:pt x="250" y="102"/>
                  <a:pt x="250" y="102"/>
                </a:cubicBezTo>
                <a:cubicBezTo>
                  <a:pt x="249" y="105"/>
                  <a:pt x="249" y="106"/>
                  <a:pt x="248" y="107"/>
                </a:cubicBezTo>
                <a:cubicBezTo>
                  <a:pt x="247" y="108"/>
                  <a:pt x="246" y="109"/>
                  <a:pt x="245" y="110"/>
                </a:cubicBezTo>
                <a:cubicBezTo>
                  <a:pt x="243" y="113"/>
                  <a:pt x="241" y="115"/>
                  <a:pt x="238" y="119"/>
                </a:cubicBezTo>
                <a:cubicBezTo>
                  <a:pt x="233" y="125"/>
                  <a:pt x="225" y="132"/>
                  <a:pt x="218" y="140"/>
                </a:cubicBezTo>
                <a:cubicBezTo>
                  <a:pt x="204" y="155"/>
                  <a:pt x="190" y="169"/>
                  <a:pt x="190" y="169"/>
                </a:cubicBezTo>
                <a:cubicBezTo>
                  <a:pt x="188" y="171"/>
                  <a:pt x="184" y="173"/>
                  <a:pt x="181" y="172"/>
                </a:cubicBezTo>
                <a:cubicBezTo>
                  <a:pt x="177" y="172"/>
                  <a:pt x="174" y="170"/>
                  <a:pt x="172" y="167"/>
                </a:cubicBezTo>
                <a:cubicBezTo>
                  <a:pt x="172" y="167"/>
                  <a:pt x="172" y="167"/>
                  <a:pt x="172" y="167"/>
                </a:cubicBezTo>
                <a:cubicBezTo>
                  <a:pt x="172" y="167"/>
                  <a:pt x="172" y="167"/>
                  <a:pt x="172" y="167"/>
                </a:cubicBezTo>
                <a:cubicBezTo>
                  <a:pt x="172" y="167"/>
                  <a:pt x="172" y="166"/>
                  <a:pt x="172" y="166"/>
                </a:cubicBezTo>
                <a:cubicBezTo>
                  <a:pt x="171" y="166"/>
                  <a:pt x="171" y="165"/>
                  <a:pt x="170" y="164"/>
                </a:cubicBezTo>
                <a:cubicBezTo>
                  <a:pt x="169" y="163"/>
                  <a:pt x="167" y="161"/>
                  <a:pt x="165" y="161"/>
                </a:cubicBezTo>
                <a:cubicBezTo>
                  <a:pt x="164" y="160"/>
                  <a:pt x="163" y="160"/>
                  <a:pt x="162" y="160"/>
                </a:cubicBezTo>
                <a:cubicBezTo>
                  <a:pt x="161" y="160"/>
                  <a:pt x="160" y="160"/>
                  <a:pt x="158" y="161"/>
                </a:cubicBezTo>
                <a:cubicBezTo>
                  <a:pt x="157" y="162"/>
                  <a:pt x="154" y="164"/>
                  <a:pt x="151" y="167"/>
                </a:cubicBezTo>
                <a:cubicBezTo>
                  <a:pt x="148" y="171"/>
                  <a:pt x="148" y="173"/>
                  <a:pt x="148" y="173"/>
                </a:cubicBezTo>
                <a:cubicBezTo>
                  <a:pt x="148" y="174"/>
                  <a:pt x="148" y="174"/>
                  <a:pt x="149" y="176"/>
                </a:cubicBezTo>
                <a:cubicBezTo>
                  <a:pt x="151" y="178"/>
                  <a:pt x="153" y="180"/>
                  <a:pt x="156" y="181"/>
                </a:cubicBezTo>
                <a:cubicBezTo>
                  <a:pt x="162" y="185"/>
                  <a:pt x="169" y="187"/>
                  <a:pt x="169" y="187"/>
                </a:cubicBezTo>
                <a:cubicBezTo>
                  <a:pt x="169" y="187"/>
                  <a:pt x="169" y="187"/>
                  <a:pt x="169" y="187"/>
                </a:cubicBezTo>
                <a:cubicBezTo>
                  <a:pt x="173" y="188"/>
                  <a:pt x="177" y="192"/>
                  <a:pt x="177" y="197"/>
                </a:cubicBezTo>
                <a:cubicBezTo>
                  <a:pt x="178" y="203"/>
                  <a:pt x="181" y="207"/>
                  <a:pt x="183" y="210"/>
                </a:cubicBezTo>
                <a:cubicBezTo>
                  <a:pt x="185" y="212"/>
                  <a:pt x="188" y="213"/>
                  <a:pt x="188" y="213"/>
                </a:cubicBezTo>
                <a:cubicBezTo>
                  <a:pt x="188" y="213"/>
                  <a:pt x="188" y="213"/>
                  <a:pt x="188" y="213"/>
                </a:cubicBezTo>
                <a:cubicBezTo>
                  <a:pt x="188" y="213"/>
                  <a:pt x="188" y="213"/>
                  <a:pt x="188" y="213"/>
                </a:cubicBezTo>
                <a:cubicBezTo>
                  <a:pt x="191" y="211"/>
                  <a:pt x="193" y="210"/>
                  <a:pt x="195" y="209"/>
                </a:cubicBezTo>
                <a:cubicBezTo>
                  <a:pt x="197" y="209"/>
                  <a:pt x="199" y="208"/>
                  <a:pt x="201" y="208"/>
                </a:cubicBezTo>
                <a:cubicBezTo>
                  <a:pt x="205" y="208"/>
                  <a:pt x="208" y="209"/>
                  <a:pt x="212" y="210"/>
                </a:cubicBezTo>
                <a:cubicBezTo>
                  <a:pt x="216" y="211"/>
                  <a:pt x="221" y="212"/>
                  <a:pt x="225" y="214"/>
                </a:cubicBezTo>
                <a:cubicBezTo>
                  <a:pt x="235" y="217"/>
                  <a:pt x="245" y="221"/>
                  <a:pt x="256" y="225"/>
                </a:cubicBezTo>
                <a:cubicBezTo>
                  <a:pt x="277" y="234"/>
                  <a:pt x="300" y="244"/>
                  <a:pt x="312" y="249"/>
                </a:cubicBezTo>
                <a:cubicBezTo>
                  <a:pt x="316" y="250"/>
                  <a:pt x="319" y="251"/>
                  <a:pt x="320" y="252"/>
                </a:cubicBezTo>
                <a:cubicBezTo>
                  <a:pt x="324" y="253"/>
                  <a:pt x="327" y="255"/>
                  <a:pt x="330" y="259"/>
                </a:cubicBezTo>
                <a:cubicBezTo>
                  <a:pt x="332" y="262"/>
                  <a:pt x="333" y="266"/>
                  <a:pt x="333" y="270"/>
                </a:cubicBezTo>
                <a:cubicBezTo>
                  <a:pt x="333" y="277"/>
                  <a:pt x="331" y="282"/>
                  <a:pt x="328" y="288"/>
                </a:cubicBezTo>
                <a:cubicBezTo>
                  <a:pt x="324" y="294"/>
                  <a:pt x="320" y="301"/>
                  <a:pt x="315" y="307"/>
                </a:cubicBezTo>
                <a:cubicBezTo>
                  <a:pt x="305" y="319"/>
                  <a:pt x="293" y="332"/>
                  <a:pt x="279" y="343"/>
                </a:cubicBezTo>
                <a:cubicBezTo>
                  <a:pt x="269" y="351"/>
                  <a:pt x="259" y="360"/>
                  <a:pt x="252" y="368"/>
                </a:cubicBezTo>
                <a:cubicBezTo>
                  <a:pt x="261" y="365"/>
                  <a:pt x="272" y="360"/>
                  <a:pt x="283" y="354"/>
                </a:cubicBezTo>
                <a:cubicBezTo>
                  <a:pt x="305" y="343"/>
                  <a:pt x="328" y="324"/>
                  <a:pt x="346" y="298"/>
                </a:cubicBezTo>
                <a:cubicBezTo>
                  <a:pt x="363" y="272"/>
                  <a:pt x="375" y="239"/>
                  <a:pt x="375" y="200"/>
                </a:cubicBezTo>
                <a:cubicBezTo>
                  <a:pt x="375" y="166"/>
                  <a:pt x="366" y="137"/>
                  <a:pt x="352" y="113"/>
                </a:cubicBezTo>
                <a:cubicBezTo>
                  <a:pt x="338" y="89"/>
                  <a:pt x="319" y="69"/>
                  <a:pt x="300" y="55"/>
                </a:cubicBezTo>
                <a:cubicBezTo>
                  <a:pt x="269" y="34"/>
                  <a:pt x="234" y="24"/>
                  <a:pt x="199" y="24"/>
                </a:cubicBezTo>
                <a:cubicBezTo>
                  <a:pt x="189" y="24"/>
                  <a:pt x="179" y="25"/>
                  <a:pt x="170" y="26"/>
                </a:cubicBezTo>
                <a:cubicBezTo>
                  <a:pt x="163" y="27"/>
                  <a:pt x="157" y="23"/>
                  <a:pt x="156" y="16"/>
                </a:cubicBezTo>
                <a:cubicBezTo>
                  <a:pt x="155" y="10"/>
                  <a:pt x="160" y="4"/>
                  <a:pt x="166" y="3"/>
                </a:cubicBezTo>
                <a:cubicBezTo>
                  <a:pt x="177" y="1"/>
                  <a:pt x="188" y="0"/>
                  <a:pt x="199" y="0"/>
                </a:cubicBezTo>
                <a:cubicBezTo>
                  <a:pt x="238" y="0"/>
                  <a:pt x="278" y="12"/>
                  <a:pt x="313" y="36"/>
                </a:cubicBezTo>
                <a:cubicBezTo>
                  <a:pt x="335" y="52"/>
                  <a:pt x="357" y="74"/>
                  <a:pt x="372" y="101"/>
                </a:cubicBezTo>
                <a:cubicBezTo>
                  <a:pt x="388" y="129"/>
                  <a:pt x="399" y="162"/>
                  <a:pt x="399" y="200"/>
                </a:cubicBezTo>
                <a:cubicBezTo>
                  <a:pt x="399" y="244"/>
                  <a:pt x="385" y="282"/>
                  <a:pt x="365" y="311"/>
                </a:cubicBezTo>
                <a:cubicBezTo>
                  <a:pt x="345" y="340"/>
                  <a:pt x="319" y="361"/>
                  <a:pt x="294" y="375"/>
                </a:cubicBezTo>
                <a:cubicBezTo>
                  <a:pt x="257" y="395"/>
                  <a:pt x="223" y="398"/>
                  <a:pt x="222" y="398"/>
                </a:cubicBezTo>
                <a:cubicBezTo>
                  <a:pt x="217" y="398"/>
                  <a:pt x="213" y="396"/>
                  <a:pt x="211" y="392"/>
                </a:cubicBezTo>
                <a:cubicBezTo>
                  <a:pt x="208" y="388"/>
                  <a:pt x="209" y="383"/>
                  <a:pt x="211" y="379"/>
                </a:cubicBezTo>
                <a:cubicBezTo>
                  <a:pt x="212" y="379"/>
                  <a:pt x="232" y="349"/>
                  <a:pt x="265" y="324"/>
                </a:cubicBezTo>
                <a:cubicBezTo>
                  <a:pt x="274" y="317"/>
                  <a:pt x="282" y="309"/>
                  <a:pt x="290" y="301"/>
                </a:cubicBezTo>
                <a:cubicBezTo>
                  <a:pt x="297" y="292"/>
                  <a:pt x="304" y="284"/>
                  <a:pt x="307" y="277"/>
                </a:cubicBezTo>
                <a:cubicBezTo>
                  <a:pt x="308" y="276"/>
                  <a:pt x="309" y="274"/>
                  <a:pt x="309" y="273"/>
                </a:cubicBezTo>
                <a:cubicBezTo>
                  <a:pt x="305" y="271"/>
                  <a:pt x="300" y="269"/>
                  <a:pt x="294" y="266"/>
                </a:cubicBezTo>
                <a:cubicBezTo>
                  <a:pt x="285" y="263"/>
                  <a:pt x="276" y="259"/>
                  <a:pt x="265" y="254"/>
                </a:cubicBezTo>
                <a:cubicBezTo>
                  <a:pt x="244" y="246"/>
                  <a:pt x="222" y="236"/>
                  <a:pt x="208" y="233"/>
                </a:cubicBezTo>
                <a:cubicBezTo>
                  <a:pt x="206" y="232"/>
                  <a:pt x="203" y="232"/>
                  <a:pt x="202" y="232"/>
                </a:cubicBezTo>
                <a:cubicBezTo>
                  <a:pt x="198" y="235"/>
                  <a:pt x="193" y="236"/>
                  <a:pt x="188" y="236"/>
                </a:cubicBezTo>
                <a:cubicBezTo>
                  <a:pt x="179" y="236"/>
                  <a:pt x="172" y="232"/>
                  <a:pt x="166" y="226"/>
                </a:cubicBezTo>
                <a:cubicBezTo>
                  <a:pt x="161" y="221"/>
                  <a:pt x="158" y="214"/>
                  <a:pt x="156" y="207"/>
                </a:cubicBezTo>
                <a:cubicBezTo>
                  <a:pt x="154" y="207"/>
                  <a:pt x="153" y="206"/>
                  <a:pt x="151" y="205"/>
                </a:cubicBezTo>
                <a:cubicBezTo>
                  <a:pt x="145" y="203"/>
                  <a:pt x="138" y="199"/>
                  <a:pt x="132" y="192"/>
                </a:cubicBezTo>
                <a:cubicBezTo>
                  <a:pt x="128" y="187"/>
                  <a:pt x="124" y="181"/>
                  <a:pt x="124" y="173"/>
                </a:cubicBezTo>
                <a:cubicBezTo>
                  <a:pt x="124" y="165"/>
                  <a:pt x="128" y="158"/>
                  <a:pt x="134" y="151"/>
                </a:cubicBezTo>
                <a:cubicBezTo>
                  <a:pt x="138" y="146"/>
                  <a:pt x="143" y="143"/>
                  <a:pt x="148" y="140"/>
                </a:cubicBezTo>
                <a:cubicBezTo>
                  <a:pt x="152" y="138"/>
                  <a:pt x="157" y="136"/>
                  <a:pt x="162" y="136"/>
                </a:cubicBezTo>
                <a:cubicBezTo>
                  <a:pt x="167" y="136"/>
                  <a:pt x="172" y="138"/>
                  <a:pt x="176" y="139"/>
                </a:cubicBezTo>
                <a:cubicBezTo>
                  <a:pt x="178" y="141"/>
                  <a:pt x="180" y="142"/>
                  <a:pt x="182" y="144"/>
                </a:cubicBezTo>
                <a:cubicBezTo>
                  <a:pt x="186" y="140"/>
                  <a:pt x="190" y="136"/>
                  <a:pt x="194" y="131"/>
                </a:cubicBezTo>
                <a:cubicBezTo>
                  <a:pt x="206" y="119"/>
                  <a:pt x="219" y="105"/>
                  <a:pt x="225" y="98"/>
                </a:cubicBezTo>
                <a:cubicBezTo>
                  <a:pt x="225" y="97"/>
                  <a:pt x="225" y="97"/>
                  <a:pt x="225" y="97"/>
                </a:cubicBezTo>
                <a:cubicBezTo>
                  <a:pt x="222" y="93"/>
                  <a:pt x="217" y="89"/>
                  <a:pt x="212" y="84"/>
                </a:cubicBezTo>
                <a:cubicBezTo>
                  <a:pt x="203" y="76"/>
                  <a:pt x="193" y="67"/>
                  <a:pt x="188" y="62"/>
                </a:cubicBezTo>
                <a:cubicBezTo>
                  <a:pt x="187" y="62"/>
                  <a:pt x="186" y="62"/>
                  <a:pt x="185" y="62"/>
                </a:cubicBezTo>
                <a:cubicBezTo>
                  <a:pt x="167" y="62"/>
                  <a:pt x="150" y="56"/>
                  <a:pt x="137" y="51"/>
                </a:cubicBezTo>
                <a:cubicBezTo>
                  <a:pt x="131" y="48"/>
                  <a:pt x="125" y="45"/>
                  <a:pt x="121" y="43"/>
                </a:cubicBezTo>
                <a:cubicBezTo>
                  <a:pt x="110" y="48"/>
                  <a:pt x="110" y="48"/>
                  <a:pt x="110" y="48"/>
                </a:cubicBezTo>
                <a:cubicBezTo>
                  <a:pt x="110" y="51"/>
                  <a:pt x="110" y="54"/>
                  <a:pt x="109" y="58"/>
                </a:cubicBezTo>
                <a:cubicBezTo>
                  <a:pt x="108" y="67"/>
                  <a:pt x="107" y="79"/>
                  <a:pt x="104" y="90"/>
                </a:cubicBezTo>
                <a:cubicBezTo>
                  <a:pt x="102" y="97"/>
                  <a:pt x="99" y="104"/>
                  <a:pt x="95" y="111"/>
                </a:cubicBezTo>
                <a:cubicBezTo>
                  <a:pt x="93" y="112"/>
                  <a:pt x="92" y="115"/>
                  <a:pt x="91" y="118"/>
                </a:cubicBezTo>
                <a:cubicBezTo>
                  <a:pt x="91" y="122"/>
                  <a:pt x="90" y="126"/>
                  <a:pt x="90" y="131"/>
                </a:cubicBezTo>
                <a:cubicBezTo>
                  <a:pt x="90" y="147"/>
                  <a:pt x="95" y="166"/>
                  <a:pt x="102" y="179"/>
                </a:cubicBezTo>
                <a:cubicBezTo>
                  <a:pt x="103" y="180"/>
                  <a:pt x="106" y="184"/>
                  <a:pt x="109" y="187"/>
                </a:cubicBezTo>
                <a:cubicBezTo>
                  <a:pt x="113" y="191"/>
                  <a:pt x="118" y="195"/>
                  <a:pt x="124" y="199"/>
                </a:cubicBezTo>
                <a:cubicBezTo>
                  <a:pt x="135" y="208"/>
                  <a:pt x="148" y="216"/>
                  <a:pt x="159" y="224"/>
                </a:cubicBezTo>
                <a:cubicBezTo>
                  <a:pt x="166" y="230"/>
                  <a:pt x="173" y="234"/>
                  <a:pt x="178" y="239"/>
                </a:cubicBezTo>
                <a:cubicBezTo>
                  <a:pt x="181" y="242"/>
                  <a:pt x="184" y="244"/>
                  <a:pt x="186" y="248"/>
                </a:cubicBezTo>
                <a:cubicBezTo>
                  <a:pt x="187" y="250"/>
                  <a:pt x="188" y="252"/>
                  <a:pt x="189" y="256"/>
                </a:cubicBezTo>
                <a:cubicBezTo>
                  <a:pt x="189" y="258"/>
                  <a:pt x="188" y="260"/>
                  <a:pt x="187" y="262"/>
                </a:cubicBezTo>
                <a:cubicBezTo>
                  <a:pt x="185" y="266"/>
                  <a:pt x="183" y="269"/>
                  <a:pt x="181" y="271"/>
                </a:cubicBezTo>
                <a:cubicBezTo>
                  <a:pt x="179" y="274"/>
                  <a:pt x="178" y="275"/>
                  <a:pt x="178" y="276"/>
                </a:cubicBezTo>
                <a:cubicBezTo>
                  <a:pt x="178" y="277"/>
                  <a:pt x="178" y="277"/>
                  <a:pt x="178" y="278"/>
                </a:cubicBezTo>
                <a:cubicBezTo>
                  <a:pt x="178" y="278"/>
                  <a:pt x="178" y="279"/>
                  <a:pt x="178" y="280"/>
                </a:cubicBezTo>
                <a:cubicBezTo>
                  <a:pt x="179" y="282"/>
                  <a:pt x="181" y="284"/>
                  <a:pt x="183" y="287"/>
                </a:cubicBezTo>
                <a:cubicBezTo>
                  <a:pt x="189" y="293"/>
                  <a:pt x="194" y="298"/>
                  <a:pt x="198" y="303"/>
                </a:cubicBezTo>
                <a:cubicBezTo>
                  <a:pt x="202" y="308"/>
                  <a:pt x="206" y="313"/>
                  <a:pt x="208" y="319"/>
                </a:cubicBezTo>
                <a:cubicBezTo>
                  <a:pt x="210" y="323"/>
                  <a:pt x="210" y="328"/>
                  <a:pt x="210" y="332"/>
                </a:cubicBezTo>
                <a:cubicBezTo>
                  <a:pt x="210" y="336"/>
                  <a:pt x="210" y="340"/>
                  <a:pt x="209" y="344"/>
                </a:cubicBezTo>
                <a:cubicBezTo>
                  <a:pt x="204" y="364"/>
                  <a:pt x="195" y="390"/>
                  <a:pt x="195" y="391"/>
                </a:cubicBezTo>
                <a:cubicBezTo>
                  <a:pt x="193" y="395"/>
                  <a:pt x="189" y="398"/>
                  <a:pt x="184" y="398"/>
                </a:cubicBezTo>
                <a:lnTo>
                  <a:pt x="183" y="398"/>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23" name="Freeform 572"/>
          <p:cNvSpPr>
            <a:spLocks/>
          </p:cNvSpPr>
          <p:nvPr userDrawn="1"/>
        </p:nvSpPr>
        <p:spPr bwMode="auto">
          <a:xfrm>
            <a:off x="6563904" y="2806049"/>
            <a:ext cx="344181" cy="292894"/>
          </a:xfrm>
          <a:custGeom>
            <a:avLst/>
            <a:gdLst/>
            <a:ahLst/>
            <a:cxnLst>
              <a:cxn ang="0">
                <a:pos x="406" y="233"/>
              </a:cxn>
              <a:cxn ang="0">
                <a:pos x="383" y="124"/>
              </a:cxn>
              <a:cxn ang="0">
                <a:pos x="342" y="120"/>
              </a:cxn>
              <a:cxn ang="0">
                <a:pos x="333" y="124"/>
              </a:cxn>
              <a:cxn ang="0">
                <a:pos x="274" y="147"/>
              </a:cxn>
              <a:cxn ang="0">
                <a:pos x="241" y="103"/>
              </a:cxn>
              <a:cxn ang="0">
                <a:pos x="370" y="61"/>
              </a:cxn>
              <a:cxn ang="0">
                <a:pos x="240" y="19"/>
              </a:cxn>
              <a:cxn ang="0">
                <a:pos x="195" y="0"/>
              </a:cxn>
              <a:cxn ang="0">
                <a:pos x="83" y="29"/>
              </a:cxn>
              <a:cxn ang="0">
                <a:pos x="84" y="93"/>
              </a:cxn>
              <a:cxn ang="0">
                <a:pos x="165" y="129"/>
              </a:cxn>
              <a:cxn ang="0">
                <a:pos x="85" y="147"/>
              </a:cxn>
              <a:cxn ang="0">
                <a:pos x="73" y="123"/>
              </a:cxn>
              <a:cxn ang="0">
                <a:pos x="64" y="120"/>
              </a:cxn>
              <a:cxn ang="0">
                <a:pos x="23" y="124"/>
              </a:cxn>
              <a:cxn ang="0">
                <a:pos x="23" y="343"/>
              </a:cxn>
              <a:cxn ang="0">
                <a:pos x="64" y="346"/>
              </a:cxn>
              <a:cxn ang="0">
                <a:pos x="73" y="343"/>
              </a:cxn>
              <a:cxn ang="0">
                <a:pos x="82" y="220"/>
              </a:cxn>
              <a:cxn ang="0">
                <a:pos x="57" y="319"/>
              </a:cxn>
              <a:cxn ang="0">
                <a:pos x="36" y="310"/>
              </a:cxn>
              <a:cxn ang="0">
                <a:pos x="39" y="147"/>
              </a:cxn>
              <a:cxn ang="0">
                <a:pos x="62" y="163"/>
              </a:cxn>
              <a:cxn ang="0">
                <a:pos x="136" y="174"/>
              </a:cxn>
              <a:cxn ang="0">
                <a:pos x="137" y="174"/>
              </a:cxn>
              <a:cxn ang="0">
                <a:pos x="145" y="171"/>
              </a:cxn>
              <a:cxn ang="0">
                <a:pos x="182" y="153"/>
              </a:cxn>
              <a:cxn ang="0">
                <a:pos x="192" y="139"/>
              </a:cxn>
              <a:cxn ang="0">
                <a:pos x="179" y="77"/>
              </a:cxn>
              <a:cxn ang="0">
                <a:pos x="71" y="60"/>
              </a:cxn>
              <a:cxn ang="0">
                <a:pos x="177" y="45"/>
              </a:cxn>
              <a:cxn ang="0">
                <a:pos x="190" y="32"/>
              </a:cxn>
              <a:cxn ang="0">
                <a:pos x="211" y="27"/>
              </a:cxn>
              <a:cxn ang="0">
                <a:pos x="216" y="32"/>
              </a:cxn>
              <a:cxn ang="0">
                <a:pos x="228" y="45"/>
              </a:cxn>
              <a:cxn ang="0">
                <a:pos x="335" y="60"/>
              </a:cxn>
              <a:cxn ang="0">
                <a:pos x="227" y="77"/>
              </a:cxn>
              <a:cxn ang="0">
                <a:pos x="214" y="90"/>
              </a:cxn>
              <a:cxn ang="0">
                <a:pos x="224" y="152"/>
              </a:cxn>
              <a:cxn ang="0">
                <a:pos x="261" y="171"/>
              </a:cxn>
              <a:cxn ang="0">
                <a:pos x="261" y="171"/>
              </a:cxn>
              <a:cxn ang="0">
                <a:pos x="332" y="174"/>
              </a:cxn>
              <a:cxn ang="0">
                <a:pos x="344" y="164"/>
              </a:cxn>
              <a:cxn ang="0">
                <a:pos x="366" y="147"/>
              </a:cxn>
              <a:cxn ang="0">
                <a:pos x="366" y="319"/>
              </a:cxn>
              <a:cxn ang="0">
                <a:pos x="344" y="303"/>
              </a:cxn>
              <a:cxn ang="0">
                <a:pos x="331" y="293"/>
              </a:cxn>
              <a:cxn ang="0">
                <a:pos x="123" y="293"/>
              </a:cxn>
              <a:cxn ang="0">
                <a:pos x="123" y="320"/>
              </a:cxn>
              <a:cxn ang="0">
                <a:pos x="333" y="343"/>
              </a:cxn>
              <a:cxn ang="0">
                <a:pos x="342" y="346"/>
              </a:cxn>
              <a:cxn ang="0">
                <a:pos x="383" y="343"/>
              </a:cxn>
              <a:cxn ang="0">
                <a:pos x="406" y="233"/>
              </a:cxn>
              <a:cxn ang="0">
                <a:pos x="406" y="233"/>
              </a:cxn>
              <a:cxn ang="0">
                <a:pos x="406" y="233"/>
              </a:cxn>
              <a:cxn ang="0">
                <a:pos x="406" y="233"/>
              </a:cxn>
              <a:cxn ang="0">
                <a:pos x="406" y="233"/>
              </a:cxn>
            </a:cxnLst>
            <a:rect l="0" t="0" r="r" b="b"/>
            <a:pathLst>
              <a:path w="406" h="346">
                <a:moveTo>
                  <a:pt x="406" y="233"/>
                </a:moveTo>
                <a:cubicBezTo>
                  <a:pt x="406" y="233"/>
                  <a:pt x="406" y="233"/>
                  <a:pt x="406" y="233"/>
                </a:cubicBezTo>
                <a:cubicBezTo>
                  <a:pt x="406" y="233"/>
                  <a:pt x="406" y="233"/>
                  <a:pt x="406" y="233"/>
                </a:cubicBezTo>
                <a:cubicBezTo>
                  <a:pt x="406" y="149"/>
                  <a:pt x="386" y="127"/>
                  <a:pt x="383" y="124"/>
                </a:cubicBezTo>
                <a:cubicBezTo>
                  <a:pt x="380" y="122"/>
                  <a:pt x="377" y="120"/>
                  <a:pt x="374" y="120"/>
                </a:cubicBezTo>
                <a:cubicBezTo>
                  <a:pt x="342" y="120"/>
                  <a:pt x="342" y="120"/>
                  <a:pt x="342" y="120"/>
                </a:cubicBezTo>
                <a:cubicBezTo>
                  <a:pt x="339" y="120"/>
                  <a:pt x="336" y="122"/>
                  <a:pt x="333" y="124"/>
                </a:cubicBezTo>
                <a:cubicBezTo>
                  <a:pt x="333" y="124"/>
                  <a:pt x="333" y="124"/>
                  <a:pt x="333" y="124"/>
                </a:cubicBezTo>
                <a:cubicBezTo>
                  <a:pt x="331" y="126"/>
                  <a:pt x="325" y="132"/>
                  <a:pt x="320" y="147"/>
                </a:cubicBezTo>
                <a:cubicBezTo>
                  <a:pt x="274" y="147"/>
                  <a:pt x="274" y="147"/>
                  <a:pt x="274" y="147"/>
                </a:cubicBezTo>
                <a:cubicBezTo>
                  <a:pt x="264" y="139"/>
                  <a:pt x="253" y="133"/>
                  <a:pt x="241" y="129"/>
                </a:cubicBezTo>
                <a:cubicBezTo>
                  <a:pt x="241" y="103"/>
                  <a:pt x="241" y="103"/>
                  <a:pt x="241" y="103"/>
                </a:cubicBezTo>
                <a:cubicBezTo>
                  <a:pt x="272" y="102"/>
                  <a:pt x="301" y="98"/>
                  <a:pt x="322" y="93"/>
                </a:cubicBezTo>
                <a:cubicBezTo>
                  <a:pt x="344" y="88"/>
                  <a:pt x="370" y="80"/>
                  <a:pt x="370" y="61"/>
                </a:cubicBezTo>
                <a:cubicBezTo>
                  <a:pt x="370" y="42"/>
                  <a:pt x="345" y="34"/>
                  <a:pt x="323" y="29"/>
                </a:cubicBezTo>
                <a:cubicBezTo>
                  <a:pt x="301" y="24"/>
                  <a:pt x="272" y="20"/>
                  <a:pt x="240" y="19"/>
                </a:cubicBezTo>
                <a:cubicBezTo>
                  <a:pt x="235" y="8"/>
                  <a:pt x="224" y="0"/>
                  <a:pt x="211" y="0"/>
                </a:cubicBezTo>
                <a:cubicBezTo>
                  <a:pt x="195" y="0"/>
                  <a:pt x="195" y="0"/>
                  <a:pt x="195" y="0"/>
                </a:cubicBezTo>
                <a:cubicBezTo>
                  <a:pt x="182" y="0"/>
                  <a:pt x="171" y="8"/>
                  <a:pt x="166" y="19"/>
                </a:cubicBezTo>
                <a:cubicBezTo>
                  <a:pt x="134" y="20"/>
                  <a:pt x="105" y="24"/>
                  <a:pt x="83" y="29"/>
                </a:cubicBezTo>
                <a:cubicBezTo>
                  <a:pt x="61" y="34"/>
                  <a:pt x="36" y="42"/>
                  <a:pt x="36" y="61"/>
                </a:cubicBezTo>
                <a:cubicBezTo>
                  <a:pt x="36" y="80"/>
                  <a:pt x="61" y="88"/>
                  <a:pt x="84" y="93"/>
                </a:cubicBezTo>
                <a:cubicBezTo>
                  <a:pt x="105" y="98"/>
                  <a:pt x="134" y="102"/>
                  <a:pt x="165" y="103"/>
                </a:cubicBezTo>
                <a:cubicBezTo>
                  <a:pt x="165" y="129"/>
                  <a:pt x="165" y="129"/>
                  <a:pt x="165" y="129"/>
                </a:cubicBezTo>
                <a:cubicBezTo>
                  <a:pt x="153" y="133"/>
                  <a:pt x="142" y="139"/>
                  <a:pt x="131" y="147"/>
                </a:cubicBezTo>
                <a:cubicBezTo>
                  <a:pt x="85" y="147"/>
                  <a:pt x="85" y="147"/>
                  <a:pt x="85" y="147"/>
                </a:cubicBezTo>
                <a:cubicBezTo>
                  <a:pt x="80" y="132"/>
                  <a:pt x="75" y="126"/>
                  <a:pt x="73" y="124"/>
                </a:cubicBezTo>
                <a:cubicBezTo>
                  <a:pt x="73" y="124"/>
                  <a:pt x="73" y="124"/>
                  <a:pt x="73" y="123"/>
                </a:cubicBezTo>
                <a:cubicBezTo>
                  <a:pt x="70" y="121"/>
                  <a:pt x="67" y="120"/>
                  <a:pt x="64" y="120"/>
                </a:cubicBezTo>
                <a:cubicBezTo>
                  <a:pt x="64" y="120"/>
                  <a:pt x="64" y="120"/>
                  <a:pt x="64" y="120"/>
                </a:cubicBezTo>
                <a:cubicBezTo>
                  <a:pt x="32" y="120"/>
                  <a:pt x="32" y="120"/>
                  <a:pt x="32" y="120"/>
                </a:cubicBezTo>
                <a:cubicBezTo>
                  <a:pt x="29" y="120"/>
                  <a:pt x="26" y="121"/>
                  <a:pt x="23" y="124"/>
                </a:cubicBezTo>
                <a:cubicBezTo>
                  <a:pt x="19" y="127"/>
                  <a:pt x="0" y="148"/>
                  <a:pt x="0" y="233"/>
                </a:cubicBezTo>
                <a:cubicBezTo>
                  <a:pt x="0" y="318"/>
                  <a:pt x="19" y="339"/>
                  <a:pt x="23" y="343"/>
                </a:cubicBezTo>
                <a:cubicBezTo>
                  <a:pt x="26" y="345"/>
                  <a:pt x="29" y="346"/>
                  <a:pt x="32" y="346"/>
                </a:cubicBezTo>
                <a:cubicBezTo>
                  <a:pt x="64" y="346"/>
                  <a:pt x="64" y="346"/>
                  <a:pt x="64" y="346"/>
                </a:cubicBezTo>
                <a:cubicBezTo>
                  <a:pt x="67" y="346"/>
                  <a:pt x="70" y="345"/>
                  <a:pt x="73" y="343"/>
                </a:cubicBezTo>
                <a:cubicBezTo>
                  <a:pt x="73" y="343"/>
                  <a:pt x="73" y="343"/>
                  <a:pt x="73" y="343"/>
                </a:cubicBezTo>
                <a:cubicBezTo>
                  <a:pt x="77" y="339"/>
                  <a:pt x="96" y="318"/>
                  <a:pt x="96" y="233"/>
                </a:cubicBezTo>
                <a:cubicBezTo>
                  <a:pt x="96" y="226"/>
                  <a:pt x="90" y="220"/>
                  <a:pt x="82" y="220"/>
                </a:cubicBezTo>
                <a:cubicBezTo>
                  <a:pt x="75" y="220"/>
                  <a:pt x="69" y="226"/>
                  <a:pt x="69" y="233"/>
                </a:cubicBezTo>
                <a:cubicBezTo>
                  <a:pt x="69" y="287"/>
                  <a:pt x="61" y="311"/>
                  <a:pt x="57" y="319"/>
                </a:cubicBezTo>
                <a:cubicBezTo>
                  <a:pt x="39" y="319"/>
                  <a:pt x="39" y="319"/>
                  <a:pt x="39" y="319"/>
                </a:cubicBezTo>
                <a:cubicBezTo>
                  <a:pt x="38" y="317"/>
                  <a:pt x="37" y="314"/>
                  <a:pt x="36" y="310"/>
                </a:cubicBezTo>
                <a:cubicBezTo>
                  <a:pt x="32" y="297"/>
                  <a:pt x="27" y="274"/>
                  <a:pt x="27" y="233"/>
                </a:cubicBezTo>
                <a:cubicBezTo>
                  <a:pt x="27" y="179"/>
                  <a:pt x="35" y="156"/>
                  <a:pt x="39" y="147"/>
                </a:cubicBezTo>
                <a:cubicBezTo>
                  <a:pt x="57" y="147"/>
                  <a:pt x="57" y="147"/>
                  <a:pt x="57" y="147"/>
                </a:cubicBezTo>
                <a:cubicBezTo>
                  <a:pt x="58" y="150"/>
                  <a:pt x="60" y="155"/>
                  <a:pt x="62" y="163"/>
                </a:cubicBezTo>
                <a:cubicBezTo>
                  <a:pt x="63" y="169"/>
                  <a:pt x="69" y="174"/>
                  <a:pt x="75" y="174"/>
                </a:cubicBezTo>
                <a:cubicBezTo>
                  <a:pt x="136" y="174"/>
                  <a:pt x="136" y="174"/>
                  <a:pt x="136" y="174"/>
                </a:cubicBezTo>
                <a:cubicBezTo>
                  <a:pt x="136" y="174"/>
                  <a:pt x="136" y="174"/>
                  <a:pt x="136" y="174"/>
                </a:cubicBezTo>
                <a:cubicBezTo>
                  <a:pt x="137" y="174"/>
                  <a:pt x="137" y="174"/>
                  <a:pt x="137" y="174"/>
                </a:cubicBezTo>
                <a:cubicBezTo>
                  <a:pt x="140" y="174"/>
                  <a:pt x="142" y="173"/>
                  <a:pt x="145" y="171"/>
                </a:cubicBezTo>
                <a:cubicBezTo>
                  <a:pt x="145" y="171"/>
                  <a:pt x="145" y="171"/>
                  <a:pt x="145" y="171"/>
                </a:cubicBezTo>
                <a:cubicBezTo>
                  <a:pt x="145" y="171"/>
                  <a:pt x="145" y="171"/>
                  <a:pt x="145" y="171"/>
                </a:cubicBezTo>
                <a:cubicBezTo>
                  <a:pt x="155" y="162"/>
                  <a:pt x="168" y="156"/>
                  <a:pt x="182" y="153"/>
                </a:cubicBezTo>
                <a:cubicBezTo>
                  <a:pt x="182" y="152"/>
                  <a:pt x="182" y="152"/>
                  <a:pt x="182" y="152"/>
                </a:cubicBezTo>
                <a:cubicBezTo>
                  <a:pt x="188" y="151"/>
                  <a:pt x="192" y="145"/>
                  <a:pt x="192" y="139"/>
                </a:cubicBezTo>
                <a:cubicBezTo>
                  <a:pt x="192" y="139"/>
                  <a:pt x="192" y="90"/>
                  <a:pt x="192" y="90"/>
                </a:cubicBezTo>
                <a:cubicBezTo>
                  <a:pt x="192" y="83"/>
                  <a:pt x="186" y="77"/>
                  <a:pt x="179" y="77"/>
                </a:cubicBezTo>
                <a:cubicBezTo>
                  <a:pt x="121" y="75"/>
                  <a:pt x="86" y="68"/>
                  <a:pt x="71" y="62"/>
                </a:cubicBezTo>
                <a:cubicBezTo>
                  <a:pt x="70" y="62"/>
                  <a:pt x="70" y="60"/>
                  <a:pt x="71" y="60"/>
                </a:cubicBezTo>
                <a:cubicBezTo>
                  <a:pt x="86" y="55"/>
                  <a:pt x="120" y="47"/>
                  <a:pt x="177" y="45"/>
                </a:cubicBezTo>
                <a:cubicBezTo>
                  <a:pt x="177" y="45"/>
                  <a:pt x="177" y="45"/>
                  <a:pt x="177" y="45"/>
                </a:cubicBezTo>
                <a:cubicBezTo>
                  <a:pt x="184" y="45"/>
                  <a:pt x="190" y="39"/>
                  <a:pt x="190" y="32"/>
                </a:cubicBezTo>
                <a:cubicBezTo>
                  <a:pt x="190" y="32"/>
                  <a:pt x="190" y="32"/>
                  <a:pt x="190" y="32"/>
                </a:cubicBezTo>
                <a:cubicBezTo>
                  <a:pt x="190" y="29"/>
                  <a:pt x="192" y="27"/>
                  <a:pt x="195" y="27"/>
                </a:cubicBezTo>
                <a:cubicBezTo>
                  <a:pt x="211" y="27"/>
                  <a:pt x="211" y="27"/>
                  <a:pt x="211" y="27"/>
                </a:cubicBezTo>
                <a:cubicBezTo>
                  <a:pt x="214" y="27"/>
                  <a:pt x="216" y="29"/>
                  <a:pt x="216" y="32"/>
                </a:cubicBezTo>
                <a:cubicBezTo>
                  <a:pt x="216" y="32"/>
                  <a:pt x="216" y="32"/>
                  <a:pt x="216" y="32"/>
                </a:cubicBezTo>
                <a:cubicBezTo>
                  <a:pt x="216" y="38"/>
                  <a:pt x="220" y="44"/>
                  <a:pt x="226" y="45"/>
                </a:cubicBezTo>
                <a:cubicBezTo>
                  <a:pt x="227" y="45"/>
                  <a:pt x="228" y="45"/>
                  <a:pt x="228" y="45"/>
                </a:cubicBezTo>
                <a:cubicBezTo>
                  <a:pt x="229" y="45"/>
                  <a:pt x="229" y="45"/>
                  <a:pt x="229" y="45"/>
                </a:cubicBezTo>
                <a:cubicBezTo>
                  <a:pt x="285" y="47"/>
                  <a:pt x="320" y="55"/>
                  <a:pt x="335" y="60"/>
                </a:cubicBezTo>
                <a:cubicBezTo>
                  <a:pt x="336" y="60"/>
                  <a:pt x="336" y="62"/>
                  <a:pt x="335" y="62"/>
                </a:cubicBezTo>
                <a:cubicBezTo>
                  <a:pt x="319" y="68"/>
                  <a:pt x="285" y="75"/>
                  <a:pt x="227" y="77"/>
                </a:cubicBezTo>
                <a:cubicBezTo>
                  <a:pt x="227" y="77"/>
                  <a:pt x="226" y="77"/>
                  <a:pt x="226" y="77"/>
                </a:cubicBezTo>
                <a:cubicBezTo>
                  <a:pt x="219" y="77"/>
                  <a:pt x="214" y="83"/>
                  <a:pt x="214" y="90"/>
                </a:cubicBezTo>
                <a:cubicBezTo>
                  <a:pt x="214" y="90"/>
                  <a:pt x="214" y="139"/>
                  <a:pt x="214" y="139"/>
                </a:cubicBezTo>
                <a:cubicBezTo>
                  <a:pt x="214" y="145"/>
                  <a:pt x="218" y="151"/>
                  <a:pt x="224" y="152"/>
                </a:cubicBezTo>
                <a:cubicBezTo>
                  <a:pt x="224" y="152"/>
                  <a:pt x="224" y="152"/>
                  <a:pt x="224" y="153"/>
                </a:cubicBezTo>
                <a:cubicBezTo>
                  <a:pt x="238" y="156"/>
                  <a:pt x="250" y="162"/>
                  <a:pt x="261" y="171"/>
                </a:cubicBezTo>
                <a:cubicBezTo>
                  <a:pt x="261" y="171"/>
                  <a:pt x="261" y="171"/>
                  <a:pt x="261" y="171"/>
                </a:cubicBezTo>
                <a:cubicBezTo>
                  <a:pt x="261" y="171"/>
                  <a:pt x="261" y="171"/>
                  <a:pt x="261" y="171"/>
                </a:cubicBezTo>
                <a:cubicBezTo>
                  <a:pt x="263" y="173"/>
                  <a:pt x="266" y="174"/>
                  <a:pt x="268" y="174"/>
                </a:cubicBezTo>
                <a:cubicBezTo>
                  <a:pt x="269" y="174"/>
                  <a:pt x="331" y="174"/>
                  <a:pt x="332" y="174"/>
                </a:cubicBezTo>
                <a:cubicBezTo>
                  <a:pt x="337" y="173"/>
                  <a:pt x="342" y="169"/>
                  <a:pt x="344" y="164"/>
                </a:cubicBezTo>
                <a:cubicBezTo>
                  <a:pt x="344" y="164"/>
                  <a:pt x="344" y="164"/>
                  <a:pt x="344" y="164"/>
                </a:cubicBezTo>
                <a:cubicBezTo>
                  <a:pt x="346" y="156"/>
                  <a:pt x="348" y="151"/>
                  <a:pt x="349" y="147"/>
                </a:cubicBezTo>
                <a:cubicBezTo>
                  <a:pt x="366" y="147"/>
                  <a:pt x="366" y="147"/>
                  <a:pt x="366" y="147"/>
                </a:cubicBezTo>
                <a:cubicBezTo>
                  <a:pt x="371" y="156"/>
                  <a:pt x="379" y="179"/>
                  <a:pt x="379" y="233"/>
                </a:cubicBezTo>
                <a:cubicBezTo>
                  <a:pt x="379" y="287"/>
                  <a:pt x="371" y="311"/>
                  <a:pt x="366" y="319"/>
                </a:cubicBezTo>
                <a:cubicBezTo>
                  <a:pt x="349" y="319"/>
                  <a:pt x="349" y="319"/>
                  <a:pt x="349" y="319"/>
                </a:cubicBezTo>
                <a:cubicBezTo>
                  <a:pt x="348" y="316"/>
                  <a:pt x="346" y="311"/>
                  <a:pt x="344" y="303"/>
                </a:cubicBezTo>
                <a:cubicBezTo>
                  <a:pt x="344" y="303"/>
                  <a:pt x="344" y="303"/>
                  <a:pt x="344" y="302"/>
                </a:cubicBezTo>
                <a:cubicBezTo>
                  <a:pt x="342" y="297"/>
                  <a:pt x="337" y="293"/>
                  <a:pt x="331" y="293"/>
                </a:cubicBezTo>
                <a:cubicBezTo>
                  <a:pt x="331" y="293"/>
                  <a:pt x="331" y="293"/>
                  <a:pt x="331" y="293"/>
                </a:cubicBezTo>
                <a:cubicBezTo>
                  <a:pt x="123" y="293"/>
                  <a:pt x="123" y="293"/>
                  <a:pt x="123" y="293"/>
                </a:cubicBezTo>
                <a:cubicBezTo>
                  <a:pt x="116" y="293"/>
                  <a:pt x="110" y="299"/>
                  <a:pt x="110" y="306"/>
                </a:cubicBezTo>
                <a:cubicBezTo>
                  <a:pt x="110" y="314"/>
                  <a:pt x="116" y="320"/>
                  <a:pt x="123" y="320"/>
                </a:cubicBezTo>
                <a:cubicBezTo>
                  <a:pt x="320" y="320"/>
                  <a:pt x="320" y="320"/>
                  <a:pt x="320" y="320"/>
                </a:cubicBezTo>
                <a:cubicBezTo>
                  <a:pt x="325" y="334"/>
                  <a:pt x="331" y="341"/>
                  <a:pt x="333" y="343"/>
                </a:cubicBezTo>
                <a:cubicBezTo>
                  <a:pt x="333" y="343"/>
                  <a:pt x="333" y="343"/>
                  <a:pt x="333" y="343"/>
                </a:cubicBezTo>
                <a:cubicBezTo>
                  <a:pt x="336" y="345"/>
                  <a:pt x="339" y="346"/>
                  <a:pt x="342" y="346"/>
                </a:cubicBezTo>
                <a:cubicBezTo>
                  <a:pt x="374" y="346"/>
                  <a:pt x="374" y="346"/>
                  <a:pt x="374" y="346"/>
                </a:cubicBezTo>
                <a:cubicBezTo>
                  <a:pt x="377" y="346"/>
                  <a:pt x="380" y="345"/>
                  <a:pt x="383" y="343"/>
                </a:cubicBezTo>
                <a:cubicBezTo>
                  <a:pt x="386" y="339"/>
                  <a:pt x="406" y="318"/>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24" name="Freeform 632"/>
          <p:cNvSpPr>
            <a:spLocks/>
          </p:cNvSpPr>
          <p:nvPr userDrawn="1"/>
        </p:nvSpPr>
        <p:spPr bwMode="auto">
          <a:xfrm>
            <a:off x="6630002" y="1874803"/>
            <a:ext cx="211986" cy="213122"/>
          </a:xfrm>
          <a:custGeom>
            <a:avLst/>
            <a:gdLst/>
            <a:ahLst/>
            <a:cxnLst>
              <a:cxn ang="0">
                <a:pos x="112" y="242"/>
              </a:cxn>
              <a:cxn ang="0">
                <a:pos x="103" y="214"/>
              </a:cxn>
              <a:cxn ang="0">
                <a:pos x="103" y="214"/>
              </a:cxn>
              <a:cxn ang="0">
                <a:pos x="103" y="214"/>
              </a:cxn>
              <a:cxn ang="0">
                <a:pos x="98" y="138"/>
              </a:cxn>
              <a:cxn ang="0">
                <a:pos x="91" y="141"/>
              </a:cxn>
              <a:cxn ang="0">
                <a:pos x="82" y="142"/>
              </a:cxn>
              <a:cxn ang="0">
                <a:pos x="64" y="136"/>
              </a:cxn>
              <a:cxn ang="0">
                <a:pos x="52" y="118"/>
              </a:cxn>
              <a:cxn ang="0">
                <a:pos x="51" y="110"/>
              </a:cxn>
              <a:cxn ang="0">
                <a:pos x="69" y="80"/>
              </a:cxn>
              <a:cxn ang="0">
                <a:pos x="69" y="80"/>
              </a:cxn>
              <a:cxn ang="0">
                <a:pos x="134" y="45"/>
              </a:cxn>
              <a:cxn ang="0">
                <a:pos x="135" y="45"/>
              </a:cxn>
              <a:cxn ang="0">
                <a:pos x="144" y="43"/>
              </a:cxn>
              <a:cxn ang="0">
                <a:pos x="166" y="53"/>
              </a:cxn>
              <a:cxn ang="0">
                <a:pos x="174" y="76"/>
              </a:cxn>
              <a:cxn ang="0">
                <a:pos x="174" y="195"/>
              </a:cxn>
              <a:cxn ang="0">
                <a:pos x="164" y="205"/>
              </a:cxn>
              <a:cxn ang="0">
                <a:pos x="155" y="195"/>
              </a:cxn>
              <a:cxn ang="0">
                <a:pos x="155" y="76"/>
              </a:cxn>
              <a:cxn ang="0">
                <a:pos x="152" y="65"/>
              </a:cxn>
              <a:cxn ang="0">
                <a:pos x="144" y="62"/>
              </a:cxn>
              <a:cxn ang="0">
                <a:pos x="139" y="63"/>
              </a:cxn>
              <a:cxn ang="0">
                <a:pos x="117" y="73"/>
              </a:cxn>
              <a:cxn ang="0">
                <a:pos x="117" y="73"/>
              </a:cxn>
              <a:cxn ang="0">
                <a:pos x="78" y="96"/>
              </a:cxn>
              <a:cxn ang="0">
                <a:pos x="70" y="110"/>
              </a:cxn>
              <a:cxn ang="0">
                <a:pos x="70" y="114"/>
              </a:cxn>
              <a:cxn ang="0">
                <a:pos x="75" y="121"/>
              </a:cxn>
              <a:cxn ang="0">
                <a:pos x="82" y="124"/>
              </a:cxn>
              <a:cxn ang="0">
                <a:pos x="86" y="123"/>
              </a:cxn>
              <a:cxn ang="0">
                <a:pos x="90" y="122"/>
              </a:cxn>
              <a:cxn ang="0">
                <a:pos x="122" y="214"/>
              </a:cxn>
              <a:cxn ang="0">
                <a:pos x="122" y="214"/>
              </a:cxn>
              <a:cxn ang="0">
                <a:pos x="125" y="228"/>
              </a:cxn>
              <a:cxn ang="0">
                <a:pos x="130" y="232"/>
              </a:cxn>
              <a:cxn ang="0">
                <a:pos x="136" y="233"/>
              </a:cxn>
              <a:cxn ang="0">
                <a:pos x="141" y="233"/>
              </a:cxn>
              <a:cxn ang="0">
                <a:pos x="141" y="233"/>
              </a:cxn>
              <a:cxn ang="0">
                <a:pos x="207" y="199"/>
              </a:cxn>
              <a:cxn ang="0">
                <a:pos x="232" y="127"/>
              </a:cxn>
              <a:cxn ang="0">
                <a:pos x="203" y="49"/>
              </a:cxn>
              <a:cxn ang="0">
                <a:pos x="126" y="19"/>
              </a:cxn>
              <a:cxn ang="0">
                <a:pos x="48" y="49"/>
              </a:cxn>
              <a:cxn ang="0">
                <a:pos x="19" y="126"/>
              </a:cxn>
              <a:cxn ang="0">
                <a:pos x="77" y="224"/>
              </a:cxn>
              <a:cxn ang="0">
                <a:pos x="82" y="236"/>
              </a:cxn>
              <a:cxn ang="0">
                <a:pos x="69" y="241"/>
              </a:cxn>
              <a:cxn ang="0">
                <a:pos x="0" y="126"/>
              </a:cxn>
              <a:cxn ang="0">
                <a:pos x="35" y="36"/>
              </a:cxn>
              <a:cxn ang="0">
                <a:pos x="126" y="0"/>
              </a:cxn>
              <a:cxn ang="0">
                <a:pos x="216" y="36"/>
              </a:cxn>
              <a:cxn ang="0">
                <a:pos x="251" y="127"/>
              </a:cxn>
              <a:cxn ang="0">
                <a:pos x="221" y="211"/>
              </a:cxn>
              <a:cxn ang="0">
                <a:pos x="144" y="251"/>
              </a:cxn>
              <a:cxn ang="0">
                <a:pos x="143" y="251"/>
              </a:cxn>
              <a:cxn ang="0">
                <a:pos x="136" y="252"/>
              </a:cxn>
              <a:cxn ang="0">
                <a:pos x="123" y="250"/>
              </a:cxn>
            </a:cxnLst>
            <a:rect l="0" t="0" r="r" b="b"/>
            <a:pathLst>
              <a:path w="251" h="252">
                <a:moveTo>
                  <a:pt x="123" y="250"/>
                </a:moveTo>
                <a:cubicBezTo>
                  <a:pt x="119" y="248"/>
                  <a:pt x="115" y="246"/>
                  <a:pt x="112" y="242"/>
                </a:cubicBezTo>
                <a:cubicBezTo>
                  <a:pt x="112" y="242"/>
                  <a:pt x="112" y="242"/>
                  <a:pt x="112" y="242"/>
                </a:cubicBezTo>
                <a:cubicBezTo>
                  <a:pt x="106" y="235"/>
                  <a:pt x="103" y="226"/>
                  <a:pt x="103" y="214"/>
                </a:cubicBezTo>
                <a:cubicBezTo>
                  <a:pt x="103" y="214"/>
                  <a:pt x="103" y="214"/>
                  <a:pt x="103" y="214"/>
                </a:cubicBezTo>
                <a:cubicBezTo>
                  <a:pt x="103" y="214"/>
                  <a:pt x="103" y="214"/>
                  <a:pt x="103" y="214"/>
                </a:cubicBezTo>
                <a:cubicBezTo>
                  <a:pt x="103" y="214"/>
                  <a:pt x="103" y="214"/>
                  <a:pt x="103" y="214"/>
                </a:cubicBezTo>
                <a:cubicBezTo>
                  <a:pt x="103" y="214"/>
                  <a:pt x="103" y="214"/>
                  <a:pt x="103" y="214"/>
                </a:cubicBezTo>
                <a:cubicBezTo>
                  <a:pt x="103" y="135"/>
                  <a:pt x="103" y="135"/>
                  <a:pt x="103" y="135"/>
                </a:cubicBezTo>
                <a:cubicBezTo>
                  <a:pt x="98" y="138"/>
                  <a:pt x="98" y="138"/>
                  <a:pt x="98" y="138"/>
                </a:cubicBezTo>
                <a:cubicBezTo>
                  <a:pt x="98" y="138"/>
                  <a:pt x="98" y="138"/>
                  <a:pt x="98" y="138"/>
                </a:cubicBezTo>
                <a:cubicBezTo>
                  <a:pt x="96" y="139"/>
                  <a:pt x="94" y="140"/>
                  <a:pt x="91" y="141"/>
                </a:cubicBezTo>
                <a:cubicBezTo>
                  <a:pt x="91" y="141"/>
                  <a:pt x="91" y="141"/>
                  <a:pt x="91" y="141"/>
                </a:cubicBezTo>
                <a:cubicBezTo>
                  <a:pt x="88" y="142"/>
                  <a:pt x="85" y="142"/>
                  <a:pt x="82" y="142"/>
                </a:cubicBezTo>
                <a:cubicBezTo>
                  <a:pt x="82" y="142"/>
                  <a:pt x="82" y="142"/>
                  <a:pt x="82" y="142"/>
                </a:cubicBezTo>
                <a:cubicBezTo>
                  <a:pt x="76" y="142"/>
                  <a:pt x="69" y="140"/>
                  <a:pt x="64" y="136"/>
                </a:cubicBezTo>
                <a:cubicBezTo>
                  <a:pt x="64" y="136"/>
                  <a:pt x="64" y="136"/>
                  <a:pt x="64" y="136"/>
                </a:cubicBezTo>
                <a:cubicBezTo>
                  <a:pt x="59" y="132"/>
                  <a:pt x="54" y="126"/>
                  <a:pt x="52" y="118"/>
                </a:cubicBezTo>
                <a:cubicBezTo>
                  <a:pt x="52" y="118"/>
                  <a:pt x="52" y="118"/>
                  <a:pt x="52" y="118"/>
                </a:cubicBezTo>
                <a:cubicBezTo>
                  <a:pt x="52" y="116"/>
                  <a:pt x="51" y="113"/>
                  <a:pt x="51" y="110"/>
                </a:cubicBezTo>
                <a:cubicBezTo>
                  <a:pt x="51" y="110"/>
                  <a:pt x="51" y="110"/>
                  <a:pt x="51" y="110"/>
                </a:cubicBezTo>
                <a:cubicBezTo>
                  <a:pt x="51" y="98"/>
                  <a:pt x="57" y="86"/>
                  <a:pt x="69" y="80"/>
                </a:cubicBezTo>
                <a:cubicBezTo>
                  <a:pt x="69" y="80"/>
                  <a:pt x="69" y="80"/>
                  <a:pt x="69" y="80"/>
                </a:cubicBezTo>
                <a:cubicBezTo>
                  <a:pt x="69" y="80"/>
                  <a:pt x="69" y="80"/>
                  <a:pt x="69" y="80"/>
                </a:cubicBezTo>
                <a:cubicBezTo>
                  <a:pt x="107" y="57"/>
                  <a:pt x="107" y="57"/>
                  <a:pt x="107" y="57"/>
                </a:cubicBezTo>
                <a:cubicBezTo>
                  <a:pt x="117" y="51"/>
                  <a:pt x="126" y="47"/>
                  <a:pt x="134" y="45"/>
                </a:cubicBezTo>
                <a:cubicBezTo>
                  <a:pt x="134" y="45"/>
                  <a:pt x="134" y="45"/>
                  <a:pt x="134" y="45"/>
                </a:cubicBezTo>
                <a:cubicBezTo>
                  <a:pt x="135" y="45"/>
                  <a:pt x="135" y="45"/>
                  <a:pt x="135" y="45"/>
                </a:cubicBezTo>
                <a:cubicBezTo>
                  <a:pt x="138" y="44"/>
                  <a:pt x="141" y="43"/>
                  <a:pt x="144" y="43"/>
                </a:cubicBezTo>
                <a:cubicBezTo>
                  <a:pt x="144" y="43"/>
                  <a:pt x="144" y="43"/>
                  <a:pt x="144" y="43"/>
                </a:cubicBezTo>
                <a:cubicBezTo>
                  <a:pt x="153" y="43"/>
                  <a:pt x="161" y="47"/>
                  <a:pt x="166" y="53"/>
                </a:cubicBezTo>
                <a:cubicBezTo>
                  <a:pt x="166" y="53"/>
                  <a:pt x="166" y="53"/>
                  <a:pt x="166" y="53"/>
                </a:cubicBezTo>
                <a:cubicBezTo>
                  <a:pt x="171" y="59"/>
                  <a:pt x="174" y="67"/>
                  <a:pt x="174" y="76"/>
                </a:cubicBezTo>
                <a:cubicBezTo>
                  <a:pt x="174" y="76"/>
                  <a:pt x="174" y="76"/>
                  <a:pt x="174" y="76"/>
                </a:cubicBezTo>
                <a:cubicBezTo>
                  <a:pt x="174" y="76"/>
                  <a:pt x="174" y="76"/>
                  <a:pt x="174" y="76"/>
                </a:cubicBezTo>
                <a:cubicBezTo>
                  <a:pt x="174" y="195"/>
                  <a:pt x="174" y="195"/>
                  <a:pt x="174" y="195"/>
                </a:cubicBezTo>
                <a:cubicBezTo>
                  <a:pt x="174" y="200"/>
                  <a:pt x="170" y="205"/>
                  <a:pt x="164" y="205"/>
                </a:cubicBezTo>
                <a:cubicBezTo>
                  <a:pt x="164" y="205"/>
                  <a:pt x="164" y="205"/>
                  <a:pt x="164" y="205"/>
                </a:cubicBezTo>
                <a:cubicBezTo>
                  <a:pt x="159" y="205"/>
                  <a:pt x="155" y="200"/>
                  <a:pt x="155" y="195"/>
                </a:cubicBezTo>
                <a:cubicBezTo>
                  <a:pt x="155" y="195"/>
                  <a:pt x="155" y="195"/>
                  <a:pt x="155" y="195"/>
                </a:cubicBezTo>
                <a:cubicBezTo>
                  <a:pt x="155" y="76"/>
                  <a:pt x="155" y="76"/>
                  <a:pt x="155" y="76"/>
                </a:cubicBezTo>
                <a:cubicBezTo>
                  <a:pt x="155" y="76"/>
                  <a:pt x="155" y="76"/>
                  <a:pt x="155" y="76"/>
                </a:cubicBezTo>
                <a:cubicBezTo>
                  <a:pt x="155" y="71"/>
                  <a:pt x="153" y="67"/>
                  <a:pt x="152" y="65"/>
                </a:cubicBezTo>
                <a:cubicBezTo>
                  <a:pt x="152" y="65"/>
                  <a:pt x="152" y="65"/>
                  <a:pt x="152" y="65"/>
                </a:cubicBezTo>
                <a:cubicBezTo>
                  <a:pt x="150" y="63"/>
                  <a:pt x="148" y="62"/>
                  <a:pt x="144" y="62"/>
                </a:cubicBezTo>
                <a:cubicBezTo>
                  <a:pt x="144" y="62"/>
                  <a:pt x="144" y="62"/>
                  <a:pt x="144" y="62"/>
                </a:cubicBezTo>
                <a:cubicBezTo>
                  <a:pt x="143" y="62"/>
                  <a:pt x="141" y="62"/>
                  <a:pt x="139" y="63"/>
                </a:cubicBezTo>
                <a:cubicBezTo>
                  <a:pt x="139" y="63"/>
                  <a:pt x="139" y="63"/>
                  <a:pt x="139" y="63"/>
                </a:cubicBezTo>
                <a:cubicBezTo>
                  <a:pt x="139" y="63"/>
                  <a:pt x="139" y="63"/>
                  <a:pt x="139" y="63"/>
                </a:cubicBezTo>
                <a:cubicBezTo>
                  <a:pt x="133" y="64"/>
                  <a:pt x="126" y="68"/>
                  <a:pt x="117" y="73"/>
                </a:cubicBezTo>
                <a:cubicBezTo>
                  <a:pt x="117" y="73"/>
                  <a:pt x="117" y="73"/>
                  <a:pt x="117" y="73"/>
                </a:cubicBezTo>
                <a:cubicBezTo>
                  <a:pt x="117" y="73"/>
                  <a:pt x="117" y="73"/>
                  <a:pt x="117" y="73"/>
                </a:cubicBezTo>
                <a:cubicBezTo>
                  <a:pt x="78" y="96"/>
                  <a:pt x="78" y="96"/>
                  <a:pt x="78" y="96"/>
                </a:cubicBezTo>
                <a:cubicBezTo>
                  <a:pt x="78" y="96"/>
                  <a:pt x="78" y="96"/>
                  <a:pt x="78" y="96"/>
                </a:cubicBezTo>
                <a:cubicBezTo>
                  <a:pt x="73" y="99"/>
                  <a:pt x="70" y="104"/>
                  <a:pt x="70" y="110"/>
                </a:cubicBezTo>
                <a:cubicBezTo>
                  <a:pt x="70" y="110"/>
                  <a:pt x="70" y="110"/>
                  <a:pt x="70" y="110"/>
                </a:cubicBezTo>
                <a:cubicBezTo>
                  <a:pt x="70" y="111"/>
                  <a:pt x="70" y="112"/>
                  <a:pt x="70" y="114"/>
                </a:cubicBezTo>
                <a:cubicBezTo>
                  <a:pt x="70" y="114"/>
                  <a:pt x="70" y="114"/>
                  <a:pt x="70" y="114"/>
                </a:cubicBezTo>
                <a:cubicBezTo>
                  <a:pt x="72" y="118"/>
                  <a:pt x="73" y="120"/>
                  <a:pt x="75" y="121"/>
                </a:cubicBezTo>
                <a:cubicBezTo>
                  <a:pt x="75" y="121"/>
                  <a:pt x="75" y="121"/>
                  <a:pt x="75" y="121"/>
                </a:cubicBezTo>
                <a:cubicBezTo>
                  <a:pt x="77" y="123"/>
                  <a:pt x="79" y="124"/>
                  <a:pt x="82" y="124"/>
                </a:cubicBezTo>
                <a:cubicBezTo>
                  <a:pt x="82" y="124"/>
                  <a:pt x="82" y="124"/>
                  <a:pt x="82" y="124"/>
                </a:cubicBezTo>
                <a:cubicBezTo>
                  <a:pt x="83" y="124"/>
                  <a:pt x="85" y="124"/>
                  <a:pt x="86" y="123"/>
                </a:cubicBezTo>
                <a:cubicBezTo>
                  <a:pt x="86" y="123"/>
                  <a:pt x="86" y="123"/>
                  <a:pt x="86" y="123"/>
                </a:cubicBezTo>
                <a:cubicBezTo>
                  <a:pt x="86" y="123"/>
                  <a:pt x="88" y="122"/>
                  <a:pt x="90" y="122"/>
                </a:cubicBezTo>
                <a:cubicBezTo>
                  <a:pt x="90" y="122"/>
                  <a:pt x="90" y="122"/>
                  <a:pt x="90" y="122"/>
                </a:cubicBezTo>
                <a:cubicBezTo>
                  <a:pt x="122" y="104"/>
                  <a:pt x="122" y="104"/>
                  <a:pt x="122" y="104"/>
                </a:cubicBezTo>
                <a:cubicBezTo>
                  <a:pt x="122" y="214"/>
                  <a:pt x="122" y="214"/>
                  <a:pt x="122" y="214"/>
                </a:cubicBezTo>
                <a:cubicBezTo>
                  <a:pt x="122" y="214"/>
                  <a:pt x="122" y="214"/>
                  <a:pt x="122" y="214"/>
                </a:cubicBezTo>
                <a:cubicBezTo>
                  <a:pt x="122" y="214"/>
                  <a:pt x="122" y="214"/>
                  <a:pt x="122" y="214"/>
                </a:cubicBezTo>
                <a:cubicBezTo>
                  <a:pt x="122" y="221"/>
                  <a:pt x="123" y="225"/>
                  <a:pt x="125" y="228"/>
                </a:cubicBezTo>
                <a:cubicBezTo>
                  <a:pt x="125" y="228"/>
                  <a:pt x="125" y="228"/>
                  <a:pt x="125" y="228"/>
                </a:cubicBezTo>
                <a:cubicBezTo>
                  <a:pt x="126" y="230"/>
                  <a:pt x="127" y="231"/>
                  <a:pt x="130" y="232"/>
                </a:cubicBezTo>
                <a:cubicBezTo>
                  <a:pt x="130" y="232"/>
                  <a:pt x="130" y="232"/>
                  <a:pt x="130" y="232"/>
                </a:cubicBezTo>
                <a:cubicBezTo>
                  <a:pt x="131" y="233"/>
                  <a:pt x="133" y="233"/>
                  <a:pt x="136" y="233"/>
                </a:cubicBezTo>
                <a:cubicBezTo>
                  <a:pt x="136" y="233"/>
                  <a:pt x="136" y="233"/>
                  <a:pt x="136" y="233"/>
                </a:cubicBezTo>
                <a:cubicBezTo>
                  <a:pt x="138" y="233"/>
                  <a:pt x="139" y="233"/>
                  <a:pt x="141" y="233"/>
                </a:cubicBezTo>
                <a:cubicBezTo>
                  <a:pt x="141" y="233"/>
                  <a:pt x="141" y="233"/>
                  <a:pt x="141" y="233"/>
                </a:cubicBezTo>
                <a:cubicBezTo>
                  <a:pt x="141" y="233"/>
                  <a:pt x="141" y="233"/>
                  <a:pt x="141" y="233"/>
                </a:cubicBezTo>
                <a:cubicBezTo>
                  <a:pt x="141" y="233"/>
                  <a:pt x="141" y="233"/>
                  <a:pt x="141" y="233"/>
                </a:cubicBezTo>
                <a:cubicBezTo>
                  <a:pt x="169" y="229"/>
                  <a:pt x="191" y="217"/>
                  <a:pt x="207" y="199"/>
                </a:cubicBezTo>
                <a:cubicBezTo>
                  <a:pt x="207" y="199"/>
                  <a:pt x="207" y="199"/>
                  <a:pt x="207" y="199"/>
                </a:cubicBezTo>
                <a:cubicBezTo>
                  <a:pt x="223" y="181"/>
                  <a:pt x="232" y="156"/>
                  <a:pt x="232" y="127"/>
                </a:cubicBezTo>
                <a:cubicBezTo>
                  <a:pt x="232" y="127"/>
                  <a:pt x="232" y="127"/>
                  <a:pt x="232" y="127"/>
                </a:cubicBezTo>
                <a:cubicBezTo>
                  <a:pt x="232" y="95"/>
                  <a:pt x="221" y="68"/>
                  <a:pt x="203" y="49"/>
                </a:cubicBezTo>
                <a:cubicBezTo>
                  <a:pt x="203" y="49"/>
                  <a:pt x="203" y="49"/>
                  <a:pt x="203" y="49"/>
                </a:cubicBezTo>
                <a:cubicBezTo>
                  <a:pt x="184" y="30"/>
                  <a:pt x="158" y="19"/>
                  <a:pt x="126" y="19"/>
                </a:cubicBezTo>
                <a:cubicBezTo>
                  <a:pt x="126" y="19"/>
                  <a:pt x="126" y="19"/>
                  <a:pt x="126" y="19"/>
                </a:cubicBezTo>
                <a:cubicBezTo>
                  <a:pt x="94" y="19"/>
                  <a:pt x="67" y="30"/>
                  <a:pt x="48" y="49"/>
                </a:cubicBezTo>
                <a:cubicBezTo>
                  <a:pt x="48" y="49"/>
                  <a:pt x="48" y="49"/>
                  <a:pt x="48" y="49"/>
                </a:cubicBezTo>
                <a:cubicBezTo>
                  <a:pt x="30" y="68"/>
                  <a:pt x="19" y="94"/>
                  <a:pt x="19" y="126"/>
                </a:cubicBezTo>
                <a:cubicBezTo>
                  <a:pt x="19" y="126"/>
                  <a:pt x="19" y="126"/>
                  <a:pt x="19" y="126"/>
                </a:cubicBezTo>
                <a:cubicBezTo>
                  <a:pt x="19" y="172"/>
                  <a:pt x="41" y="207"/>
                  <a:pt x="77" y="224"/>
                </a:cubicBezTo>
                <a:cubicBezTo>
                  <a:pt x="77" y="224"/>
                  <a:pt x="77" y="224"/>
                  <a:pt x="77" y="224"/>
                </a:cubicBezTo>
                <a:cubicBezTo>
                  <a:pt x="77" y="224"/>
                  <a:pt x="77" y="224"/>
                  <a:pt x="77" y="224"/>
                </a:cubicBezTo>
                <a:cubicBezTo>
                  <a:pt x="82" y="226"/>
                  <a:pt x="84" y="231"/>
                  <a:pt x="82" y="236"/>
                </a:cubicBezTo>
                <a:cubicBezTo>
                  <a:pt x="82" y="236"/>
                  <a:pt x="82" y="236"/>
                  <a:pt x="82" y="236"/>
                </a:cubicBezTo>
                <a:cubicBezTo>
                  <a:pt x="80" y="241"/>
                  <a:pt x="74" y="243"/>
                  <a:pt x="69" y="241"/>
                </a:cubicBezTo>
                <a:cubicBezTo>
                  <a:pt x="69" y="241"/>
                  <a:pt x="69" y="241"/>
                  <a:pt x="69" y="241"/>
                </a:cubicBezTo>
                <a:cubicBezTo>
                  <a:pt x="27" y="221"/>
                  <a:pt x="0" y="178"/>
                  <a:pt x="0" y="126"/>
                </a:cubicBezTo>
                <a:cubicBezTo>
                  <a:pt x="0" y="126"/>
                  <a:pt x="0" y="126"/>
                  <a:pt x="0" y="126"/>
                </a:cubicBezTo>
                <a:cubicBezTo>
                  <a:pt x="0" y="90"/>
                  <a:pt x="13" y="58"/>
                  <a:pt x="35" y="36"/>
                </a:cubicBezTo>
                <a:cubicBezTo>
                  <a:pt x="35" y="36"/>
                  <a:pt x="35" y="36"/>
                  <a:pt x="35" y="36"/>
                </a:cubicBezTo>
                <a:cubicBezTo>
                  <a:pt x="58" y="13"/>
                  <a:pt x="89" y="0"/>
                  <a:pt x="126" y="0"/>
                </a:cubicBezTo>
                <a:cubicBezTo>
                  <a:pt x="126" y="0"/>
                  <a:pt x="126" y="0"/>
                  <a:pt x="126" y="0"/>
                </a:cubicBezTo>
                <a:cubicBezTo>
                  <a:pt x="162" y="0"/>
                  <a:pt x="194" y="14"/>
                  <a:pt x="216" y="36"/>
                </a:cubicBezTo>
                <a:cubicBezTo>
                  <a:pt x="216" y="36"/>
                  <a:pt x="216" y="36"/>
                  <a:pt x="216" y="36"/>
                </a:cubicBezTo>
                <a:cubicBezTo>
                  <a:pt x="238" y="59"/>
                  <a:pt x="251" y="91"/>
                  <a:pt x="251" y="127"/>
                </a:cubicBezTo>
                <a:cubicBezTo>
                  <a:pt x="251" y="127"/>
                  <a:pt x="251" y="127"/>
                  <a:pt x="251" y="127"/>
                </a:cubicBezTo>
                <a:cubicBezTo>
                  <a:pt x="251" y="160"/>
                  <a:pt x="240" y="189"/>
                  <a:pt x="221" y="211"/>
                </a:cubicBezTo>
                <a:cubicBezTo>
                  <a:pt x="221" y="211"/>
                  <a:pt x="221" y="211"/>
                  <a:pt x="221" y="211"/>
                </a:cubicBezTo>
                <a:cubicBezTo>
                  <a:pt x="202" y="233"/>
                  <a:pt x="175" y="247"/>
                  <a:pt x="144" y="251"/>
                </a:cubicBezTo>
                <a:cubicBezTo>
                  <a:pt x="144" y="251"/>
                  <a:pt x="144" y="251"/>
                  <a:pt x="144" y="251"/>
                </a:cubicBezTo>
                <a:cubicBezTo>
                  <a:pt x="143" y="251"/>
                  <a:pt x="143" y="251"/>
                  <a:pt x="143" y="251"/>
                </a:cubicBezTo>
                <a:cubicBezTo>
                  <a:pt x="143" y="251"/>
                  <a:pt x="143" y="251"/>
                  <a:pt x="143" y="251"/>
                </a:cubicBezTo>
                <a:cubicBezTo>
                  <a:pt x="141" y="252"/>
                  <a:pt x="138" y="252"/>
                  <a:pt x="136" y="252"/>
                </a:cubicBezTo>
                <a:cubicBezTo>
                  <a:pt x="136" y="252"/>
                  <a:pt x="136" y="252"/>
                  <a:pt x="136" y="252"/>
                </a:cubicBezTo>
                <a:cubicBezTo>
                  <a:pt x="132" y="252"/>
                  <a:pt x="127" y="251"/>
                  <a:pt x="123" y="25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25" name="Freeform 640"/>
          <p:cNvSpPr>
            <a:spLocks noEditPoints="1"/>
          </p:cNvSpPr>
          <p:nvPr userDrawn="1"/>
        </p:nvSpPr>
        <p:spPr bwMode="auto">
          <a:xfrm>
            <a:off x="6630596" y="1363790"/>
            <a:ext cx="210796" cy="278606"/>
          </a:xfrm>
          <a:custGeom>
            <a:avLst/>
            <a:gdLst/>
            <a:ahLst/>
            <a:cxnLst>
              <a:cxn ang="0">
                <a:pos x="247" y="39"/>
              </a:cxn>
              <a:cxn ang="0">
                <a:pos x="236" y="28"/>
              </a:cxn>
              <a:cxn ang="0">
                <a:pos x="223" y="35"/>
              </a:cxn>
              <a:cxn ang="0">
                <a:pos x="223" y="35"/>
              </a:cxn>
              <a:cxn ang="0">
                <a:pos x="222" y="36"/>
              </a:cxn>
              <a:cxn ang="0">
                <a:pos x="125" y="53"/>
              </a:cxn>
              <a:cxn ang="0">
                <a:pos x="29" y="39"/>
              </a:cxn>
              <a:cxn ang="0">
                <a:pos x="123" y="25"/>
              </a:cxn>
              <a:cxn ang="0">
                <a:pos x="136" y="12"/>
              </a:cxn>
              <a:cxn ang="0">
                <a:pos x="123" y="0"/>
              </a:cxn>
              <a:cxn ang="0">
                <a:pos x="42" y="8"/>
              </a:cxn>
              <a:cxn ang="0">
                <a:pos x="0" y="39"/>
              </a:cxn>
              <a:cxn ang="0">
                <a:pos x="42" y="70"/>
              </a:cxn>
              <a:cxn ang="0">
                <a:pos x="125" y="78"/>
              </a:cxn>
              <a:cxn ang="0">
                <a:pos x="219" y="66"/>
              </a:cxn>
              <a:cxn ang="0">
                <a:pos x="213" y="126"/>
              </a:cxn>
              <a:cxn ang="0">
                <a:pos x="197" y="121"/>
              </a:cxn>
              <a:cxn ang="0">
                <a:pos x="123" y="113"/>
              </a:cxn>
              <a:cxn ang="0">
                <a:pos x="50" y="121"/>
              </a:cxn>
              <a:cxn ang="0">
                <a:pos x="34" y="126"/>
              </a:cxn>
              <a:cxn ang="0">
                <a:pos x="32" y="106"/>
              </a:cxn>
              <a:cxn ang="0">
                <a:pos x="18" y="94"/>
              </a:cxn>
              <a:cxn ang="0">
                <a:pos x="7" y="108"/>
              </a:cxn>
              <a:cxn ang="0">
                <a:pos x="22" y="291"/>
              </a:cxn>
              <a:cxn ang="0">
                <a:pos x="123" y="329"/>
              </a:cxn>
              <a:cxn ang="0">
                <a:pos x="223" y="291"/>
              </a:cxn>
              <a:cxn ang="0">
                <a:pos x="247" y="42"/>
              </a:cxn>
              <a:cxn ang="0">
                <a:pos x="247" y="39"/>
              </a:cxn>
              <a:cxn ang="0">
                <a:pos x="123" y="139"/>
              </a:cxn>
              <a:cxn ang="0">
                <a:pos x="206" y="151"/>
              </a:cxn>
              <a:cxn ang="0">
                <a:pos x="124" y="163"/>
              </a:cxn>
              <a:cxn ang="0">
                <a:pos x="41" y="150"/>
              </a:cxn>
              <a:cxn ang="0">
                <a:pos x="123" y="139"/>
              </a:cxn>
              <a:cxn ang="0">
                <a:pos x="123" y="304"/>
              </a:cxn>
              <a:cxn ang="0">
                <a:pos x="47" y="289"/>
              </a:cxn>
              <a:cxn ang="0">
                <a:pos x="38" y="177"/>
              </a:cxn>
              <a:cxn ang="0">
                <a:pos x="124" y="188"/>
              </a:cxn>
              <a:cxn ang="0">
                <a:pos x="209" y="177"/>
              </a:cxn>
              <a:cxn ang="0">
                <a:pos x="198" y="289"/>
              </a:cxn>
              <a:cxn ang="0">
                <a:pos x="123" y="304"/>
              </a:cxn>
            </a:cxnLst>
            <a:rect l="0" t="0" r="r" b="b"/>
            <a:pathLst>
              <a:path w="247" h="329">
                <a:moveTo>
                  <a:pt x="247" y="39"/>
                </a:moveTo>
                <a:cubicBezTo>
                  <a:pt x="246" y="33"/>
                  <a:pt x="242" y="28"/>
                  <a:pt x="236" y="28"/>
                </a:cubicBezTo>
                <a:cubicBezTo>
                  <a:pt x="230" y="27"/>
                  <a:pt x="225" y="30"/>
                  <a:pt x="223" y="35"/>
                </a:cubicBezTo>
                <a:cubicBezTo>
                  <a:pt x="223" y="35"/>
                  <a:pt x="223" y="35"/>
                  <a:pt x="223" y="35"/>
                </a:cubicBezTo>
                <a:cubicBezTo>
                  <a:pt x="222" y="36"/>
                  <a:pt x="222" y="36"/>
                  <a:pt x="222" y="36"/>
                </a:cubicBezTo>
                <a:cubicBezTo>
                  <a:pt x="216" y="42"/>
                  <a:pt x="182" y="53"/>
                  <a:pt x="125" y="53"/>
                </a:cubicBezTo>
                <a:cubicBezTo>
                  <a:pt x="76" y="53"/>
                  <a:pt x="41" y="45"/>
                  <a:pt x="29" y="39"/>
                </a:cubicBezTo>
                <a:cubicBezTo>
                  <a:pt x="40" y="33"/>
                  <a:pt x="73" y="25"/>
                  <a:pt x="123" y="25"/>
                </a:cubicBezTo>
                <a:cubicBezTo>
                  <a:pt x="130" y="25"/>
                  <a:pt x="136" y="19"/>
                  <a:pt x="136" y="12"/>
                </a:cubicBezTo>
                <a:cubicBezTo>
                  <a:pt x="136" y="5"/>
                  <a:pt x="130" y="0"/>
                  <a:pt x="123" y="0"/>
                </a:cubicBezTo>
                <a:cubicBezTo>
                  <a:pt x="93" y="0"/>
                  <a:pt x="64" y="3"/>
                  <a:pt x="42" y="8"/>
                </a:cubicBezTo>
                <a:cubicBezTo>
                  <a:pt x="31" y="10"/>
                  <a:pt x="0" y="18"/>
                  <a:pt x="0" y="39"/>
                </a:cubicBezTo>
                <a:cubicBezTo>
                  <a:pt x="0" y="60"/>
                  <a:pt x="32" y="67"/>
                  <a:pt x="42" y="70"/>
                </a:cubicBezTo>
                <a:cubicBezTo>
                  <a:pt x="65" y="75"/>
                  <a:pt x="94" y="78"/>
                  <a:pt x="125" y="78"/>
                </a:cubicBezTo>
                <a:cubicBezTo>
                  <a:pt x="138" y="78"/>
                  <a:pt x="187" y="77"/>
                  <a:pt x="219" y="66"/>
                </a:cubicBezTo>
                <a:cubicBezTo>
                  <a:pt x="218" y="82"/>
                  <a:pt x="216" y="103"/>
                  <a:pt x="213" y="126"/>
                </a:cubicBezTo>
                <a:cubicBezTo>
                  <a:pt x="207" y="123"/>
                  <a:pt x="200" y="122"/>
                  <a:pt x="197" y="121"/>
                </a:cubicBezTo>
                <a:cubicBezTo>
                  <a:pt x="177" y="116"/>
                  <a:pt x="151" y="113"/>
                  <a:pt x="123" y="113"/>
                </a:cubicBezTo>
                <a:cubicBezTo>
                  <a:pt x="96" y="113"/>
                  <a:pt x="70" y="116"/>
                  <a:pt x="50" y="121"/>
                </a:cubicBezTo>
                <a:cubicBezTo>
                  <a:pt x="47" y="122"/>
                  <a:pt x="40" y="123"/>
                  <a:pt x="34" y="126"/>
                </a:cubicBezTo>
                <a:cubicBezTo>
                  <a:pt x="33" y="114"/>
                  <a:pt x="32" y="106"/>
                  <a:pt x="32" y="106"/>
                </a:cubicBezTo>
                <a:cubicBezTo>
                  <a:pt x="31" y="99"/>
                  <a:pt x="25" y="94"/>
                  <a:pt x="18" y="94"/>
                </a:cubicBezTo>
                <a:cubicBezTo>
                  <a:pt x="11" y="95"/>
                  <a:pt x="6" y="101"/>
                  <a:pt x="7" y="108"/>
                </a:cubicBezTo>
                <a:cubicBezTo>
                  <a:pt x="22" y="291"/>
                  <a:pt x="22" y="291"/>
                  <a:pt x="22" y="291"/>
                </a:cubicBezTo>
                <a:cubicBezTo>
                  <a:pt x="23" y="319"/>
                  <a:pt x="77" y="329"/>
                  <a:pt x="123" y="329"/>
                </a:cubicBezTo>
                <a:cubicBezTo>
                  <a:pt x="168" y="329"/>
                  <a:pt x="222" y="319"/>
                  <a:pt x="223" y="291"/>
                </a:cubicBezTo>
                <a:cubicBezTo>
                  <a:pt x="247" y="42"/>
                  <a:pt x="247" y="42"/>
                  <a:pt x="247" y="42"/>
                </a:cubicBezTo>
                <a:cubicBezTo>
                  <a:pt x="247" y="41"/>
                  <a:pt x="247" y="40"/>
                  <a:pt x="247" y="39"/>
                </a:cubicBezTo>
                <a:close/>
                <a:moveTo>
                  <a:pt x="123" y="139"/>
                </a:moveTo>
                <a:cubicBezTo>
                  <a:pt x="166" y="139"/>
                  <a:pt x="195" y="145"/>
                  <a:pt x="206" y="151"/>
                </a:cubicBezTo>
                <a:cubicBezTo>
                  <a:pt x="195" y="156"/>
                  <a:pt x="167" y="163"/>
                  <a:pt x="124" y="163"/>
                </a:cubicBezTo>
                <a:cubicBezTo>
                  <a:pt x="81" y="163"/>
                  <a:pt x="52" y="156"/>
                  <a:pt x="41" y="150"/>
                </a:cubicBezTo>
                <a:cubicBezTo>
                  <a:pt x="52" y="145"/>
                  <a:pt x="81" y="139"/>
                  <a:pt x="123" y="139"/>
                </a:cubicBezTo>
                <a:close/>
                <a:moveTo>
                  <a:pt x="123" y="304"/>
                </a:moveTo>
                <a:cubicBezTo>
                  <a:pt x="77" y="304"/>
                  <a:pt x="51" y="293"/>
                  <a:pt x="47" y="289"/>
                </a:cubicBezTo>
                <a:cubicBezTo>
                  <a:pt x="47" y="288"/>
                  <a:pt x="42" y="228"/>
                  <a:pt x="38" y="177"/>
                </a:cubicBezTo>
                <a:cubicBezTo>
                  <a:pt x="67" y="187"/>
                  <a:pt x="112" y="188"/>
                  <a:pt x="124" y="188"/>
                </a:cubicBezTo>
                <a:cubicBezTo>
                  <a:pt x="136" y="188"/>
                  <a:pt x="180" y="187"/>
                  <a:pt x="209" y="177"/>
                </a:cubicBezTo>
                <a:cubicBezTo>
                  <a:pt x="203" y="235"/>
                  <a:pt x="198" y="288"/>
                  <a:pt x="198" y="289"/>
                </a:cubicBezTo>
                <a:cubicBezTo>
                  <a:pt x="194" y="293"/>
                  <a:pt x="168" y="304"/>
                  <a:pt x="123" y="30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grpSp>
        <p:nvGrpSpPr>
          <p:cNvPr id="82" name="Group 413"/>
          <p:cNvGrpSpPr>
            <a:grpSpLocks noChangeAspect="1"/>
          </p:cNvGrpSpPr>
          <p:nvPr userDrawn="1"/>
        </p:nvGrpSpPr>
        <p:grpSpPr bwMode="auto">
          <a:xfrm>
            <a:off x="7016427" y="3382781"/>
            <a:ext cx="342989" cy="226219"/>
            <a:chOff x="4193" y="3192"/>
            <a:chExt cx="288" cy="190"/>
          </a:xfrm>
          <a:noFill/>
        </p:grpSpPr>
        <p:sp>
          <p:nvSpPr>
            <p:cNvPr id="127"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Line 415"/>
            <p:cNvSpPr>
              <a:spLocks noChangeShapeType="1"/>
            </p:cNvSpPr>
            <p:nvPr/>
          </p:nvSpPr>
          <p:spPr bwMode="auto">
            <a:xfrm flipH="1" flipV="1">
              <a:off x="4232" y="3235"/>
              <a:ext cx="20" cy="19"/>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Line 416"/>
            <p:cNvSpPr>
              <a:spLocks noChangeShapeType="1"/>
            </p:cNvSpPr>
            <p:nvPr/>
          </p:nvSpPr>
          <p:spPr bwMode="auto">
            <a:xfrm flipV="1">
              <a:off x="4335" y="3192"/>
              <a:ext cx="1" cy="28"/>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Line 417"/>
            <p:cNvSpPr>
              <a:spLocks noChangeShapeType="1"/>
            </p:cNvSpPr>
            <p:nvPr/>
          </p:nvSpPr>
          <p:spPr bwMode="auto">
            <a:xfrm flipV="1">
              <a:off x="4424" y="3235"/>
              <a:ext cx="17" cy="21"/>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31" name="Freeform 513"/>
          <p:cNvSpPr>
            <a:spLocks/>
          </p:cNvSpPr>
          <p:nvPr userDrawn="1"/>
        </p:nvSpPr>
        <p:spPr bwMode="auto">
          <a:xfrm>
            <a:off x="6997967" y="1836106"/>
            <a:ext cx="379908" cy="290513"/>
          </a:xfrm>
          <a:custGeom>
            <a:avLst/>
            <a:gdLst/>
            <a:ahLst/>
            <a:cxnLst>
              <a:cxn ang="0">
                <a:pos x="14" y="0"/>
              </a:cxn>
              <a:cxn ang="0">
                <a:pos x="2" y="8"/>
              </a:cxn>
              <a:cxn ang="0">
                <a:pos x="4" y="22"/>
              </a:cxn>
              <a:cxn ang="0">
                <a:pos x="101" y="331"/>
              </a:cxn>
              <a:cxn ang="0">
                <a:pos x="116" y="342"/>
              </a:cxn>
              <a:cxn ang="0">
                <a:pos x="128" y="329"/>
              </a:cxn>
              <a:cxn ang="0">
                <a:pos x="127" y="327"/>
              </a:cxn>
              <a:cxn ang="0">
                <a:pos x="40" y="27"/>
              </a:cxn>
              <a:cxn ang="0">
                <a:pos x="101" y="27"/>
              </a:cxn>
              <a:cxn ang="0">
                <a:pos x="174" y="184"/>
              </a:cxn>
              <a:cxn ang="0">
                <a:pos x="182" y="194"/>
              </a:cxn>
              <a:cxn ang="0">
                <a:pos x="194" y="193"/>
              </a:cxn>
              <a:cxn ang="0">
                <a:pos x="370" y="168"/>
              </a:cxn>
              <a:cxn ang="0">
                <a:pos x="401" y="264"/>
              </a:cxn>
              <a:cxn ang="0">
                <a:pos x="397" y="316"/>
              </a:cxn>
              <a:cxn ang="0">
                <a:pos x="362" y="316"/>
              </a:cxn>
              <a:cxn ang="0">
                <a:pos x="362" y="273"/>
              </a:cxn>
              <a:cxn ang="0">
                <a:pos x="349" y="259"/>
              </a:cxn>
              <a:cxn ang="0">
                <a:pos x="164" y="259"/>
              </a:cxn>
              <a:cxn ang="0">
                <a:pos x="150" y="273"/>
              </a:cxn>
              <a:cxn ang="0">
                <a:pos x="164" y="286"/>
              </a:cxn>
              <a:cxn ang="0">
                <a:pos x="335" y="286"/>
              </a:cxn>
              <a:cxn ang="0">
                <a:pos x="335" y="329"/>
              </a:cxn>
              <a:cxn ang="0">
                <a:pos x="349" y="342"/>
              </a:cxn>
              <a:cxn ang="0">
                <a:pos x="408" y="342"/>
              </a:cxn>
              <a:cxn ang="0">
                <a:pos x="421" y="332"/>
              </a:cxn>
              <a:cxn ang="0">
                <a:pos x="388" y="148"/>
              </a:cxn>
              <a:cxn ang="0">
                <a:pos x="258" y="138"/>
              </a:cxn>
              <a:cxn ang="0">
                <a:pos x="196" y="162"/>
              </a:cxn>
              <a:cxn ang="0">
                <a:pos x="115" y="4"/>
              </a:cxn>
              <a:cxn ang="0">
                <a:pos x="106" y="0"/>
              </a:cxn>
              <a:cxn ang="0">
                <a:pos x="14" y="0"/>
              </a:cxn>
            </a:cxnLst>
            <a:rect l="0" t="0" r="r" b="b"/>
            <a:pathLst>
              <a:path w="449" h="343">
                <a:moveTo>
                  <a:pt x="14" y="0"/>
                </a:moveTo>
                <a:cubicBezTo>
                  <a:pt x="9" y="0"/>
                  <a:pt x="4" y="3"/>
                  <a:pt x="2" y="8"/>
                </a:cubicBezTo>
                <a:cubicBezTo>
                  <a:pt x="0" y="13"/>
                  <a:pt x="1" y="18"/>
                  <a:pt x="4" y="22"/>
                </a:cubicBezTo>
                <a:cubicBezTo>
                  <a:pt x="69" y="98"/>
                  <a:pt x="101" y="328"/>
                  <a:pt x="101" y="331"/>
                </a:cubicBezTo>
                <a:cubicBezTo>
                  <a:pt x="102" y="338"/>
                  <a:pt x="109" y="343"/>
                  <a:pt x="116" y="342"/>
                </a:cubicBezTo>
                <a:cubicBezTo>
                  <a:pt x="123" y="341"/>
                  <a:pt x="128" y="336"/>
                  <a:pt x="128" y="329"/>
                </a:cubicBezTo>
                <a:cubicBezTo>
                  <a:pt x="128" y="328"/>
                  <a:pt x="128" y="328"/>
                  <a:pt x="127" y="327"/>
                </a:cubicBezTo>
                <a:cubicBezTo>
                  <a:pt x="126" y="318"/>
                  <a:pt x="100" y="122"/>
                  <a:pt x="40" y="27"/>
                </a:cubicBezTo>
                <a:cubicBezTo>
                  <a:pt x="65" y="27"/>
                  <a:pt x="94" y="27"/>
                  <a:pt x="101" y="27"/>
                </a:cubicBezTo>
                <a:cubicBezTo>
                  <a:pt x="129" y="55"/>
                  <a:pt x="160" y="120"/>
                  <a:pt x="174" y="184"/>
                </a:cubicBezTo>
                <a:cubicBezTo>
                  <a:pt x="175" y="188"/>
                  <a:pt x="178" y="192"/>
                  <a:pt x="182" y="194"/>
                </a:cubicBezTo>
                <a:cubicBezTo>
                  <a:pt x="185" y="195"/>
                  <a:pt x="190" y="195"/>
                  <a:pt x="194" y="193"/>
                </a:cubicBezTo>
                <a:cubicBezTo>
                  <a:pt x="229" y="174"/>
                  <a:pt x="330" y="132"/>
                  <a:pt x="370" y="168"/>
                </a:cubicBezTo>
                <a:cubicBezTo>
                  <a:pt x="395" y="190"/>
                  <a:pt x="401" y="230"/>
                  <a:pt x="401" y="264"/>
                </a:cubicBezTo>
                <a:cubicBezTo>
                  <a:pt x="401" y="285"/>
                  <a:pt x="399" y="304"/>
                  <a:pt x="397" y="316"/>
                </a:cubicBezTo>
                <a:cubicBezTo>
                  <a:pt x="386" y="316"/>
                  <a:pt x="374" y="316"/>
                  <a:pt x="362" y="316"/>
                </a:cubicBezTo>
                <a:cubicBezTo>
                  <a:pt x="362" y="300"/>
                  <a:pt x="362" y="273"/>
                  <a:pt x="362" y="273"/>
                </a:cubicBezTo>
                <a:cubicBezTo>
                  <a:pt x="362" y="265"/>
                  <a:pt x="356" y="259"/>
                  <a:pt x="349" y="259"/>
                </a:cubicBezTo>
                <a:cubicBezTo>
                  <a:pt x="164" y="259"/>
                  <a:pt x="164" y="259"/>
                  <a:pt x="164" y="259"/>
                </a:cubicBezTo>
                <a:cubicBezTo>
                  <a:pt x="156" y="259"/>
                  <a:pt x="150" y="265"/>
                  <a:pt x="150" y="273"/>
                </a:cubicBezTo>
                <a:cubicBezTo>
                  <a:pt x="150" y="280"/>
                  <a:pt x="156" y="286"/>
                  <a:pt x="164" y="286"/>
                </a:cubicBezTo>
                <a:cubicBezTo>
                  <a:pt x="164" y="286"/>
                  <a:pt x="312" y="286"/>
                  <a:pt x="335" y="286"/>
                </a:cubicBezTo>
                <a:cubicBezTo>
                  <a:pt x="335" y="301"/>
                  <a:pt x="335" y="329"/>
                  <a:pt x="335" y="329"/>
                </a:cubicBezTo>
                <a:cubicBezTo>
                  <a:pt x="335" y="336"/>
                  <a:pt x="341" y="342"/>
                  <a:pt x="349" y="342"/>
                </a:cubicBezTo>
                <a:cubicBezTo>
                  <a:pt x="408" y="342"/>
                  <a:pt x="408" y="342"/>
                  <a:pt x="408" y="342"/>
                </a:cubicBezTo>
                <a:cubicBezTo>
                  <a:pt x="414" y="342"/>
                  <a:pt x="420" y="338"/>
                  <a:pt x="421" y="332"/>
                </a:cubicBezTo>
                <a:cubicBezTo>
                  <a:pt x="422" y="327"/>
                  <a:pt x="449" y="202"/>
                  <a:pt x="388" y="148"/>
                </a:cubicBezTo>
                <a:cubicBezTo>
                  <a:pt x="361" y="124"/>
                  <a:pt x="317" y="121"/>
                  <a:pt x="258" y="138"/>
                </a:cubicBezTo>
                <a:cubicBezTo>
                  <a:pt x="233" y="146"/>
                  <a:pt x="210" y="155"/>
                  <a:pt x="196" y="162"/>
                </a:cubicBezTo>
                <a:cubicBezTo>
                  <a:pt x="178" y="95"/>
                  <a:pt x="146" y="32"/>
                  <a:pt x="115" y="4"/>
                </a:cubicBezTo>
                <a:cubicBezTo>
                  <a:pt x="113" y="1"/>
                  <a:pt x="109" y="0"/>
                  <a:pt x="106" y="0"/>
                </a:cubicBezTo>
                <a:lnTo>
                  <a:pt x="14"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32" name="Freeform 517"/>
          <p:cNvSpPr>
            <a:spLocks noEditPoints="1"/>
          </p:cNvSpPr>
          <p:nvPr userDrawn="1"/>
        </p:nvSpPr>
        <p:spPr bwMode="auto">
          <a:xfrm>
            <a:off x="7070614" y="887315"/>
            <a:ext cx="234615" cy="358379"/>
          </a:xfrm>
          <a:custGeom>
            <a:avLst/>
            <a:gdLst/>
            <a:ahLst/>
            <a:cxnLst>
              <a:cxn ang="0">
                <a:pos x="141" y="1"/>
              </a:cxn>
              <a:cxn ang="0">
                <a:pos x="9" y="49"/>
              </a:cxn>
              <a:cxn ang="0">
                <a:pos x="0" y="62"/>
              </a:cxn>
              <a:cxn ang="0">
                <a:pos x="0" y="202"/>
              </a:cxn>
              <a:cxn ang="0">
                <a:pos x="9" y="214"/>
              </a:cxn>
              <a:cxn ang="0">
                <a:pos x="117" y="272"/>
              </a:cxn>
              <a:cxn ang="0">
                <a:pos x="117" y="387"/>
              </a:cxn>
              <a:cxn ang="0">
                <a:pos x="26" y="339"/>
              </a:cxn>
              <a:cxn ang="0">
                <a:pos x="26" y="266"/>
              </a:cxn>
              <a:cxn ang="0">
                <a:pos x="13" y="253"/>
              </a:cxn>
              <a:cxn ang="0">
                <a:pos x="0" y="266"/>
              </a:cxn>
              <a:cxn ang="0">
                <a:pos x="0" y="347"/>
              </a:cxn>
              <a:cxn ang="0">
                <a:pos x="7" y="359"/>
              </a:cxn>
              <a:cxn ang="0">
                <a:pos x="125" y="421"/>
              </a:cxn>
              <a:cxn ang="0">
                <a:pos x="138" y="420"/>
              </a:cxn>
              <a:cxn ang="0">
                <a:pos x="144" y="409"/>
              </a:cxn>
              <a:cxn ang="0">
                <a:pos x="144" y="264"/>
              </a:cxn>
              <a:cxn ang="0">
                <a:pos x="137" y="252"/>
              </a:cxn>
              <a:cxn ang="0">
                <a:pos x="26" y="194"/>
              </a:cxn>
              <a:cxn ang="0">
                <a:pos x="26" y="71"/>
              </a:cxn>
              <a:cxn ang="0">
                <a:pos x="132" y="33"/>
              </a:cxn>
              <a:cxn ang="0">
                <a:pos x="132" y="154"/>
              </a:cxn>
              <a:cxn ang="0">
                <a:pos x="139" y="165"/>
              </a:cxn>
              <a:cxn ang="0">
                <a:pos x="250" y="224"/>
              </a:cxn>
              <a:cxn ang="0">
                <a:pos x="250" y="342"/>
              </a:cxn>
              <a:cxn ang="0">
                <a:pos x="264" y="355"/>
              </a:cxn>
              <a:cxn ang="0">
                <a:pos x="277" y="342"/>
              </a:cxn>
              <a:cxn ang="0">
                <a:pos x="277" y="216"/>
              </a:cxn>
              <a:cxn ang="0">
                <a:pos x="272" y="206"/>
              </a:cxn>
              <a:cxn ang="0">
                <a:pos x="268" y="203"/>
              </a:cxn>
              <a:cxn ang="0">
                <a:pos x="159" y="146"/>
              </a:cxn>
              <a:cxn ang="0">
                <a:pos x="159" y="14"/>
              </a:cxn>
              <a:cxn ang="0">
                <a:pos x="153" y="3"/>
              </a:cxn>
              <a:cxn ang="0">
                <a:pos x="141" y="1"/>
              </a:cxn>
              <a:cxn ang="0">
                <a:pos x="261" y="229"/>
              </a:cxn>
              <a:cxn ang="0">
                <a:pos x="262" y="229"/>
              </a:cxn>
              <a:cxn ang="0">
                <a:pos x="261" y="229"/>
              </a:cxn>
            </a:cxnLst>
            <a:rect l="0" t="0" r="r" b="b"/>
            <a:pathLst>
              <a:path w="277" h="423">
                <a:moveTo>
                  <a:pt x="141" y="1"/>
                </a:moveTo>
                <a:cubicBezTo>
                  <a:pt x="9" y="49"/>
                  <a:pt x="9" y="49"/>
                  <a:pt x="9" y="49"/>
                </a:cubicBezTo>
                <a:cubicBezTo>
                  <a:pt x="3" y="51"/>
                  <a:pt x="0" y="56"/>
                  <a:pt x="0" y="62"/>
                </a:cubicBezTo>
                <a:cubicBezTo>
                  <a:pt x="0" y="202"/>
                  <a:pt x="0" y="202"/>
                  <a:pt x="0" y="202"/>
                </a:cubicBezTo>
                <a:cubicBezTo>
                  <a:pt x="0" y="208"/>
                  <a:pt x="4" y="212"/>
                  <a:pt x="9" y="214"/>
                </a:cubicBezTo>
                <a:cubicBezTo>
                  <a:pt x="12" y="216"/>
                  <a:pt x="105" y="265"/>
                  <a:pt x="117" y="272"/>
                </a:cubicBezTo>
                <a:cubicBezTo>
                  <a:pt x="117" y="284"/>
                  <a:pt x="117" y="357"/>
                  <a:pt x="117" y="387"/>
                </a:cubicBezTo>
                <a:cubicBezTo>
                  <a:pt x="92" y="374"/>
                  <a:pt x="37" y="345"/>
                  <a:pt x="26" y="339"/>
                </a:cubicBezTo>
                <a:cubicBezTo>
                  <a:pt x="26" y="326"/>
                  <a:pt x="26" y="266"/>
                  <a:pt x="26" y="266"/>
                </a:cubicBezTo>
                <a:cubicBezTo>
                  <a:pt x="26" y="259"/>
                  <a:pt x="20" y="253"/>
                  <a:pt x="13" y="253"/>
                </a:cubicBezTo>
                <a:cubicBezTo>
                  <a:pt x="6" y="253"/>
                  <a:pt x="0" y="259"/>
                  <a:pt x="0" y="266"/>
                </a:cubicBezTo>
                <a:cubicBezTo>
                  <a:pt x="0" y="347"/>
                  <a:pt x="0" y="347"/>
                  <a:pt x="0" y="347"/>
                </a:cubicBezTo>
                <a:cubicBezTo>
                  <a:pt x="0" y="352"/>
                  <a:pt x="3" y="357"/>
                  <a:pt x="7" y="359"/>
                </a:cubicBezTo>
                <a:cubicBezTo>
                  <a:pt x="125" y="421"/>
                  <a:pt x="125" y="421"/>
                  <a:pt x="125" y="421"/>
                </a:cubicBezTo>
                <a:cubicBezTo>
                  <a:pt x="129" y="423"/>
                  <a:pt x="134" y="423"/>
                  <a:pt x="138" y="420"/>
                </a:cubicBezTo>
                <a:cubicBezTo>
                  <a:pt x="142" y="418"/>
                  <a:pt x="144" y="413"/>
                  <a:pt x="144" y="409"/>
                </a:cubicBezTo>
                <a:cubicBezTo>
                  <a:pt x="144" y="264"/>
                  <a:pt x="144" y="264"/>
                  <a:pt x="144" y="264"/>
                </a:cubicBezTo>
                <a:cubicBezTo>
                  <a:pt x="144" y="259"/>
                  <a:pt x="141" y="254"/>
                  <a:pt x="137" y="252"/>
                </a:cubicBezTo>
                <a:cubicBezTo>
                  <a:pt x="137" y="252"/>
                  <a:pt x="39" y="200"/>
                  <a:pt x="26" y="194"/>
                </a:cubicBezTo>
                <a:cubicBezTo>
                  <a:pt x="26" y="180"/>
                  <a:pt x="26" y="86"/>
                  <a:pt x="26" y="71"/>
                </a:cubicBezTo>
                <a:cubicBezTo>
                  <a:pt x="40" y="66"/>
                  <a:pt x="108" y="42"/>
                  <a:pt x="132" y="33"/>
                </a:cubicBezTo>
                <a:cubicBezTo>
                  <a:pt x="132" y="61"/>
                  <a:pt x="132" y="154"/>
                  <a:pt x="132" y="154"/>
                </a:cubicBezTo>
                <a:cubicBezTo>
                  <a:pt x="132" y="159"/>
                  <a:pt x="135" y="163"/>
                  <a:pt x="139" y="165"/>
                </a:cubicBezTo>
                <a:cubicBezTo>
                  <a:pt x="139" y="165"/>
                  <a:pt x="238" y="217"/>
                  <a:pt x="250" y="224"/>
                </a:cubicBezTo>
                <a:cubicBezTo>
                  <a:pt x="250" y="238"/>
                  <a:pt x="250" y="342"/>
                  <a:pt x="250" y="342"/>
                </a:cubicBezTo>
                <a:cubicBezTo>
                  <a:pt x="250" y="349"/>
                  <a:pt x="256" y="355"/>
                  <a:pt x="264" y="355"/>
                </a:cubicBezTo>
                <a:cubicBezTo>
                  <a:pt x="271" y="355"/>
                  <a:pt x="277" y="349"/>
                  <a:pt x="277" y="342"/>
                </a:cubicBezTo>
                <a:cubicBezTo>
                  <a:pt x="277" y="216"/>
                  <a:pt x="277" y="216"/>
                  <a:pt x="277" y="216"/>
                </a:cubicBezTo>
                <a:cubicBezTo>
                  <a:pt x="277" y="212"/>
                  <a:pt x="275" y="208"/>
                  <a:pt x="272" y="206"/>
                </a:cubicBezTo>
                <a:cubicBezTo>
                  <a:pt x="271" y="205"/>
                  <a:pt x="270" y="204"/>
                  <a:pt x="268" y="203"/>
                </a:cubicBezTo>
                <a:cubicBezTo>
                  <a:pt x="265" y="202"/>
                  <a:pt x="171" y="152"/>
                  <a:pt x="159" y="146"/>
                </a:cubicBezTo>
                <a:cubicBezTo>
                  <a:pt x="159" y="131"/>
                  <a:pt x="159" y="14"/>
                  <a:pt x="159" y="14"/>
                </a:cubicBezTo>
                <a:cubicBezTo>
                  <a:pt x="159" y="10"/>
                  <a:pt x="157" y="6"/>
                  <a:pt x="153" y="3"/>
                </a:cubicBezTo>
                <a:cubicBezTo>
                  <a:pt x="150" y="1"/>
                  <a:pt x="145" y="0"/>
                  <a:pt x="141" y="1"/>
                </a:cubicBezTo>
                <a:close/>
                <a:moveTo>
                  <a:pt x="261" y="229"/>
                </a:moveTo>
                <a:cubicBezTo>
                  <a:pt x="261" y="229"/>
                  <a:pt x="261" y="229"/>
                  <a:pt x="262" y="229"/>
                </a:cubicBezTo>
                <a:cubicBezTo>
                  <a:pt x="261" y="229"/>
                  <a:pt x="261" y="229"/>
                  <a:pt x="261" y="229"/>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33" name="Freeform 564"/>
          <p:cNvSpPr>
            <a:spLocks/>
          </p:cNvSpPr>
          <p:nvPr userDrawn="1"/>
        </p:nvSpPr>
        <p:spPr bwMode="auto">
          <a:xfrm>
            <a:off x="7038459" y="3871470"/>
            <a:ext cx="298924" cy="241697"/>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34" name="Freeform 584"/>
          <p:cNvSpPr>
            <a:spLocks/>
          </p:cNvSpPr>
          <p:nvPr userDrawn="1"/>
        </p:nvSpPr>
        <p:spPr bwMode="auto">
          <a:xfrm>
            <a:off x="7051559" y="2761401"/>
            <a:ext cx="272725" cy="382190"/>
          </a:xfrm>
          <a:custGeom>
            <a:avLst/>
            <a:gdLst/>
            <a:ahLst/>
            <a:cxnLst>
              <a:cxn ang="0">
                <a:pos x="311" y="117"/>
              </a:cxn>
              <a:cxn ang="0">
                <a:pos x="246" y="130"/>
              </a:cxn>
              <a:cxn ang="0">
                <a:pos x="209" y="151"/>
              </a:cxn>
              <a:cxn ang="0">
                <a:pos x="153" y="195"/>
              </a:cxn>
              <a:cxn ang="0">
                <a:pos x="151" y="320"/>
              </a:cxn>
              <a:cxn ang="0">
                <a:pos x="116" y="286"/>
              </a:cxn>
              <a:cxn ang="0">
                <a:pos x="100" y="271"/>
              </a:cxn>
              <a:cxn ang="0">
                <a:pos x="132" y="192"/>
              </a:cxn>
              <a:cxn ang="0">
                <a:pos x="148" y="170"/>
              </a:cxn>
              <a:cxn ang="0">
                <a:pos x="66" y="131"/>
              </a:cxn>
              <a:cxn ang="0">
                <a:pos x="74" y="280"/>
              </a:cxn>
              <a:cxn ang="0">
                <a:pos x="88" y="295"/>
              </a:cxn>
              <a:cxn ang="0">
                <a:pos x="147" y="356"/>
              </a:cxn>
              <a:cxn ang="0">
                <a:pos x="154" y="364"/>
              </a:cxn>
              <a:cxn ang="0">
                <a:pos x="155" y="365"/>
              </a:cxn>
              <a:cxn ang="0">
                <a:pos x="156" y="366"/>
              </a:cxn>
              <a:cxn ang="0">
                <a:pos x="157" y="366"/>
              </a:cxn>
              <a:cxn ang="0">
                <a:pos x="159" y="367"/>
              </a:cxn>
              <a:cxn ang="0">
                <a:pos x="159" y="367"/>
              </a:cxn>
              <a:cxn ang="0">
                <a:pos x="161" y="368"/>
              </a:cxn>
              <a:cxn ang="0">
                <a:pos x="162" y="368"/>
              </a:cxn>
              <a:cxn ang="0">
                <a:pos x="163" y="368"/>
              </a:cxn>
              <a:cxn ang="0">
                <a:pos x="164" y="368"/>
              </a:cxn>
              <a:cxn ang="0">
                <a:pos x="167" y="368"/>
              </a:cxn>
              <a:cxn ang="0">
                <a:pos x="168" y="367"/>
              </a:cxn>
              <a:cxn ang="0">
                <a:pos x="169" y="367"/>
              </a:cxn>
              <a:cxn ang="0">
                <a:pos x="171" y="366"/>
              </a:cxn>
              <a:cxn ang="0">
                <a:pos x="172" y="365"/>
              </a:cxn>
              <a:cxn ang="0">
                <a:pos x="173" y="365"/>
              </a:cxn>
              <a:cxn ang="0">
                <a:pos x="174" y="364"/>
              </a:cxn>
              <a:cxn ang="0">
                <a:pos x="174" y="364"/>
              </a:cxn>
              <a:cxn ang="0">
                <a:pos x="217" y="317"/>
              </a:cxn>
              <a:cxn ang="0">
                <a:pos x="247" y="290"/>
              </a:cxn>
              <a:cxn ang="0">
                <a:pos x="263" y="187"/>
              </a:cxn>
              <a:cxn ang="0">
                <a:pos x="237" y="184"/>
              </a:cxn>
              <a:cxn ang="0">
                <a:pos x="223" y="275"/>
              </a:cxn>
              <a:cxn ang="0">
                <a:pos x="177" y="320"/>
              </a:cxn>
              <a:cxn ang="0">
                <a:pos x="194" y="193"/>
              </a:cxn>
              <a:cxn ang="0">
                <a:pos x="252" y="157"/>
              </a:cxn>
              <a:cxn ang="0">
                <a:pos x="258" y="154"/>
              </a:cxn>
              <a:cxn ang="0">
                <a:pos x="286" y="257"/>
              </a:cxn>
              <a:cxn ang="0">
                <a:pos x="182" y="423"/>
              </a:cxn>
              <a:cxn ang="0">
                <a:pos x="161" y="426"/>
              </a:cxn>
              <a:cxn ang="0">
                <a:pos x="114" y="404"/>
              </a:cxn>
              <a:cxn ang="0">
                <a:pos x="26" y="100"/>
              </a:cxn>
              <a:cxn ang="0">
                <a:pos x="27" y="81"/>
              </a:cxn>
              <a:cxn ang="0">
                <a:pos x="84" y="47"/>
              </a:cxn>
              <a:cxn ang="0">
                <a:pos x="162" y="27"/>
              </a:cxn>
              <a:cxn ang="0">
                <a:pos x="284" y="72"/>
              </a:cxn>
              <a:cxn ang="0">
                <a:pos x="299" y="83"/>
              </a:cxn>
              <a:cxn ang="0">
                <a:pos x="318" y="64"/>
              </a:cxn>
              <a:cxn ang="0">
                <a:pos x="251" y="23"/>
              </a:cxn>
              <a:cxn ang="0">
                <a:pos x="162" y="0"/>
              </a:cxn>
              <a:cxn ang="0">
                <a:pos x="25" y="50"/>
              </a:cxn>
              <a:cxn ang="0">
                <a:pos x="6" y="64"/>
              </a:cxn>
              <a:cxn ang="0">
                <a:pos x="1" y="76"/>
              </a:cxn>
              <a:cxn ang="0">
                <a:pos x="12" y="261"/>
              </a:cxn>
              <a:cxn ang="0">
                <a:pos x="132" y="447"/>
              </a:cxn>
              <a:cxn ang="0">
                <a:pos x="162" y="453"/>
              </a:cxn>
              <a:cxn ang="0">
                <a:pos x="162" y="453"/>
              </a:cxn>
              <a:cxn ang="0">
                <a:pos x="228" y="424"/>
              </a:cxn>
              <a:cxn ang="0">
                <a:pos x="324" y="130"/>
              </a:cxn>
            </a:cxnLst>
            <a:rect l="0" t="0" r="r" b="b"/>
            <a:pathLst>
              <a:path w="324" h="453">
                <a:moveTo>
                  <a:pt x="320" y="121"/>
                </a:moveTo>
                <a:cubicBezTo>
                  <a:pt x="317" y="118"/>
                  <a:pt x="314" y="117"/>
                  <a:pt x="311" y="117"/>
                </a:cubicBezTo>
                <a:cubicBezTo>
                  <a:pt x="309" y="116"/>
                  <a:pt x="308" y="116"/>
                  <a:pt x="306" y="116"/>
                </a:cubicBezTo>
                <a:cubicBezTo>
                  <a:pt x="288" y="116"/>
                  <a:pt x="265" y="121"/>
                  <a:pt x="246" y="130"/>
                </a:cubicBezTo>
                <a:cubicBezTo>
                  <a:pt x="246" y="130"/>
                  <a:pt x="246" y="130"/>
                  <a:pt x="246" y="130"/>
                </a:cubicBezTo>
                <a:cubicBezTo>
                  <a:pt x="246" y="130"/>
                  <a:pt x="229" y="139"/>
                  <a:pt x="209" y="151"/>
                </a:cubicBezTo>
                <a:cubicBezTo>
                  <a:pt x="199" y="157"/>
                  <a:pt x="188" y="164"/>
                  <a:pt x="178" y="171"/>
                </a:cubicBezTo>
                <a:cubicBezTo>
                  <a:pt x="168" y="179"/>
                  <a:pt x="159" y="187"/>
                  <a:pt x="153" y="195"/>
                </a:cubicBezTo>
                <a:cubicBezTo>
                  <a:pt x="151" y="198"/>
                  <a:pt x="151" y="200"/>
                  <a:pt x="151" y="203"/>
                </a:cubicBezTo>
                <a:cubicBezTo>
                  <a:pt x="151" y="320"/>
                  <a:pt x="151" y="320"/>
                  <a:pt x="151" y="320"/>
                </a:cubicBezTo>
                <a:cubicBezTo>
                  <a:pt x="148" y="318"/>
                  <a:pt x="145" y="315"/>
                  <a:pt x="142" y="312"/>
                </a:cubicBezTo>
                <a:cubicBezTo>
                  <a:pt x="134" y="303"/>
                  <a:pt x="125" y="293"/>
                  <a:pt x="116" y="286"/>
                </a:cubicBezTo>
                <a:cubicBezTo>
                  <a:pt x="112" y="282"/>
                  <a:pt x="108" y="278"/>
                  <a:pt x="105" y="275"/>
                </a:cubicBezTo>
                <a:cubicBezTo>
                  <a:pt x="103" y="274"/>
                  <a:pt x="102" y="272"/>
                  <a:pt x="100" y="271"/>
                </a:cubicBezTo>
                <a:cubicBezTo>
                  <a:pt x="89" y="165"/>
                  <a:pt x="89" y="165"/>
                  <a:pt x="89" y="165"/>
                </a:cubicBezTo>
                <a:cubicBezTo>
                  <a:pt x="102" y="172"/>
                  <a:pt x="118" y="182"/>
                  <a:pt x="132" y="192"/>
                </a:cubicBezTo>
                <a:cubicBezTo>
                  <a:pt x="138" y="196"/>
                  <a:pt x="146" y="195"/>
                  <a:pt x="151" y="189"/>
                </a:cubicBezTo>
                <a:cubicBezTo>
                  <a:pt x="155" y="183"/>
                  <a:pt x="154" y="174"/>
                  <a:pt x="148" y="170"/>
                </a:cubicBezTo>
                <a:cubicBezTo>
                  <a:pt x="118" y="148"/>
                  <a:pt x="79" y="130"/>
                  <a:pt x="79" y="130"/>
                </a:cubicBezTo>
                <a:cubicBezTo>
                  <a:pt x="75" y="128"/>
                  <a:pt x="70" y="129"/>
                  <a:pt x="66" y="131"/>
                </a:cubicBezTo>
                <a:cubicBezTo>
                  <a:pt x="62" y="134"/>
                  <a:pt x="60" y="139"/>
                  <a:pt x="60" y="144"/>
                </a:cubicBezTo>
                <a:cubicBezTo>
                  <a:pt x="74" y="280"/>
                  <a:pt x="74" y="280"/>
                  <a:pt x="74" y="280"/>
                </a:cubicBezTo>
                <a:cubicBezTo>
                  <a:pt x="75" y="284"/>
                  <a:pt x="77" y="288"/>
                  <a:pt x="81" y="290"/>
                </a:cubicBezTo>
                <a:cubicBezTo>
                  <a:pt x="82" y="291"/>
                  <a:pt x="84" y="293"/>
                  <a:pt x="88" y="295"/>
                </a:cubicBezTo>
                <a:cubicBezTo>
                  <a:pt x="98" y="304"/>
                  <a:pt x="115" y="322"/>
                  <a:pt x="129" y="337"/>
                </a:cubicBezTo>
                <a:cubicBezTo>
                  <a:pt x="136" y="344"/>
                  <a:pt x="142" y="351"/>
                  <a:pt x="147" y="356"/>
                </a:cubicBezTo>
                <a:cubicBezTo>
                  <a:pt x="151" y="361"/>
                  <a:pt x="154" y="364"/>
                  <a:pt x="154" y="364"/>
                </a:cubicBezTo>
                <a:cubicBezTo>
                  <a:pt x="154" y="364"/>
                  <a:pt x="154" y="364"/>
                  <a:pt x="154" y="364"/>
                </a:cubicBezTo>
                <a:cubicBezTo>
                  <a:pt x="154" y="364"/>
                  <a:pt x="155" y="364"/>
                  <a:pt x="155" y="365"/>
                </a:cubicBezTo>
                <a:cubicBezTo>
                  <a:pt x="155" y="365"/>
                  <a:pt x="155" y="365"/>
                  <a:pt x="155" y="365"/>
                </a:cubicBezTo>
                <a:cubicBezTo>
                  <a:pt x="155" y="365"/>
                  <a:pt x="156" y="365"/>
                  <a:pt x="156" y="365"/>
                </a:cubicBezTo>
                <a:cubicBezTo>
                  <a:pt x="156" y="365"/>
                  <a:pt x="156" y="366"/>
                  <a:pt x="156" y="366"/>
                </a:cubicBezTo>
                <a:cubicBezTo>
                  <a:pt x="156" y="366"/>
                  <a:pt x="157" y="366"/>
                  <a:pt x="157" y="366"/>
                </a:cubicBezTo>
                <a:cubicBezTo>
                  <a:pt x="157" y="366"/>
                  <a:pt x="157" y="366"/>
                  <a:pt x="157" y="366"/>
                </a:cubicBezTo>
                <a:cubicBezTo>
                  <a:pt x="158" y="367"/>
                  <a:pt x="158" y="367"/>
                  <a:pt x="158" y="367"/>
                </a:cubicBezTo>
                <a:cubicBezTo>
                  <a:pt x="158" y="367"/>
                  <a:pt x="159" y="367"/>
                  <a:pt x="159" y="367"/>
                </a:cubicBezTo>
                <a:cubicBezTo>
                  <a:pt x="159" y="367"/>
                  <a:pt x="159" y="367"/>
                  <a:pt x="159" y="367"/>
                </a:cubicBezTo>
                <a:cubicBezTo>
                  <a:pt x="159" y="367"/>
                  <a:pt x="159" y="367"/>
                  <a:pt x="159" y="367"/>
                </a:cubicBezTo>
                <a:cubicBezTo>
                  <a:pt x="160" y="367"/>
                  <a:pt x="160" y="367"/>
                  <a:pt x="160" y="367"/>
                </a:cubicBezTo>
                <a:cubicBezTo>
                  <a:pt x="160" y="368"/>
                  <a:pt x="161" y="368"/>
                  <a:pt x="161" y="368"/>
                </a:cubicBezTo>
                <a:cubicBezTo>
                  <a:pt x="161" y="368"/>
                  <a:pt x="161" y="368"/>
                  <a:pt x="161" y="368"/>
                </a:cubicBezTo>
                <a:cubicBezTo>
                  <a:pt x="162" y="368"/>
                  <a:pt x="162" y="368"/>
                  <a:pt x="162" y="368"/>
                </a:cubicBezTo>
                <a:cubicBezTo>
                  <a:pt x="162" y="368"/>
                  <a:pt x="163" y="368"/>
                  <a:pt x="163" y="368"/>
                </a:cubicBezTo>
                <a:cubicBezTo>
                  <a:pt x="163" y="368"/>
                  <a:pt x="163" y="368"/>
                  <a:pt x="163" y="368"/>
                </a:cubicBezTo>
                <a:cubicBezTo>
                  <a:pt x="164" y="368"/>
                  <a:pt x="164" y="368"/>
                  <a:pt x="164" y="368"/>
                </a:cubicBezTo>
                <a:cubicBezTo>
                  <a:pt x="164" y="368"/>
                  <a:pt x="164" y="368"/>
                  <a:pt x="164" y="368"/>
                </a:cubicBezTo>
                <a:cubicBezTo>
                  <a:pt x="164" y="368"/>
                  <a:pt x="164" y="368"/>
                  <a:pt x="164" y="368"/>
                </a:cubicBezTo>
                <a:cubicBezTo>
                  <a:pt x="165" y="368"/>
                  <a:pt x="166" y="368"/>
                  <a:pt x="167" y="368"/>
                </a:cubicBezTo>
                <a:cubicBezTo>
                  <a:pt x="167" y="368"/>
                  <a:pt x="167" y="368"/>
                  <a:pt x="167" y="368"/>
                </a:cubicBezTo>
                <a:cubicBezTo>
                  <a:pt x="167" y="368"/>
                  <a:pt x="168" y="368"/>
                  <a:pt x="168" y="367"/>
                </a:cubicBezTo>
                <a:cubicBezTo>
                  <a:pt x="168" y="367"/>
                  <a:pt x="168" y="367"/>
                  <a:pt x="168" y="367"/>
                </a:cubicBezTo>
                <a:cubicBezTo>
                  <a:pt x="168" y="367"/>
                  <a:pt x="169" y="367"/>
                  <a:pt x="169" y="367"/>
                </a:cubicBezTo>
                <a:cubicBezTo>
                  <a:pt x="169" y="367"/>
                  <a:pt x="169" y="367"/>
                  <a:pt x="169" y="367"/>
                </a:cubicBezTo>
                <a:cubicBezTo>
                  <a:pt x="170" y="367"/>
                  <a:pt x="170" y="366"/>
                  <a:pt x="171" y="366"/>
                </a:cubicBezTo>
                <a:cubicBezTo>
                  <a:pt x="171" y="366"/>
                  <a:pt x="171" y="366"/>
                  <a:pt x="172" y="366"/>
                </a:cubicBezTo>
                <a:cubicBezTo>
                  <a:pt x="172" y="365"/>
                  <a:pt x="172" y="365"/>
                  <a:pt x="172" y="365"/>
                </a:cubicBezTo>
                <a:cubicBezTo>
                  <a:pt x="172" y="365"/>
                  <a:pt x="172" y="365"/>
                  <a:pt x="173" y="365"/>
                </a:cubicBezTo>
                <a:cubicBezTo>
                  <a:pt x="173" y="365"/>
                  <a:pt x="173" y="365"/>
                  <a:pt x="173" y="365"/>
                </a:cubicBezTo>
                <a:cubicBezTo>
                  <a:pt x="173" y="365"/>
                  <a:pt x="173" y="365"/>
                  <a:pt x="173" y="365"/>
                </a:cubicBezTo>
                <a:cubicBezTo>
                  <a:pt x="173" y="364"/>
                  <a:pt x="173" y="364"/>
                  <a:pt x="174" y="364"/>
                </a:cubicBezTo>
                <a:cubicBezTo>
                  <a:pt x="174" y="364"/>
                  <a:pt x="174" y="364"/>
                  <a:pt x="174" y="364"/>
                </a:cubicBezTo>
                <a:cubicBezTo>
                  <a:pt x="174" y="364"/>
                  <a:pt x="174" y="364"/>
                  <a:pt x="174" y="364"/>
                </a:cubicBezTo>
                <a:cubicBezTo>
                  <a:pt x="174" y="364"/>
                  <a:pt x="177" y="360"/>
                  <a:pt x="183" y="353"/>
                </a:cubicBezTo>
                <a:cubicBezTo>
                  <a:pt x="192" y="344"/>
                  <a:pt x="205" y="330"/>
                  <a:pt x="217" y="317"/>
                </a:cubicBezTo>
                <a:cubicBezTo>
                  <a:pt x="224" y="311"/>
                  <a:pt x="230" y="304"/>
                  <a:pt x="235" y="300"/>
                </a:cubicBezTo>
                <a:cubicBezTo>
                  <a:pt x="240" y="295"/>
                  <a:pt x="245" y="291"/>
                  <a:pt x="247" y="290"/>
                </a:cubicBezTo>
                <a:cubicBezTo>
                  <a:pt x="251" y="288"/>
                  <a:pt x="253" y="284"/>
                  <a:pt x="253" y="280"/>
                </a:cubicBezTo>
                <a:cubicBezTo>
                  <a:pt x="263" y="187"/>
                  <a:pt x="263" y="187"/>
                  <a:pt x="263" y="187"/>
                </a:cubicBezTo>
                <a:cubicBezTo>
                  <a:pt x="264" y="179"/>
                  <a:pt x="258" y="173"/>
                  <a:pt x="251" y="172"/>
                </a:cubicBezTo>
                <a:cubicBezTo>
                  <a:pt x="244" y="171"/>
                  <a:pt x="237" y="177"/>
                  <a:pt x="237" y="184"/>
                </a:cubicBezTo>
                <a:cubicBezTo>
                  <a:pt x="227" y="271"/>
                  <a:pt x="227" y="271"/>
                  <a:pt x="227" y="271"/>
                </a:cubicBezTo>
                <a:cubicBezTo>
                  <a:pt x="226" y="272"/>
                  <a:pt x="224" y="274"/>
                  <a:pt x="223" y="275"/>
                </a:cubicBezTo>
                <a:cubicBezTo>
                  <a:pt x="210" y="286"/>
                  <a:pt x="193" y="303"/>
                  <a:pt x="179" y="318"/>
                </a:cubicBezTo>
                <a:cubicBezTo>
                  <a:pt x="179" y="319"/>
                  <a:pt x="178" y="320"/>
                  <a:pt x="177" y="320"/>
                </a:cubicBezTo>
                <a:cubicBezTo>
                  <a:pt x="177" y="208"/>
                  <a:pt x="177" y="208"/>
                  <a:pt x="177" y="208"/>
                </a:cubicBezTo>
                <a:cubicBezTo>
                  <a:pt x="181" y="203"/>
                  <a:pt x="187" y="198"/>
                  <a:pt x="194" y="193"/>
                </a:cubicBezTo>
                <a:cubicBezTo>
                  <a:pt x="207" y="183"/>
                  <a:pt x="223" y="173"/>
                  <a:pt x="236" y="166"/>
                </a:cubicBezTo>
                <a:cubicBezTo>
                  <a:pt x="242" y="162"/>
                  <a:pt x="248" y="159"/>
                  <a:pt x="252" y="157"/>
                </a:cubicBezTo>
                <a:cubicBezTo>
                  <a:pt x="254" y="156"/>
                  <a:pt x="255" y="155"/>
                  <a:pt x="256" y="155"/>
                </a:cubicBezTo>
                <a:cubicBezTo>
                  <a:pt x="257" y="155"/>
                  <a:pt x="257" y="154"/>
                  <a:pt x="258" y="154"/>
                </a:cubicBezTo>
                <a:cubicBezTo>
                  <a:pt x="269" y="149"/>
                  <a:pt x="284" y="145"/>
                  <a:pt x="296" y="144"/>
                </a:cubicBezTo>
                <a:cubicBezTo>
                  <a:pt x="294" y="185"/>
                  <a:pt x="289" y="235"/>
                  <a:pt x="286" y="257"/>
                </a:cubicBezTo>
                <a:cubicBezTo>
                  <a:pt x="274" y="336"/>
                  <a:pt x="237" y="381"/>
                  <a:pt x="210" y="404"/>
                </a:cubicBezTo>
                <a:cubicBezTo>
                  <a:pt x="199" y="414"/>
                  <a:pt x="190" y="419"/>
                  <a:pt x="182" y="423"/>
                </a:cubicBezTo>
                <a:cubicBezTo>
                  <a:pt x="175" y="426"/>
                  <a:pt x="169" y="426"/>
                  <a:pt x="163" y="426"/>
                </a:cubicBezTo>
                <a:cubicBezTo>
                  <a:pt x="162" y="426"/>
                  <a:pt x="162" y="426"/>
                  <a:pt x="161" y="426"/>
                </a:cubicBezTo>
                <a:cubicBezTo>
                  <a:pt x="155" y="426"/>
                  <a:pt x="149" y="426"/>
                  <a:pt x="142" y="423"/>
                </a:cubicBezTo>
                <a:cubicBezTo>
                  <a:pt x="134" y="419"/>
                  <a:pt x="125" y="414"/>
                  <a:pt x="114" y="404"/>
                </a:cubicBezTo>
                <a:cubicBezTo>
                  <a:pt x="87" y="381"/>
                  <a:pt x="50" y="336"/>
                  <a:pt x="38" y="257"/>
                </a:cubicBezTo>
                <a:cubicBezTo>
                  <a:pt x="34" y="226"/>
                  <a:pt x="26" y="142"/>
                  <a:pt x="26" y="100"/>
                </a:cubicBezTo>
                <a:cubicBezTo>
                  <a:pt x="26" y="93"/>
                  <a:pt x="26" y="87"/>
                  <a:pt x="27" y="83"/>
                </a:cubicBezTo>
                <a:cubicBezTo>
                  <a:pt x="27" y="83"/>
                  <a:pt x="27" y="82"/>
                  <a:pt x="27" y="81"/>
                </a:cubicBezTo>
                <a:cubicBezTo>
                  <a:pt x="28" y="81"/>
                  <a:pt x="29" y="80"/>
                  <a:pt x="30" y="79"/>
                </a:cubicBezTo>
                <a:cubicBezTo>
                  <a:pt x="39" y="72"/>
                  <a:pt x="59" y="59"/>
                  <a:pt x="84" y="47"/>
                </a:cubicBezTo>
                <a:cubicBezTo>
                  <a:pt x="108" y="36"/>
                  <a:pt x="137" y="26"/>
                  <a:pt x="162" y="27"/>
                </a:cubicBezTo>
                <a:cubicBezTo>
                  <a:pt x="162" y="27"/>
                  <a:pt x="162" y="27"/>
                  <a:pt x="162" y="27"/>
                </a:cubicBezTo>
                <a:cubicBezTo>
                  <a:pt x="191" y="26"/>
                  <a:pt x="224" y="39"/>
                  <a:pt x="250" y="52"/>
                </a:cubicBezTo>
                <a:cubicBezTo>
                  <a:pt x="263" y="59"/>
                  <a:pt x="275" y="66"/>
                  <a:pt x="284" y="72"/>
                </a:cubicBezTo>
                <a:cubicBezTo>
                  <a:pt x="288" y="75"/>
                  <a:pt x="291" y="77"/>
                  <a:pt x="294" y="79"/>
                </a:cubicBezTo>
                <a:cubicBezTo>
                  <a:pt x="297" y="81"/>
                  <a:pt x="299" y="83"/>
                  <a:pt x="299" y="83"/>
                </a:cubicBezTo>
                <a:cubicBezTo>
                  <a:pt x="304" y="88"/>
                  <a:pt x="312" y="88"/>
                  <a:pt x="318" y="83"/>
                </a:cubicBezTo>
                <a:cubicBezTo>
                  <a:pt x="323" y="78"/>
                  <a:pt x="323" y="69"/>
                  <a:pt x="318" y="64"/>
                </a:cubicBezTo>
                <a:cubicBezTo>
                  <a:pt x="316" y="62"/>
                  <a:pt x="313" y="60"/>
                  <a:pt x="310" y="58"/>
                </a:cubicBezTo>
                <a:cubicBezTo>
                  <a:pt x="299" y="50"/>
                  <a:pt x="278" y="35"/>
                  <a:pt x="251" y="23"/>
                </a:cubicBezTo>
                <a:cubicBezTo>
                  <a:pt x="225" y="11"/>
                  <a:pt x="194" y="0"/>
                  <a:pt x="162" y="0"/>
                </a:cubicBezTo>
                <a:cubicBezTo>
                  <a:pt x="162" y="0"/>
                  <a:pt x="162" y="0"/>
                  <a:pt x="162" y="0"/>
                </a:cubicBezTo>
                <a:cubicBezTo>
                  <a:pt x="126" y="0"/>
                  <a:pt x="90" y="14"/>
                  <a:pt x="61" y="28"/>
                </a:cubicBezTo>
                <a:cubicBezTo>
                  <a:pt x="47" y="36"/>
                  <a:pt x="35" y="43"/>
                  <a:pt x="25" y="50"/>
                </a:cubicBezTo>
                <a:cubicBezTo>
                  <a:pt x="21" y="53"/>
                  <a:pt x="17" y="56"/>
                  <a:pt x="14" y="58"/>
                </a:cubicBezTo>
                <a:cubicBezTo>
                  <a:pt x="10" y="60"/>
                  <a:pt x="8" y="62"/>
                  <a:pt x="6" y="64"/>
                </a:cubicBezTo>
                <a:cubicBezTo>
                  <a:pt x="4" y="66"/>
                  <a:pt x="3" y="68"/>
                  <a:pt x="3" y="69"/>
                </a:cubicBezTo>
                <a:cubicBezTo>
                  <a:pt x="2" y="72"/>
                  <a:pt x="1" y="74"/>
                  <a:pt x="1" y="76"/>
                </a:cubicBezTo>
                <a:cubicBezTo>
                  <a:pt x="0" y="82"/>
                  <a:pt x="0" y="90"/>
                  <a:pt x="0" y="100"/>
                </a:cubicBezTo>
                <a:cubicBezTo>
                  <a:pt x="0" y="145"/>
                  <a:pt x="7" y="228"/>
                  <a:pt x="12" y="261"/>
                </a:cubicBezTo>
                <a:cubicBezTo>
                  <a:pt x="25" y="347"/>
                  <a:pt x="66" y="398"/>
                  <a:pt x="96" y="424"/>
                </a:cubicBezTo>
                <a:cubicBezTo>
                  <a:pt x="109" y="436"/>
                  <a:pt x="121" y="443"/>
                  <a:pt x="132" y="447"/>
                </a:cubicBezTo>
                <a:cubicBezTo>
                  <a:pt x="143" y="452"/>
                  <a:pt x="153" y="453"/>
                  <a:pt x="162" y="453"/>
                </a:cubicBezTo>
                <a:cubicBezTo>
                  <a:pt x="162" y="453"/>
                  <a:pt x="162" y="453"/>
                  <a:pt x="162" y="453"/>
                </a:cubicBezTo>
                <a:cubicBezTo>
                  <a:pt x="162" y="453"/>
                  <a:pt x="162" y="453"/>
                  <a:pt x="162" y="453"/>
                </a:cubicBezTo>
                <a:cubicBezTo>
                  <a:pt x="162" y="453"/>
                  <a:pt x="162" y="453"/>
                  <a:pt x="162" y="453"/>
                </a:cubicBezTo>
                <a:cubicBezTo>
                  <a:pt x="171" y="453"/>
                  <a:pt x="181" y="452"/>
                  <a:pt x="192" y="447"/>
                </a:cubicBezTo>
                <a:cubicBezTo>
                  <a:pt x="203" y="443"/>
                  <a:pt x="215" y="436"/>
                  <a:pt x="228" y="424"/>
                </a:cubicBezTo>
                <a:cubicBezTo>
                  <a:pt x="258" y="398"/>
                  <a:pt x="299" y="347"/>
                  <a:pt x="312" y="261"/>
                </a:cubicBezTo>
                <a:cubicBezTo>
                  <a:pt x="316" y="235"/>
                  <a:pt x="321" y="176"/>
                  <a:pt x="324" y="130"/>
                </a:cubicBezTo>
                <a:cubicBezTo>
                  <a:pt x="324" y="127"/>
                  <a:pt x="322" y="123"/>
                  <a:pt x="320" y="12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35" name="Freeform 592"/>
          <p:cNvSpPr>
            <a:spLocks/>
          </p:cNvSpPr>
          <p:nvPr userDrawn="1"/>
        </p:nvSpPr>
        <p:spPr bwMode="auto">
          <a:xfrm>
            <a:off x="6994395" y="2296201"/>
            <a:ext cx="387054" cy="279797"/>
          </a:xfrm>
          <a:custGeom>
            <a:avLst/>
            <a:gdLst/>
            <a:ahLst/>
            <a:cxnLst>
              <a:cxn ang="0">
                <a:pos x="445" y="331"/>
              </a:cxn>
              <a:cxn ang="0">
                <a:pos x="13" y="331"/>
              </a:cxn>
              <a:cxn ang="0">
                <a:pos x="0" y="317"/>
              </a:cxn>
              <a:cxn ang="0">
                <a:pos x="0" y="282"/>
              </a:cxn>
              <a:cxn ang="0">
                <a:pos x="4" y="272"/>
              </a:cxn>
              <a:cxn ang="0">
                <a:pos x="70" y="207"/>
              </a:cxn>
              <a:cxn ang="0">
                <a:pos x="70" y="13"/>
              </a:cxn>
              <a:cxn ang="0">
                <a:pos x="83" y="0"/>
              </a:cxn>
              <a:cxn ang="0">
                <a:pos x="375" y="0"/>
              </a:cxn>
              <a:cxn ang="0">
                <a:pos x="388" y="13"/>
              </a:cxn>
              <a:cxn ang="0">
                <a:pos x="388" y="188"/>
              </a:cxn>
              <a:cxn ang="0">
                <a:pos x="375" y="202"/>
              </a:cxn>
              <a:cxn ang="0">
                <a:pos x="361" y="188"/>
              </a:cxn>
              <a:cxn ang="0">
                <a:pos x="361" y="27"/>
              </a:cxn>
              <a:cxn ang="0">
                <a:pos x="97" y="27"/>
              </a:cxn>
              <a:cxn ang="0">
                <a:pos x="97" y="213"/>
              </a:cxn>
              <a:cxn ang="0">
                <a:pos x="93" y="222"/>
              </a:cxn>
              <a:cxn ang="0">
                <a:pos x="26" y="288"/>
              </a:cxn>
              <a:cxn ang="0">
                <a:pos x="26" y="304"/>
              </a:cxn>
              <a:cxn ang="0">
                <a:pos x="432" y="304"/>
              </a:cxn>
              <a:cxn ang="0">
                <a:pos x="432" y="288"/>
              </a:cxn>
              <a:cxn ang="0">
                <a:pos x="371" y="240"/>
              </a:cxn>
              <a:cxn ang="0">
                <a:pos x="139" y="240"/>
              </a:cxn>
              <a:cxn ang="0">
                <a:pos x="126" y="254"/>
              </a:cxn>
              <a:cxn ang="0">
                <a:pos x="363" y="254"/>
              </a:cxn>
              <a:cxn ang="0">
                <a:pos x="377" y="267"/>
              </a:cxn>
              <a:cxn ang="0">
                <a:pos x="363" y="280"/>
              </a:cxn>
              <a:cxn ang="0">
                <a:pos x="96" y="280"/>
              </a:cxn>
              <a:cxn ang="0">
                <a:pos x="83" y="272"/>
              </a:cxn>
              <a:cxn ang="0">
                <a:pos x="86" y="258"/>
              </a:cxn>
              <a:cxn ang="0">
                <a:pos x="124" y="217"/>
              </a:cxn>
              <a:cxn ang="0">
                <a:pos x="134" y="213"/>
              </a:cxn>
              <a:cxn ang="0">
                <a:pos x="376" y="213"/>
              </a:cxn>
              <a:cxn ang="0">
                <a:pos x="385" y="216"/>
              </a:cxn>
              <a:cxn ang="0">
                <a:pos x="454" y="272"/>
              </a:cxn>
              <a:cxn ang="0">
                <a:pos x="458" y="282"/>
              </a:cxn>
              <a:cxn ang="0">
                <a:pos x="458" y="317"/>
              </a:cxn>
              <a:cxn ang="0">
                <a:pos x="445" y="331"/>
              </a:cxn>
            </a:cxnLst>
            <a:rect l="0" t="0" r="r" b="b"/>
            <a:pathLst>
              <a:path w="458" h="331">
                <a:moveTo>
                  <a:pt x="445" y="331"/>
                </a:moveTo>
                <a:cubicBezTo>
                  <a:pt x="13" y="331"/>
                  <a:pt x="13" y="331"/>
                  <a:pt x="13" y="331"/>
                </a:cubicBezTo>
                <a:cubicBezTo>
                  <a:pt x="5" y="331"/>
                  <a:pt x="0" y="325"/>
                  <a:pt x="0" y="317"/>
                </a:cubicBezTo>
                <a:cubicBezTo>
                  <a:pt x="0" y="282"/>
                  <a:pt x="0" y="282"/>
                  <a:pt x="0" y="282"/>
                </a:cubicBezTo>
                <a:cubicBezTo>
                  <a:pt x="0" y="278"/>
                  <a:pt x="1" y="275"/>
                  <a:pt x="4" y="272"/>
                </a:cubicBezTo>
                <a:cubicBezTo>
                  <a:pt x="70" y="207"/>
                  <a:pt x="70" y="207"/>
                  <a:pt x="70" y="207"/>
                </a:cubicBezTo>
                <a:cubicBezTo>
                  <a:pt x="70" y="13"/>
                  <a:pt x="70" y="13"/>
                  <a:pt x="70" y="13"/>
                </a:cubicBezTo>
                <a:cubicBezTo>
                  <a:pt x="70" y="6"/>
                  <a:pt x="76" y="0"/>
                  <a:pt x="83" y="0"/>
                </a:cubicBezTo>
                <a:cubicBezTo>
                  <a:pt x="375" y="0"/>
                  <a:pt x="375" y="0"/>
                  <a:pt x="375" y="0"/>
                </a:cubicBezTo>
                <a:cubicBezTo>
                  <a:pt x="382" y="0"/>
                  <a:pt x="388" y="6"/>
                  <a:pt x="388" y="13"/>
                </a:cubicBezTo>
                <a:cubicBezTo>
                  <a:pt x="388" y="188"/>
                  <a:pt x="388" y="188"/>
                  <a:pt x="388" y="188"/>
                </a:cubicBezTo>
                <a:cubicBezTo>
                  <a:pt x="388" y="196"/>
                  <a:pt x="382" y="202"/>
                  <a:pt x="375" y="202"/>
                </a:cubicBezTo>
                <a:cubicBezTo>
                  <a:pt x="367" y="202"/>
                  <a:pt x="361" y="196"/>
                  <a:pt x="361" y="188"/>
                </a:cubicBezTo>
                <a:cubicBezTo>
                  <a:pt x="361" y="27"/>
                  <a:pt x="361" y="27"/>
                  <a:pt x="361" y="27"/>
                </a:cubicBezTo>
                <a:cubicBezTo>
                  <a:pt x="97" y="27"/>
                  <a:pt x="97" y="27"/>
                  <a:pt x="97" y="27"/>
                </a:cubicBezTo>
                <a:cubicBezTo>
                  <a:pt x="97" y="213"/>
                  <a:pt x="97" y="213"/>
                  <a:pt x="97" y="213"/>
                </a:cubicBezTo>
                <a:cubicBezTo>
                  <a:pt x="97" y="217"/>
                  <a:pt x="95" y="220"/>
                  <a:pt x="93" y="222"/>
                </a:cubicBezTo>
                <a:cubicBezTo>
                  <a:pt x="26" y="288"/>
                  <a:pt x="26" y="288"/>
                  <a:pt x="26" y="288"/>
                </a:cubicBezTo>
                <a:cubicBezTo>
                  <a:pt x="26" y="304"/>
                  <a:pt x="26" y="304"/>
                  <a:pt x="26" y="304"/>
                </a:cubicBezTo>
                <a:cubicBezTo>
                  <a:pt x="432" y="304"/>
                  <a:pt x="432" y="304"/>
                  <a:pt x="432" y="304"/>
                </a:cubicBezTo>
                <a:cubicBezTo>
                  <a:pt x="432" y="288"/>
                  <a:pt x="432" y="288"/>
                  <a:pt x="432" y="288"/>
                </a:cubicBezTo>
                <a:cubicBezTo>
                  <a:pt x="371" y="240"/>
                  <a:pt x="371" y="240"/>
                  <a:pt x="371" y="240"/>
                </a:cubicBezTo>
                <a:cubicBezTo>
                  <a:pt x="139" y="240"/>
                  <a:pt x="139" y="240"/>
                  <a:pt x="139" y="240"/>
                </a:cubicBezTo>
                <a:cubicBezTo>
                  <a:pt x="126" y="254"/>
                  <a:pt x="126" y="254"/>
                  <a:pt x="126" y="254"/>
                </a:cubicBezTo>
                <a:cubicBezTo>
                  <a:pt x="363" y="254"/>
                  <a:pt x="363" y="254"/>
                  <a:pt x="363" y="254"/>
                </a:cubicBezTo>
                <a:cubicBezTo>
                  <a:pt x="371" y="254"/>
                  <a:pt x="377" y="260"/>
                  <a:pt x="377" y="267"/>
                </a:cubicBezTo>
                <a:cubicBezTo>
                  <a:pt x="377" y="274"/>
                  <a:pt x="371" y="280"/>
                  <a:pt x="363" y="280"/>
                </a:cubicBezTo>
                <a:cubicBezTo>
                  <a:pt x="96" y="280"/>
                  <a:pt x="96" y="280"/>
                  <a:pt x="96" y="280"/>
                </a:cubicBezTo>
                <a:cubicBezTo>
                  <a:pt x="90" y="280"/>
                  <a:pt x="86" y="277"/>
                  <a:pt x="83" y="272"/>
                </a:cubicBezTo>
                <a:cubicBezTo>
                  <a:pt x="81" y="267"/>
                  <a:pt x="82" y="262"/>
                  <a:pt x="86" y="258"/>
                </a:cubicBezTo>
                <a:cubicBezTo>
                  <a:pt x="124" y="217"/>
                  <a:pt x="124" y="217"/>
                  <a:pt x="124" y="217"/>
                </a:cubicBezTo>
                <a:cubicBezTo>
                  <a:pt x="126" y="214"/>
                  <a:pt x="130" y="213"/>
                  <a:pt x="134" y="213"/>
                </a:cubicBezTo>
                <a:cubicBezTo>
                  <a:pt x="376" y="213"/>
                  <a:pt x="376" y="213"/>
                  <a:pt x="376" y="213"/>
                </a:cubicBezTo>
                <a:cubicBezTo>
                  <a:pt x="379" y="213"/>
                  <a:pt x="382" y="214"/>
                  <a:pt x="385" y="216"/>
                </a:cubicBezTo>
                <a:cubicBezTo>
                  <a:pt x="454" y="272"/>
                  <a:pt x="454" y="272"/>
                  <a:pt x="454" y="272"/>
                </a:cubicBezTo>
                <a:cubicBezTo>
                  <a:pt x="457" y="274"/>
                  <a:pt x="458" y="278"/>
                  <a:pt x="458" y="282"/>
                </a:cubicBezTo>
                <a:cubicBezTo>
                  <a:pt x="458" y="317"/>
                  <a:pt x="458" y="317"/>
                  <a:pt x="458" y="317"/>
                </a:cubicBezTo>
                <a:cubicBezTo>
                  <a:pt x="458" y="325"/>
                  <a:pt x="453" y="331"/>
                  <a:pt x="445" y="33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36" name="Freeform 644"/>
          <p:cNvSpPr>
            <a:spLocks/>
          </p:cNvSpPr>
          <p:nvPr userDrawn="1"/>
        </p:nvSpPr>
        <p:spPr bwMode="auto">
          <a:xfrm>
            <a:off x="7081929" y="1378672"/>
            <a:ext cx="211986" cy="248841"/>
          </a:xfrm>
          <a:custGeom>
            <a:avLst/>
            <a:gdLst/>
            <a:ahLst/>
            <a:cxnLst>
              <a:cxn ang="0">
                <a:pos x="218" y="89"/>
              </a:cxn>
              <a:cxn ang="0">
                <a:pos x="200" y="103"/>
              </a:cxn>
              <a:cxn ang="0">
                <a:pos x="195" y="116"/>
              </a:cxn>
              <a:cxn ang="0">
                <a:pos x="187" y="231"/>
              </a:cxn>
              <a:cxn ang="0">
                <a:pos x="83" y="247"/>
              </a:cxn>
              <a:cxn ang="0">
                <a:pos x="172" y="227"/>
              </a:cxn>
              <a:cxn ang="0">
                <a:pos x="184" y="223"/>
              </a:cxn>
              <a:cxn ang="0">
                <a:pos x="141" y="157"/>
              </a:cxn>
              <a:cxn ang="0">
                <a:pos x="130" y="157"/>
              </a:cxn>
              <a:cxn ang="0">
                <a:pos x="93" y="135"/>
              </a:cxn>
              <a:cxn ang="0">
                <a:pos x="130" y="152"/>
              </a:cxn>
              <a:cxn ang="0">
                <a:pos x="188" y="91"/>
              </a:cxn>
              <a:cxn ang="0">
                <a:pos x="185" y="87"/>
              </a:cxn>
              <a:cxn ang="0">
                <a:pos x="57" y="93"/>
              </a:cxn>
              <a:cxn ang="0">
                <a:pos x="48" y="101"/>
              </a:cxn>
              <a:cxn ang="0">
                <a:pos x="23" y="169"/>
              </a:cxn>
              <a:cxn ang="0">
                <a:pos x="34" y="233"/>
              </a:cxn>
              <a:cxn ang="0">
                <a:pos x="46" y="91"/>
              </a:cxn>
              <a:cxn ang="0">
                <a:pos x="112" y="59"/>
              </a:cxn>
              <a:cxn ang="0">
                <a:pos x="118" y="53"/>
              </a:cxn>
              <a:cxn ang="0">
                <a:pos x="107" y="31"/>
              </a:cxn>
              <a:cxn ang="0">
                <a:pos x="143" y="31"/>
              </a:cxn>
              <a:cxn ang="0">
                <a:pos x="132" y="53"/>
              </a:cxn>
              <a:cxn ang="0">
                <a:pos x="139" y="59"/>
              </a:cxn>
              <a:cxn ang="0">
                <a:pos x="194" y="82"/>
              </a:cxn>
              <a:cxn ang="0">
                <a:pos x="203" y="72"/>
              </a:cxn>
              <a:cxn ang="0">
                <a:pos x="157" y="31"/>
              </a:cxn>
              <a:cxn ang="0">
                <a:pos x="93" y="31"/>
              </a:cxn>
              <a:cxn ang="0">
                <a:pos x="36" y="81"/>
              </a:cxn>
              <a:cxn ang="0">
                <a:pos x="28" y="247"/>
              </a:cxn>
              <a:cxn ang="0">
                <a:pos x="33" y="250"/>
              </a:cxn>
              <a:cxn ang="0">
                <a:pos x="50" y="236"/>
              </a:cxn>
              <a:cxn ang="0">
                <a:pos x="55" y="223"/>
              </a:cxn>
              <a:cxn ang="0">
                <a:pos x="58" y="111"/>
              </a:cxn>
              <a:cxn ang="0">
                <a:pos x="125" y="81"/>
              </a:cxn>
              <a:cxn ang="0">
                <a:pos x="124" y="138"/>
              </a:cxn>
              <a:cxn ang="0">
                <a:pos x="70" y="110"/>
              </a:cxn>
              <a:cxn ang="0">
                <a:pos x="66" y="123"/>
              </a:cxn>
              <a:cxn ang="0">
                <a:pos x="117" y="186"/>
              </a:cxn>
              <a:cxn ang="0">
                <a:pos x="135" y="172"/>
              </a:cxn>
              <a:cxn ang="0">
                <a:pos x="131" y="187"/>
              </a:cxn>
              <a:cxn ang="0">
                <a:pos x="67" y="243"/>
              </a:cxn>
              <a:cxn ang="0">
                <a:pos x="68" y="254"/>
              </a:cxn>
              <a:cxn ang="0">
                <a:pos x="197" y="241"/>
              </a:cxn>
              <a:cxn ang="0">
                <a:pos x="210" y="112"/>
              </a:cxn>
              <a:cxn ang="0">
                <a:pos x="236" y="169"/>
              </a:cxn>
              <a:cxn ang="0">
                <a:pos x="125" y="280"/>
              </a:cxn>
              <a:cxn ang="0">
                <a:pos x="49" y="260"/>
              </a:cxn>
              <a:cxn ang="0">
                <a:pos x="50" y="269"/>
              </a:cxn>
              <a:cxn ang="0">
                <a:pos x="125" y="294"/>
              </a:cxn>
              <a:cxn ang="0">
                <a:pos x="249" y="169"/>
              </a:cxn>
            </a:cxnLst>
            <a:rect l="0" t="0" r="r" b="b"/>
            <a:pathLst>
              <a:path w="249" h="294">
                <a:moveTo>
                  <a:pt x="223" y="92"/>
                </a:moveTo>
                <a:cubicBezTo>
                  <a:pt x="221" y="90"/>
                  <a:pt x="220" y="89"/>
                  <a:pt x="218" y="89"/>
                </a:cubicBezTo>
                <a:cubicBezTo>
                  <a:pt x="216" y="89"/>
                  <a:pt x="214" y="90"/>
                  <a:pt x="212" y="91"/>
                </a:cubicBezTo>
                <a:cubicBezTo>
                  <a:pt x="200" y="103"/>
                  <a:pt x="200" y="103"/>
                  <a:pt x="200" y="103"/>
                </a:cubicBezTo>
                <a:cubicBezTo>
                  <a:pt x="196" y="106"/>
                  <a:pt x="196" y="106"/>
                  <a:pt x="196" y="106"/>
                </a:cubicBezTo>
                <a:cubicBezTo>
                  <a:pt x="193" y="109"/>
                  <a:pt x="193" y="113"/>
                  <a:pt x="195" y="116"/>
                </a:cubicBezTo>
                <a:cubicBezTo>
                  <a:pt x="207" y="131"/>
                  <a:pt x="213" y="150"/>
                  <a:pt x="213" y="169"/>
                </a:cubicBezTo>
                <a:cubicBezTo>
                  <a:pt x="213" y="192"/>
                  <a:pt x="204" y="214"/>
                  <a:pt x="187" y="231"/>
                </a:cubicBezTo>
                <a:cubicBezTo>
                  <a:pt x="170" y="249"/>
                  <a:pt x="147" y="257"/>
                  <a:pt x="125" y="257"/>
                </a:cubicBezTo>
                <a:cubicBezTo>
                  <a:pt x="110" y="257"/>
                  <a:pt x="96" y="254"/>
                  <a:pt x="83" y="247"/>
                </a:cubicBezTo>
                <a:cubicBezTo>
                  <a:pt x="128" y="202"/>
                  <a:pt x="128" y="202"/>
                  <a:pt x="128" y="202"/>
                </a:cubicBezTo>
                <a:cubicBezTo>
                  <a:pt x="172" y="227"/>
                  <a:pt x="172" y="227"/>
                  <a:pt x="172" y="227"/>
                </a:cubicBezTo>
                <a:cubicBezTo>
                  <a:pt x="175" y="229"/>
                  <a:pt x="178" y="229"/>
                  <a:pt x="181" y="226"/>
                </a:cubicBezTo>
                <a:cubicBezTo>
                  <a:pt x="184" y="223"/>
                  <a:pt x="184" y="223"/>
                  <a:pt x="184" y="223"/>
                </a:cubicBezTo>
                <a:cubicBezTo>
                  <a:pt x="186" y="220"/>
                  <a:pt x="186" y="217"/>
                  <a:pt x="184" y="214"/>
                </a:cubicBezTo>
                <a:cubicBezTo>
                  <a:pt x="141" y="157"/>
                  <a:pt x="141" y="157"/>
                  <a:pt x="141" y="157"/>
                </a:cubicBezTo>
                <a:cubicBezTo>
                  <a:pt x="140" y="156"/>
                  <a:pt x="138" y="155"/>
                  <a:pt x="136" y="155"/>
                </a:cubicBezTo>
                <a:cubicBezTo>
                  <a:pt x="134" y="154"/>
                  <a:pt x="132" y="155"/>
                  <a:pt x="130" y="157"/>
                </a:cubicBezTo>
                <a:cubicBezTo>
                  <a:pt x="119" y="169"/>
                  <a:pt x="119" y="169"/>
                  <a:pt x="119" y="169"/>
                </a:cubicBezTo>
                <a:cubicBezTo>
                  <a:pt x="93" y="135"/>
                  <a:pt x="93" y="135"/>
                  <a:pt x="93" y="135"/>
                </a:cubicBezTo>
                <a:cubicBezTo>
                  <a:pt x="122" y="153"/>
                  <a:pt x="122" y="153"/>
                  <a:pt x="122" y="153"/>
                </a:cubicBezTo>
                <a:cubicBezTo>
                  <a:pt x="124" y="155"/>
                  <a:pt x="128" y="154"/>
                  <a:pt x="130" y="152"/>
                </a:cubicBezTo>
                <a:cubicBezTo>
                  <a:pt x="186" y="98"/>
                  <a:pt x="186" y="98"/>
                  <a:pt x="186" y="98"/>
                </a:cubicBezTo>
                <a:cubicBezTo>
                  <a:pt x="187" y="96"/>
                  <a:pt x="188" y="94"/>
                  <a:pt x="188" y="91"/>
                </a:cubicBezTo>
                <a:cubicBezTo>
                  <a:pt x="187" y="90"/>
                  <a:pt x="186" y="88"/>
                  <a:pt x="185" y="87"/>
                </a:cubicBezTo>
                <a:cubicBezTo>
                  <a:pt x="185" y="87"/>
                  <a:pt x="185" y="87"/>
                  <a:pt x="185" y="87"/>
                </a:cubicBezTo>
                <a:cubicBezTo>
                  <a:pt x="167" y="74"/>
                  <a:pt x="146" y="67"/>
                  <a:pt x="125" y="67"/>
                </a:cubicBezTo>
                <a:cubicBezTo>
                  <a:pt x="100" y="67"/>
                  <a:pt x="76" y="76"/>
                  <a:pt x="57" y="93"/>
                </a:cubicBezTo>
                <a:cubicBezTo>
                  <a:pt x="57" y="93"/>
                  <a:pt x="57" y="93"/>
                  <a:pt x="57" y="93"/>
                </a:cubicBezTo>
                <a:cubicBezTo>
                  <a:pt x="48" y="101"/>
                  <a:pt x="48" y="101"/>
                  <a:pt x="48" y="101"/>
                </a:cubicBezTo>
                <a:cubicBezTo>
                  <a:pt x="48" y="102"/>
                  <a:pt x="48" y="102"/>
                  <a:pt x="48" y="102"/>
                </a:cubicBezTo>
                <a:cubicBezTo>
                  <a:pt x="31" y="121"/>
                  <a:pt x="23" y="145"/>
                  <a:pt x="23" y="169"/>
                </a:cubicBezTo>
                <a:cubicBezTo>
                  <a:pt x="23" y="189"/>
                  <a:pt x="29" y="209"/>
                  <a:pt x="40" y="226"/>
                </a:cubicBezTo>
                <a:cubicBezTo>
                  <a:pt x="34" y="233"/>
                  <a:pt x="34" y="233"/>
                  <a:pt x="34" y="233"/>
                </a:cubicBezTo>
                <a:cubicBezTo>
                  <a:pt x="20" y="214"/>
                  <a:pt x="14" y="191"/>
                  <a:pt x="14" y="169"/>
                </a:cubicBezTo>
                <a:cubicBezTo>
                  <a:pt x="14" y="141"/>
                  <a:pt x="25" y="112"/>
                  <a:pt x="46" y="91"/>
                </a:cubicBezTo>
                <a:cubicBezTo>
                  <a:pt x="64" y="72"/>
                  <a:pt x="87" y="62"/>
                  <a:pt x="111" y="59"/>
                </a:cubicBezTo>
                <a:cubicBezTo>
                  <a:pt x="112" y="59"/>
                  <a:pt x="112" y="59"/>
                  <a:pt x="112" y="59"/>
                </a:cubicBezTo>
                <a:cubicBezTo>
                  <a:pt x="113" y="58"/>
                  <a:pt x="113" y="58"/>
                  <a:pt x="113" y="58"/>
                </a:cubicBezTo>
                <a:cubicBezTo>
                  <a:pt x="116" y="58"/>
                  <a:pt x="118" y="56"/>
                  <a:pt x="118" y="53"/>
                </a:cubicBezTo>
                <a:cubicBezTo>
                  <a:pt x="118" y="50"/>
                  <a:pt x="117" y="48"/>
                  <a:pt x="115" y="46"/>
                </a:cubicBezTo>
                <a:cubicBezTo>
                  <a:pt x="110" y="43"/>
                  <a:pt x="107" y="37"/>
                  <a:pt x="107" y="31"/>
                </a:cubicBezTo>
                <a:cubicBezTo>
                  <a:pt x="107" y="21"/>
                  <a:pt x="115" y="14"/>
                  <a:pt x="125" y="13"/>
                </a:cubicBezTo>
                <a:cubicBezTo>
                  <a:pt x="135" y="14"/>
                  <a:pt x="143" y="21"/>
                  <a:pt x="143" y="31"/>
                </a:cubicBezTo>
                <a:cubicBezTo>
                  <a:pt x="143" y="37"/>
                  <a:pt x="139" y="43"/>
                  <a:pt x="135" y="46"/>
                </a:cubicBezTo>
                <a:cubicBezTo>
                  <a:pt x="132" y="48"/>
                  <a:pt x="131" y="51"/>
                  <a:pt x="132" y="53"/>
                </a:cubicBezTo>
                <a:cubicBezTo>
                  <a:pt x="132" y="56"/>
                  <a:pt x="135" y="58"/>
                  <a:pt x="137" y="59"/>
                </a:cubicBezTo>
                <a:cubicBezTo>
                  <a:pt x="139" y="59"/>
                  <a:pt x="139" y="59"/>
                  <a:pt x="139" y="59"/>
                </a:cubicBezTo>
                <a:cubicBezTo>
                  <a:pt x="140" y="59"/>
                  <a:pt x="140" y="59"/>
                  <a:pt x="140" y="59"/>
                </a:cubicBezTo>
                <a:cubicBezTo>
                  <a:pt x="159" y="62"/>
                  <a:pt x="178" y="70"/>
                  <a:pt x="194" y="82"/>
                </a:cubicBezTo>
                <a:cubicBezTo>
                  <a:pt x="197" y="85"/>
                  <a:pt x="201" y="84"/>
                  <a:pt x="204" y="81"/>
                </a:cubicBezTo>
                <a:cubicBezTo>
                  <a:pt x="206" y="78"/>
                  <a:pt x="206" y="74"/>
                  <a:pt x="203" y="72"/>
                </a:cubicBezTo>
                <a:cubicBezTo>
                  <a:pt x="187" y="59"/>
                  <a:pt x="170" y="51"/>
                  <a:pt x="152" y="47"/>
                </a:cubicBezTo>
                <a:cubicBezTo>
                  <a:pt x="155" y="43"/>
                  <a:pt x="157" y="37"/>
                  <a:pt x="157" y="31"/>
                </a:cubicBezTo>
                <a:cubicBezTo>
                  <a:pt x="157" y="14"/>
                  <a:pt x="142" y="0"/>
                  <a:pt x="125" y="0"/>
                </a:cubicBezTo>
                <a:cubicBezTo>
                  <a:pt x="107" y="0"/>
                  <a:pt x="93" y="14"/>
                  <a:pt x="93" y="31"/>
                </a:cubicBezTo>
                <a:cubicBezTo>
                  <a:pt x="93" y="37"/>
                  <a:pt x="95" y="43"/>
                  <a:pt x="97" y="47"/>
                </a:cubicBezTo>
                <a:cubicBezTo>
                  <a:pt x="75" y="52"/>
                  <a:pt x="54" y="63"/>
                  <a:pt x="36" y="81"/>
                </a:cubicBezTo>
                <a:cubicBezTo>
                  <a:pt x="12" y="105"/>
                  <a:pt x="0" y="137"/>
                  <a:pt x="0" y="169"/>
                </a:cubicBezTo>
                <a:cubicBezTo>
                  <a:pt x="0" y="197"/>
                  <a:pt x="9" y="225"/>
                  <a:pt x="28" y="247"/>
                </a:cubicBezTo>
                <a:cubicBezTo>
                  <a:pt x="29" y="249"/>
                  <a:pt x="31" y="250"/>
                  <a:pt x="33" y="250"/>
                </a:cubicBezTo>
                <a:cubicBezTo>
                  <a:pt x="33" y="250"/>
                  <a:pt x="33" y="250"/>
                  <a:pt x="33" y="250"/>
                </a:cubicBezTo>
                <a:cubicBezTo>
                  <a:pt x="35" y="250"/>
                  <a:pt x="36" y="249"/>
                  <a:pt x="38" y="248"/>
                </a:cubicBezTo>
                <a:cubicBezTo>
                  <a:pt x="50" y="236"/>
                  <a:pt x="50" y="236"/>
                  <a:pt x="50" y="236"/>
                </a:cubicBezTo>
                <a:cubicBezTo>
                  <a:pt x="54" y="233"/>
                  <a:pt x="54" y="233"/>
                  <a:pt x="54" y="233"/>
                </a:cubicBezTo>
                <a:cubicBezTo>
                  <a:pt x="57" y="230"/>
                  <a:pt x="57" y="226"/>
                  <a:pt x="55" y="223"/>
                </a:cubicBezTo>
                <a:cubicBezTo>
                  <a:pt x="43" y="207"/>
                  <a:pt x="37" y="188"/>
                  <a:pt x="37" y="169"/>
                </a:cubicBezTo>
                <a:cubicBezTo>
                  <a:pt x="37" y="148"/>
                  <a:pt x="44" y="128"/>
                  <a:pt x="58" y="111"/>
                </a:cubicBezTo>
                <a:cubicBezTo>
                  <a:pt x="66" y="103"/>
                  <a:pt x="66" y="103"/>
                  <a:pt x="66" y="103"/>
                </a:cubicBezTo>
                <a:cubicBezTo>
                  <a:pt x="83" y="88"/>
                  <a:pt x="104" y="81"/>
                  <a:pt x="125" y="81"/>
                </a:cubicBezTo>
                <a:cubicBezTo>
                  <a:pt x="140" y="81"/>
                  <a:pt x="156" y="85"/>
                  <a:pt x="170" y="94"/>
                </a:cubicBezTo>
                <a:cubicBezTo>
                  <a:pt x="124" y="138"/>
                  <a:pt x="124" y="138"/>
                  <a:pt x="124" y="138"/>
                </a:cubicBezTo>
                <a:cubicBezTo>
                  <a:pt x="78" y="109"/>
                  <a:pt x="78" y="109"/>
                  <a:pt x="78" y="109"/>
                </a:cubicBezTo>
                <a:cubicBezTo>
                  <a:pt x="76" y="108"/>
                  <a:pt x="72" y="108"/>
                  <a:pt x="70" y="110"/>
                </a:cubicBezTo>
                <a:cubicBezTo>
                  <a:pt x="67" y="113"/>
                  <a:pt x="67" y="113"/>
                  <a:pt x="67" y="113"/>
                </a:cubicBezTo>
                <a:cubicBezTo>
                  <a:pt x="64" y="116"/>
                  <a:pt x="64" y="120"/>
                  <a:pt x="66" y="123"/>
                </a:cubicBezTo>
                <a:cubicBezTo>
                  <a:pt x="112" y="183"/>
                  <a:pt x="112" y="183"/>
                  <a:pt x="112" y="183"/>
                </a:cubicBezTo>
                <a:cubicBezTo>
                  <a:pt x="114" y="185"/>
                  <a:pt x="115" y="186"/>
                  <a:pt x="117" y="186"/>
                </a:cubicBezTo>
                <a:cubicBezTo>
                  <a:pt x="119" y="186"/>
                  <a:pt x="121" y="185"/>
                  <a:pt x="123" y="184"/>
                </a:cubicBezTo>
                <a:cubicBezTo>
                  <a:pt x="135" y="172"/>
                  <a:pt x="135" y="172"/>
                  <a:pt x="135" y="172"/>
                </a:cubicBezTo>
                <a:cubicBezTo>
                  <a:pt x="159" y="204"/>
                  <a:pt x="159" y="204"/>
                  <a:pt x="159" y="204"/>
                </a:cubicBezTo>
                <a:cubicBezTo>
                  <a:pt x="131" y="187"/>
                  <a:pt x="131" y="187"/>
                  <a:pt x="131" y="187"/>
                </a:cubicBezTo>
                <a:cubicBezTo>
                  <a:pt x="128" y="185"/>
                  <a:pt x="125" y="186"/>
                  <a:pt x="122" y="188"/>
                </a:cubicBezTo>
                <a:cubicBezTo>
                  <a:pt x="67" y="243"/>
                  <a:pt x="67" y="243"/>
                  <a:pt x="67" y="243"/>
                </a:cubicBezTo>
                <a:cubicBezTo>
                  <a:pt x="65" y="245"/>
                  <a:pt x="65" y="247"/>
                  <a:pt x="65" y="249"/>
                </a:cubicBezTo>
                <a:cubicBezTo>
                  <a:pt x="65" y="251"/>
                  <a:pt x="66" y="253"/>
                  <a:pt x="68" y="254"/>
                </a:cubicBezTo>
                <a:cubicBezTo>
                  <a:pt x="85" y="265"/>
                  <a:pt x="105" y="271"/>
                  <a:pt x="125" y="271"/>
                </a:cubicBezTo>
                <a:cubicBezTo>
                  <a:pt x="151" y="271"/>
                  <a:pt x="177" y="261"/>
                  <a:pt x="197" y="241"/>
                </a:cubicBezTo>
                <a:cubicBezTo>
                  <a:pt x="217" y="221"/>
                  <a:pt x="227" y="195"/>
                  <a:pt x="227" y="169"/>
                </a:cubicBezTo>
                <a:cubicBezTo>
                  <a:pt x="227" y="149"/>
                  <a:pt x="221" y="129"/>
                  <a:pt x="210" y="112"/>
                </a:cubicBezTo>
                <a:cubicBezTo>
                  <a:pt x="216" y="106"/>
                  <a:pt x="216" y="106"/>
                  <a:pt x="216" y="106"/>
                </a:cubicBezTo>
                <a:cubicBezTo>
                  <a:pt x="229" y="125"/>
                  <a:pt x="236" y="147"/>
                  <a:pt x="236" y="169"/>
                </a:cubicBezTo>
                <a:cubicBezTo>
                  <a:pt x="236" y="197"/>
                  <a:pt x="225" y="226"/>
                  <a:pt x="203" y="247"/>
                </a:cubicBezTo>
                <a:cubicBezTo>
                  <a:pt x="181" y="269"/>
                  <a:pt x="153" y="280"/>
                  <a:pt x="125" y="280"/>
                </a:cubicBezTo>
                <a:cubicBezTo>
                  <a:pt x="101" y="280"/>
                  <a:pt x="78" y="273"/>
                  <a:pt x="59" y="258"/>
                </a:cubicBezTo>
                <a:cubicBezTo>
                  <a:pt x="56" y="256"/>
                  <a:pt x="51" y="257"/>
                  <a:pt x="49" y="260"/>
                </a:cubicBezTo>
                <a:cubicBezTo>
                  <a:pt x="47" y="263"/>
                  <a:pt x="47" y="267"/>
                  <a:pt x="50" y="269"/>
                </a:cubicBezTo>
                <a:cubicBezTo>
                  <a:pt x="50" y="269"/>
                  <a:pt x="50" y="269"/>
                  <a:pt x="50" y="269"/>
                </a:cubicBezTo>
                <a:cubicBezTo>
                  <a:pt x="72" y="286"/>
                  <a:pt x="99" y="294"/>
                  <a:pt x="125" y="294"/>
                </a:cubicBezTo>
                <a:cubicBezTo>
                  <a:pt x="125" y="294"/>
                  <a:pt x="125" y="294"/>
                  <a:pt x="125" y="294"/>
                </a:cubicBezTo>
                <a:cubicBezTo>
                  <a:pt x="157" y="294"/>
                  <a:pt x="189" y="282"/>
                  <a:pt x="213" y="257"/>
                </a:cubicBezTo>
                <a:cubicBezTo>
                  <a:pt x="237" y="233"/>
                  <a:pt x="249" y="201"/>
                  <a:pt x="249" y="169"/>
                </a:cubicBezTo>
                <a:cubicBezTo>
                  <a:pt x="249" y="142"/>
                  <a:pt x="241" y="114"/>
                  <a:pt x="223" y="9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37" name="Freeform 493"/>
          <p:cNvSpPr>
            <a:spLocks/>
          </p:cNvSpPr>
          <p:nvPr userDrawn="1"/>
        </p:nvSpPr>
        <p:spPr bwMode="auto">
          <a:xfrm>
            <a:off x="7506463" y="3302414"/>
            <a:ext cx="238187" cy="386953"/>
          </a:xfrm>
          <a:custGeom>
            <a:avLst/>
            <a:gdLst/>
            <a:ahLst/>
            <a:cxnLst>
              <a:cxn ang="0">
                <a:pos x="265" y="150"/>
              </a:cxn>
              <a:cxn ang="0">
                <a:pos x="275" y="105"/>
              </a:cxn>
              <a:cxn ang="0">
                <a:pos x="277" y="53"/>
              </a:cxn>
              <a:cxn ang="0">
                <a:pos x="260" y="17"/>
              </a:cxn>
              <a:cxn ang="0">
                <a:pos x="190" y="12"/>
              </a:cxn>
              <a:cxn ang="0">
                <a:pos x="58" y="19"/>
              </a:cxn>
              <a:cxn ang="0">
                <a:pos x="31" y="34"/>
              </a:cxn>
              <a:cxn ang="0">
                <a:pos x="0" y="80"/>
              </a:cxn>
              <a:cxn ang="0">
                <a:pos x="0" y="142"/>
              </a:cxn>
              <a:cxn ang="0">
                <a:pos x="11" y="174"/>
              </a:cxn>
              <a:cxn ang="0">
                <a:pos x="0" y="209"/>
              </a:cxn>
              <a:cxn ang="0">
                <a:pos x="43" y="240"/>
              </a:cxn>
              <a:cxn ang="0">
                <a:pos x="26" y="208"/>
              </a:cxn>
              <a:cxn ang="0">
                <a:pos x="49" y="173"/>
              </a:cxn>
              <a:cxn ang="0">
                <a:pos x="26" y="143"/>
              </a:cxn>
              <a:cxn ang="0">
                <a:pos x="38" y="125"/>
              </a:cxn>
              <a:cxn ang="0">
                <a:pos x="49" y="114"/>
              </a:cxn>
              <a:cxn ang="0">
                <a:pos x="48" y="103"/>
              </a:cxn>
              <a:cxn ang="0">
                <a:pos x="26" y="79"/>
              </a:cxn>
              <a:cxn ang="0">
                <a:pos x="38" y="60"/>
              </a:cxn>
              <a:cxn ang="0">
                <a:pos x="71" y="42"/>
              </a:cxn>
              <a:cxn ang="0">
                <a:pos x="106" y="27"/>
              </a:cxn>
              <a:cxn ang="0">
                <a:pos x="191" y="39"/>
              </a:cxn>
              <a:cxn ang="0">
                <a:pos x="231" y="35"/>
              </a:cxn>
              <a:cxn ang="0">
                <a:pos x="249" y="44"/>
              </a:cxn>
              <a:cxn ang="0">
                <a:pos x="236" y="71"/>
              </a:cxn>
              <a:cxn ang="0">
                <a:pos x="82" y="107"/>
              </a:cxn>
              <a:cxn ang="0">
                <a:pos x="238" y="98"/>
              </a:cxn>
              <a:cxn ang="0">
                <a:pos x="249" y="109"/>
              </a:cxn>
              <a:cxn ang="0">
                <a:pos x="236" y="137"/>
              </a:cxn>
              <a:cxn ang="0">
                <a:pos x="227" y="138"/>
              </a:cxn>
              <a:cxn ang="0">
                <a:pos x="96" y="155"/>
              </a:cxn>
              <a:cxn ang="0">
                <a:pos x="99" y="181"/>
              </a:cxn>
              <a:cxn ang="0">
                <a:pos x="231" y="165"/>
              </a:cxn>
              <a:cxn ang="0">
                <a:pos x="249" y="174"/>
              </a:cxn>
              <a:cxn ang="0">
                <a:pos x="251" y="188"/>
              </a:cxn>
              <a:cxn ang="0">
                <a:pos x="90" y="224"/>
              </a:cxn>
              <a:cxn ang="0">
                <a:pos x="58" y="247"/>
              </a:cxn>
              <a:cxn ang="0">
                <a:pos x="64" y="267"/>
              </a:cxn>
              <a:cxn ang="0">
                <a:pos x="54" y="278"/>
              </a:cxn>
              <a:cxn ang="0">
                <a:pos x="36" y="321"/>
              </a:cxn>
              <a:cxn ang="0">
                <a:pos x="91" y="394"/>
              </a:cxn>
              <a:cxn ang="0">
                <a:pos x="97" y="441"/>
              </a:cxn>
              <a:cxn ang="0">
                <a:pos x="139" y="459"/>
              </a:cxn>
              <a:cxn ang="0">
                <a:pos x="182" y="437"/>
              </a:cxn>
              <a:cxn ang="0">
                <a:pos x="231" y="360"/>
              </a:cxn>
              <a:cxn ang="0">
                <a:pos x="235" y="287"/>
              </a:cxn>
              <a:cxn ang="0">
                <a:pos x="186" y="278"/>
              </a:cxn>
              <a:cxn ang="0">
                <a:pos x="189" y="267"/>
              </a:cxn>
              <a:cxn ang="0">
                <a:pos x="163" y="262"/>
              </a:cxn>
              <a:cxn ang="0">
                <a:pos x="156" y="299"/>
              </a:cxn>
              <a:cxn ang="0">
                <a:pos x="212" y="304"/>
              </a:cxn>
              <a:cxn ang="0">
                <a:pos x="208" y="347"/>
              </a:cxn>
              <a:cxn ang="0">
                <a:pos x="160" y="383"/>
              </a:cxn>
              <a:cxn ang="0">
                <a:pos x="140" y="432"/>
              </a:cxn>
              <a:cxn ang="0">
                <a:pos x="121" y="428"/>
              </a:cxn>
              <a:cxn ang="0">
                <a:pos x="106" y="371"/>
              </a:cxn>
              <a:cxn ang="0">
                <a:pos x="63" y="321"/>
              </a:cxn>
              <a:cxn ang="0">
                <a:pos x="110" y="304"/>
              </a:cxn>
              <a:cxn ang="0">
                <a:pos x="124" y="291"/>
              </a:cxn>
              <a:cxn ang="0">
                <a:pos x="88" y="253"/>
              </a:cxn>
              <a:cxn ang="0">
                <a:pos x="240" y="227"/>
              </a:cxn>
              <a:cxn ang="0">
                <a:pos x="277" y="183"/>
              </a:cxn>
            </a:cxnLst>
            <a:rect l="0" t="0" r="r" b="b"/>
            <a:pathLst>
              <a:path w="280" h="459">
                <a:moveTo>
                  <a:pt x="275" y="170"/>
                </a:moveTo>
                <a:cubicBezTo>
                  <a:pt x="274" y="162"/>
                  <a:pt x="271" y="156"/>
                  <a:pt x="265" y="150"/>
                </a:cubicBezTo>
                <a:cubicBezTo>
                  <a:pt x="274" y="142"/>
                  <a:pt x="279" y="130"/>
                  <a:pt x="277" y="118"/>
                </a:cubicBezTo>
                <a:cubicBezTo>
                  <a:pt x="275" y="105"/>
                  <a:pt x="275" y="105"/>
                  <a:pt x="275" y="105"/>
                </a:cubicBezTo>
                <a:cubicBezTo>
                  <a:pt x="274" y="97"/>
                  <a:pt x="271" y="90"/>
                  <a:pt x="266" y="85"/>
                </a:cubicBezTo>
                <a:cubicBezTo>
                  <a:pt x="274" y="77"/>
                  <a:pt x="279" y="65"/>
                  <a:pt x="277" y="53"/>
                </a:cubicBezTo>
                <a:cubicBezTo>
                  <a:pt x="275" y="40"/>
                  <a:pt x="275" y="40"/>
                  <a:pt x="275" y="40"/>
                </a:cubicBezTo>
                <a:cubicBezTo>
                  <a:pt x="274" y="31"/>
                  <a:pt x="268" y="23"/>
                  <a:pt x="260" y="17"/>
                </a:cubicBezTo>
                <a:cubicBezTo>
                  <a:pt x="251" y="10"/>
                  <a:pt x="239" y="7"/>
                  <a:pt x="228" y="9"/>
                </a:cubicBezTo>
                <a:cubicBezTo>
                  <a:pt x="225" y="9"/>
                  <a:pt x="193" y="12"/>
                  <a:pt x="190" y="12"/>
                </a:cubicBezTo>
                <a:cubicBezTo>
                  <a:pt x="166" y="8"/>
                  <a:pt x="113" y="0"/>
                  <a:pt x="106" y="0"/>
                </a:cubicBezTo>
                <a:cubicBezTo>
                  <a:pt x="93" y="0"/>
                  <a:pt x="58" y="19"/>
                  <a:pt x="58" y="19"/>
                </a:cubicBezTo>
                <a:cubicBezTo>
                  <a:pt x="58" y="19"/>
                  <a:pt x="58" y="19"/>
                  <a:pt x="58" y="19"/>
                </a:cubicBezTo>
                <a:cubicBezTo>
                  <a:pt x="58" y="19"/>
                  <a:pt x="34" y="32"/>
                  <a:pt x="31" y="34"/>
                </a:cubicBezTo>
                <a:cubicBezTo>
                  <a:pt x="12" y="38"/>
                  <a:pt x="0" y="55"/>
                  <a:pt x="0" y="77"/>
                </a:cubicBezTo>
                <a:cubicBezTo>
                  <a:pt x="0" y="78"/>
                  <a:pt x="0" y="79"/>
                  <a:pt x="0" y="80"/>
                </a:cubicBezTo>
                <a:cubicBezTo>
                  <a:pt x="0" y="92"/>
                  <a:pt x="5" y="102"/>
                  <a:pt x="11" y="110"/>
                </a:cubicBezTo>
                <a:cubicBezTo>
                  <a:pt x="4" y="118"/>
                  <a:pt x="0" y="129"/>
                  <a:pt x="0" y="142"/>
                </a:cubicBezTo>
                <a:cubicBezTo>
                  <a:pt x="0" y="143"/>
                  <a:pt x="0" y="143"/>
                  <a:pt x="0" y="144"/>
                </a:cubicBezTo>
                <a:cubicBezTo>
                  <a:pt x="0" y="156"/>
                  <a:pt x="5" y="166"/>
                  <a:pt x="11" y="174"/>
                </a:cubicBezTo>
                <a:cubicBezTo>
                  <a:pt x="4" y="183"/>
                  <a:pt x="0" y="195"/>
                  <a:pt x="0" y="207"/>
                </a:cubicBezTo>
                <a:cubicBezTo>
                  <a:pt x="0" y="208"/>
                  <a:pt x="0" y="208"/>
                  <a:pt x="0" y="209"/>
                </a:cubicBezTo>
                <a:cubicBezTo>
                  <a:pt x="0" y="221"/>
                  <a:pt x="5" y="237"/>
                  <a:pt x="25" y="246"/>
                </a:cubicBezTo>
                <a:cubicBezTo>
                  <a:pt x="32" y="250"/>
                  <a:pt x="40" y="247"/>
                  <a:pt x="43" y="240"/>
                </a:cubicBezTo>
                <a:cubicBezTo>
                  <a:pt x="46" y="234"/>
                  <a:pt x="44" y="226"/>
                  <a:pt x="37" y="223"/>
                </a:cubicBezTo>
                <a:cubicBezTo>
                  <a:pt x="30" y="219"/>
                  <a:pt x="27" y="215"/>
                  <a:pt x="26" y="208"/>
                </a:cubicBezTo>
                <a:cubicBezTo>
                  <a:pt x="26" y="200"/>
                  <a:pt x="31" y="189"/>
                  <a:pt x="38" y="187"/>
                </a:cubicBezTo>
                <a:cubicBezTo>
                  <a:pt x="45" y="186"/>
                  <a:pt x="50" y="180"/>
                  <a:pt x="49" y="173"/>
                </a:cubicBezTo>
                <a:cubicBezTo>
                  <a:pt x="48" y="166"/>
                  <a:pt x="42" y="161"/>
                  <a:pt x="35" y="161"/>
                </a:cubicBezTo>
                <a:cubicBezTo>
                  <a:pt x="32" y="159"/>
                  <a:pt x="27" y="152"/>
                  <a:pt x="26" y="143"/>
                </a:cubicBezTo>
                <a:cubicBezTo>
                  <a:pt x="26" y="143"/>
                  <a:pt x="26" y="142"/>
                  <a:pt x="26" y="142"/>
                </a:cubicBezTo>
                <a:cubicBezTo>
                  <a:pt x="26" y="135"/>
                  <a:pt x="28" y="127"/>
                  <a:pt x="38" y="125"/>
                </a:cubicBezTo>
                <a:cubicBezTo>
                  <a:pt x="43" y="124"/>
                  <a:pt x="47" y="121"/>
                  <a:pt x="49" y="116"/>
                </a:cubicBezTo>
                <a:cubicBezTo>
                  <a:pt x="49" y="114"/>
                  <a:pt x="49" y="114"/>
                  <a:pt x="49" y="114"/>
                </a:cubicBezTo>
                <a:cubicBezTo>
                  <a:pt x="50" y="113"/>
                  <a:pt x="50" y="111"/>
                  <a:pt x="50" y="110"/>
                </a:cubicBezTo>
                <a:cubicBezTo>
                  <a:pt x="50" y="108"/>
                  <a:pt x="49" y="105"/>
                  <a:pt x="48" y="103"/>
                </a:cubicBezTo>
                <a:cubicBezTo>
                  <a:pt x="45" y="100"/>
                  <a:pt x="42" y="97"/>
                  <a:pt x="38" y="97"/>
                </a:cubicBezTo>
                <a:cubicBezTo>
                  <a:pt x="33" y="96"/>
                  <a:pt x="27" y="89"/>
                  <a:pt x="26" y="79"/>
                </a:cubicBezTo>
                <a:cubicBezTo>
                  <a:pt x="26" y="78"/>
                  <a:pt x="26" y="78"/>
                  <a:pt x="26" y="77"/>
                </a:cubicBezTo>
                <a:cubicBezTo>
                  <a:pt x="26" y="72"/>
                  <a:pt x="28" y="61"/>
                  <a:pt x="38" y="60"/>
                </a:cubicBezTo>
                <a:cubicBezTo>
                  <a:pt x="39" y="59"/>
                  <a:pt x="41" y="59"/>
                  <a:pt x="42" y="58"/>
                </a:cubicBezTo>
                <a:cubicBezTo>
                  <a:pt x="71" y="42"/>
                  <a:pt x="71" y="42"/>
                  <a:pt x="71" y="42"/>
                </a:cubicBezTo>
                <a:cubicBezTo>
                  <a:pt x="71" y="42"/>
                  <a:pt x="71" y="42"/>
                  <a:pt x="71" y="42"/>
                </a:cubicBezTo>
                <a:cubicBezTo>
                  <a:pt x="78" y="38"/>
                  <a:pt x="100" y="28"/>
                  <a:pt x="106" y="27"/>
                </a:cubicBezTo>
                <a:cubicBezTo>
                  <a:pt x="113" y="27"/>
                  <a:pt x="158" y="34"/>
                  <a:pt x="188" y="39"/>
                </a:cubicBezTo>
                <a:cubicBezTo>
                  <a:pt x="189" y="39"/>
                  <a:pt x="190" y="39"/>
                  <a:pt x="191" y="39"/>
                </a:cubicBezTo>
                <a:cubicBezTo>
                  <a:pt x="230" y="35"/>
                  <a:pt x="230" y="35"/>
                  <a:pt x="230" y="35"/>
                </a:cubicBezTo>
                <a:cubicBezTo>
                  <a:pt x="230" y="35"/>
                  <a:pt x="231" y="35"/>
                  <a:pt x="231" y="35"/>
                </a:cubicBezTo>
                <a:cubicBezTo>
                  <a:pt x="236" y="35"/>
                  <a:pt x="241" y="36"/>
                  <a:pt x="245" y="38"/>
                </a:cubicBezTo>
                <a:cubicBezTo>
                  <a:pt x="246" y="39"/>
                  <a:pt x="248" y="41"/>
                  <a:pt x="249" y="44"/>
                </a:cubicBezTo>
                <a:cubicBezTo>
                  <a:pt x="251" y="57"/>
                  <a:pt x="251" y="57"/>
                  <a:pt x="251" y="57"/>
                </a:cubicBezTo>
                <a:cubicBezTo>
                  <a:pt x="251" y="64"/>
                  <a:pt x="245" y="70"/>
                  <a:pt x="236" y="71"/>
                </a:cubicBezTo>
                <a:cubicBezTo>
                  <a:pt x="93" y="92"/>
                  <a:pt x="93" y="92"/>
                  <a:pt x="93" y="92"/>
                </a:cubicBezTo>
                <a:cubicBezTo>
                  <a:pt x="86" y="93"/>
                  <a:pt x="81" y="100"/>
                  <a:pt x="82" y="107"/>
                </a:cubicBezTo>
                <a:cubicBezTo>
                  <a:pt x="83" y="114"/>
                  <a:pt x="90" y="119"/>
                  <a:pt x="97" y="118"/>
                </a:cubicBezTo>
                <a:cubicBezTo>
                  <a:pt x="238" y="98"/>
                  <a:pt x="238" y="98"/>
                  <a:pt x="238" y="98"/>
                </a:cubicBezTo>
                <a:cubicBezTo>
                  <a:pt x="238" y="98"/>
                  <a:pt x="239" y="98"/>
                  <a:pt x="239" y="98"/>
                </a:cubicBezTo>
                <a:cubicBezTo>
                  <a:pt x="245" y="100"/>
                  <a:pt x="248" y="105"/>
                  <a:pt x="249" y="109"/>
                </a:cubicBezTo>
                <a:cubicBezTo>
                  <a:pt x="251" y="122"/>
                  <a:pt x="251" y="122"/>
                  <a:pt x="251" y="122"/>
                </a:cubicBezTo>
                <a:cubicBezTo>
                  <a:pt x="251" y="128"/>
                  <a:pt x="245" y="135"/>
                  <a:pt x="236" y="137"/>
                </a:cubicBezTo>
                <a:cubicBezTo>
                  <a:pt x="235" y="137"/>
                  <a:pt x="234" y="137"/>
                  <a:pt x="233" y="138"/>
                </a:cubicBezTo>
                <a:cubicBezTo>
                  <a:pt x="231" y="138"/>
                  <a:pt x="229" y="138"/>
                  <a:pt x="227" y="138"/>
                </a:cubicBezTo>
                <a:cubicBezTo>
                  <a:pt x="227" y="138"/>
                  <a:pt x="227" y="138"/>
                  <a:pt x="227" y="138"/>
                </a:cubicBezTo>
                <a:cubicBezTo>
                  <a:pt x="96" y="155"/>
                  <a:pt x="96" y="155"/>
                  <a:pt x="96" y="155"/>
                </a:cubicBezTo>
                <a:cubicBezTo>
                  <a:pt x="89" y="156"/>
                  <a:pt x="84" y="162"/>
                  <a:pt x="85" y="169"/>
                </a:cubicBezTo>
                <a:cubicBezTo>
                  <a:pt x="85" y="177"/>
                  <a:pt x="92" y="182"/>
                  <a:pt x="99" y="181"/>
                </a:cubicBezTo>
                <a:cubicBezTo>
                  <a:pt x="231" y="165"/>
                  <a:pt x="231" y="165"/>
                  <a:pt x="231" y="165"/>
                </a:cubicBezTo>
                <a:cubicBezTo>
                  <a:pt x="231" y="165"/>
                  <a:pt x="231" y="165"/>
                  <a:pt x="231" y="165"/>
                </a:cubicBezTo>
                <a:cubicBezTo>
                  <a:pt x="236" y="164"/>
                  <a:pt x="241" y="165"/>
                  <a:pt x="245" y="168"/>
                </a:cubicBezTo>
                <a:cubicBezTo>
                  <a:pt x="246" y="169"/>
                  <a:pt x="248" y="171"/>
                  <a:pt x="249" y="174"/>
                </a:cubicBezTo>
                <a:cubicBezTo>
                  <a:pt x="251" y="187"/>
                  <a:pt x="251" y="187"/>
                  <a:pt x="251" y="187"/>
                </a:cubicBezTo>
                <a:cubicBezTo>
                  <a:pt x="251" y="187"/>
                  <a:pt x="251" y="187"/>
                  <a:pt x="251" y="188"/>
                </a:cubicBezTo>
                <a:cubicBezTo>
                  <a:pt x="251" y="194"/>
                  <a:pt x="244" y="199"/>
                  <a:pt x="236" y="200"/>
                </a:cubicBezTo>
                <a:cubicBezTo>
                  <a:pt x="236" y="200"/>
                  <a:pt x="90" y="224"/>
                  <a:pt x="90" y="224"/>
                </a:cubicBezTo>
                <a:cubicBezTo>
                  <a:pt x="90" y="224"/>
                  <a:pt x="89" y="224"/>
                  <a:pt x="89" y="224"/>
                </a:cubicBezTo>
                <a:cubicBezTo>
                  <a:pt x="81" y="226"/>
                  <a:pt x="62" y="233"/>
                  <a:pt x="58" y="247"/>
                </a:cubicBezTo>
                <a:cubicBezTo>
                  <a:pt x="58" y="248"/>
                  <a:pt x="58" y="250"/>
                  <a:pt x="58" y="252"/>
                </a:cubicBezTo>
                <a:cubicBezTo>
                  <a:pt x="58" y="257"/>
                  <a:pt x="60" y="262"/>
                  <a:pt x="64" y="267"/>
                </a:cubicBezTo>
                <a:cubicBezTo>
                  <a:pt x="68" y="270"/>
                  <a:pt x="72" y="274"/>
                  <a:pt x="76" y="278"/>
                </a:cubicBezTo>
                <a:cubicBezTo>
                  <a:pt x="66" y="278"/>
                  <a:pt x="54" y="278"/>
                  <a:pt x="54" y="278"/>
                </a:cubicBezTo>
                <a:cubicBezTo>
                  <a:pt x="49" y="278"/>
                  <a:pt x="43" y="281"/>
                  <a:pt x="42" y="287"/>
                </a:cubicBezTo>
                <a:cubicBezTo>
                  <a:pt x="41" y="288"/>
                  <a:pt x="36" y="302"/>
                  <a:pt x="36" y="321"/>
                </a:cubicBezTo>
                <a:cubicBezTo>
                  <a:pt x="36" y="333"/>
                  <a:pt x="38" y="347"/>
                  <a:pt x="46" y="360"/>
                </a:cubicBezTo>
                <a:cubicBezTo>
                  <a:pt x="55" y="377"/>
                  <a:pt x="70" y="388"/>
                  <a:pt x="91" y="394"/>
                </a:cubicBezTo>
                <a:cubicBezTo>
                  <a:pt x="92" y="420"/>
                  <a:pt x="95" y="436"/>
                  <a:pt x="95" y="437"/>
                </a:cubicBezTo>
                <a:cubicBezTo>
                  <a:pt x="95" y="438"/>
                  <a:pt x="96" y="440"/>
                  <a:pt x="97" y="441"/>
                </a:cubicBezTo>
                <a:cubicBezTo>
                  <a:pt x="98" y="443"/>
                  <a:pt x="108" y="459"/>
                  <a:pt x="137" y="459"/>
                </a:cubicBezTo>
                <a:cubicBezTo>
                  <a:pt x="139" y="459"/>
                  <a:pt x="139" y="459"/>
                  <a:pt x="139" y="459"/>
                </a:cubicBezTo>
                <a:cubicBezTo>
                  <a:pt x="169" y="459"/>
                  <a:pt x="179" y="443"/>
                  <a:pt x="180" y="441"/>
                </a:cubicBezTo>
                <a:cubicBezTo>
                  <a:pt x="181" y="440"/>
                  <a:pt x="181" y="438"/>
                  <a:pt x="182" y="437"/>
                </a:cubicBezTo>
                <a:cubicBezTo>
                  <a:pt x="182" y="436"/>
                  <a:pt x="185" y="420"/>
                  <a:pt x="186" y="394"/>
                </a:cubicBezTo>
                <a:cubicBezTo>
                  <a:pt x="207" y="388"/>
                  <a:pt x="222" y="377"/>
                  <a:pt x="231" y="360"/>
                </a:cubicBezTo>
                <a:cubicBezTo>
                  <a:pt x="238" y="347"/>
                  <a:pt x="241" y="333"/>
                  <a:pt x="241" y="321"/>
                </a:cubicBezTo>
                <a:cubicBezTo>
                  <a:pt x="241" y="302"/>
                  <a:pt x="235" y="288"/>
                  <a:pt x="235" y="287"/>
                </a:cubicBezTo>
                <a:cubicBezTo>
                  <a:pt x="233" y="281"/>
                  <a:pt x="228" y="278"/>
                  <a:pt x="223" y="278"/>
                </a:cubicBezTo>
                <a:cubicBezTo>
                  <a:pt x="223" y="278"/>
                  <a:pt x="203" y="278"/>
                  <a:pt x="186" y="278"/>
                </a:cubicBezTo>
                <a:cubicBezTo>
                  <a:pt x="187" y="276"/>
                  <a:pt x="188" y="272"/>
                  <a:pt x="188" y="272"/>
                </a:cubicBezTo>
                <a:cubicBezTo>
                  <a:pt x="189" y="270"/>
                  <a:pt x="189" y="269"/>
                  <a:pt x="189" y="267"/>
                </a:cubicBezTo>
                <a:cubicBezTo>
                  <a:pt x="189" y="262"/>
                  <a:pt x="186" y="257"/>
                  <a:pt x="181" y="255"/>
                </a:cubicBezTo>
                <a:cubicBezTo>
                  <a:pt x="174" y="252"/>
                  <a:pt x="166" y="255"/>
                  <a:pt x="163" y="262"/>
                </a:cubicBezTo>
                <a:cubicBezTo>
                  <a:pt x="154" y="286"/>
                  <a:pt x="154" y="286"/>
                  <a:pt x="154" y="286"/>
                </a:cubicBezTo>
                <a:cubicBezTo>
                  <a:pt x="152" y="290"/>
                  <a:pt x="153" y="295"/>
                  <a:pt x="156" y="299"/>
                </a:cubicBezTo>
                <a:cubicBezTo>
                  <a:pt x="158" y="302"/>
                  <a:pt x="162" y="304"/>
                  <a:pt x="167" y="304"/>
                </a:cubicBezTo>
                <a:cubicBezTo>
                  <a:pt x="167" y="304"/>
                  <a:pt x="199" y="304"/>
                  <a:pt x="212" y="304"/>
                </a:cubicBezTo>
                <a:cubicBezTo>
                  <a:pt x="213" y="309"/>
                  <a:pt x="214" y="315"/>
                  <a:pt x="214" y="321"/>
                </a:cubicBezTo>
                <a:cubicBezTo>
                  <a:pt x="214" y="330"/>
                  <a:pt x="213" y="339"/>
                  <a:pt x="208" y="347"/>
                </a:cubicBezTo>
                <a:cubicBezTo>
                  <a:pt x="201" y="359"/>
                  <a:pt x="189" y="367"/>
                  <a:pt x="170" y="371"/>
                </a:cubicBezTo>
                <a:cubicBezTo>
                  <a:pt x="164" y="372"/>
                  <a:pt x="160" y="377"/>
                  <a:pt x="160" y="383"/>
                </a:cubicBezTo>
                <a:cubicBezTo>
                  <a:pt x="159" y="405"/>
                  <a:pt x="157" y="421"/>
                  <a:pt x="156" y="428"/>
                </a:cubicBezTo>
                <a:cubicBezTo>
                  <a:pt x="154" y="430"/>
                  <a:pt x="149" y="432"/>
                  <a:pt x="140" y="432"/>
                </a:cubicBezTo>
                <a:cubicBezTo>
                  <a:pt x="140" y="432"/>
                  <a:pt x="137" y="432"/>
                  <a:pt x="137" y="432"/>
                </a:cubicBezTo>
                <a:cubicBezTo>
                  <a:pt x="128" y="432"/>
                  <a:pt x="123" y="430"/>
                  <a:pt x="121" y="428"/>
                </a:cubicBezTo>
                <a:cubicBezTo>
                  <a:pt x="120" y="421"/>
                  <a:pt x="118" y="405"/>
                  <a:pt x="117" y="383"/>
                </a:cubicBezTo>
                <a:cubicBezTo>
                  <a:pt x="117" y="377"/>
                  <a:pt x="112" y="372"/>
                  <a:pt x="106" y="371"/>
                </a:cubicBezTo>
                <a:cubicBezTo>
                  <a:pt x="88" y="367"/>
                  <a:pt x="76" y="359"/>
                  <a:pt x="69" y="347"/>
                </a:cubicBezTo>
                <a:cubicBezTo>
                  <a:pt x="64" y="339"/>
                  <a:pt x="63" y="330"/>
                  <a:pt x="63" y="321"/>
                </a:cubicBezTo>
                <a:cubicBezTo>
                  <a:pt x="63" y="315"/>
                  <a:pt x="64" y="309"/>
                  <a:pt x="64" y="304"/>
                </a:cubicBezTo>
                <a:cubicBezTo>
                  <a:pt x="78" y="304"/>
                  <a:pt x="110" y="304"/>
                  <a:pt x="110" y="304"/>
                </a:cubicBezTo>
                <a:cubicBezTo>
                  <a:pt x="116" y="304"/>
                  <a:pt x="121" y="301"/>
                  <a:pt x="123" y="296"/>
                </a:cubicBezTo>
                <a:cubicBezTo>
                  <a:pt x="123" y="294"/>
                  <a:pt x="124" y="293"/>
                  <a:pt x="124" y="291"/>
                </a:cubicBezTo>
                <a:cubicBezTo>
                  <a:pt x="124" y="287"/>
                  <a:pt x="122" y="284"/>
                  <a:pt x="119" y="281"/>
                </a:cubicBezTo>
                <a:cubicBezTo>
                  <a:pt x="119" y="281"/>
                  <a:pt x="101" y="265"/>
                  <a:pt x="88" y="253"/>
                </a:cubicBezTo>
                <a:cubicBezTo>
                  <a:pt x="90" y="252"/>
                  <a:pt x="93" y="251"/>
                  <a:pt x="95" y="250"/>
                </a:cubicBezTo>
                <a:cubicBezTo>
                  <a:pt x="97" y="250"/>
                  <a:pt x="240" y="227"/>
                  <a:pt x="240" y="227"/>
                </a:cubicBezTo>
                <a:cubicBezTo>
                  <a:pt x="240" y="227"/>
                  <a:pt x="240" y="227"/>
                  <a:pt x="240" y="227"/>
                </a:cubicBezTo>
                <a:cubicBezTo>
                  <a:pt x="263" y="223"/>
                  <a:pt x="280" y="204"/>
                  <a:pt x="277" y="183"/>
                </a:cubicBezTo>
                <a:lnTo>
                  <a:pt x="275" y="17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38" name="Freeform 529"/>
          <p:cNvSpPr>
            <a:spLocks noEditPoints="1"/>
          </p:cNvSpPr>
          <p:nvPr userDrawn="1"/>
        </p:nvSpPr>
        <p:spPr bwMode="auto">
          <a:xfrm>
            <a:off x="7483240" y="1874206"/>
            <a:ext cx="284634" cy="214313"/>
          </a:xfrm>
          <a:custGeom>
            <a:avLst/>
            <a:gdLst/>
            <a:ahLst/>
            <a:cxnLst>
              <a:cxn ang="0">
                <a:pos x="315" y="4"/>
              </a:cxn>
              <a:cxn ang="0">
                <a:pos x="260" y="34"/>
              </a:cxn>
              <a:cxn ang="0">
                <a:pos x="201" y="2"/>
              </a:cxn>
              <a:cxn ang="0">
                <a:pos x="192" y="4"/>
              </a:cxn>
              <a:cxn ang="0">
                <a:pos x="137" y="34"/>
              </a:cxn>
              <a:cxn ang="0">
                <a:pos x="69" y="4"/>
              </a:cxn>
              <a:cxn ang="0">
                <a:pos x="65" y="8"/>
              </a:cxn>
              <a:cxn ang="0">
                <a:pos x="1" y="46"/>
              </a:cxn>
              <a:cxn ang="0">
                <a:pos x="4" y="120"/>
              </a:cxn>
              <a:cxn ang="0">
                <a:pos x="136" y="131"/>
              </a:cxn>
              <a:cxn ang="0">
                <a:pos x="260" y="131"/>
              </a:cxn>
              <a:cxn ang="0">
                <a:pos x="309" y="204"/>
              </a:cxn>
              <a:cxn ang="0">
                <a:pos x="209" y="201"/>
              </a:cxn>
              <a:cxn ang="0">
                <a:pos x="192" y="198"/>
              </a:cxn>
              <a:cxn ang="0">
                <a:pos x="137" y="227"/>
              </a:cxn>
              <a:cxn ang="0">
                <a:pos x="69" y="198"/>
              </a:cxn>
              <a:cxn ang="0">
                <a:pos x="65" y="202"/>
              </a:cxn>
              <a:cxn ang="0">
                <a:pos x="1" y="240"/>
              </a:cxn>
              <a:cxn ang="0">
                <a:pos x="75" y="228"/>
              </a:cxn>
              <a:cxn ang="0">
                <a:pos x="199" y="228"/>
              </a:cxn>
              <a:cxn ang="0">
                <a:pos x="332" y="216"/>
              </a:cxn>
              <a:cxn ang="0">
                <a:pos x="334" y="143"/>
              </a:cxn>
              <a:cxn ang="0">
                <a:pos x="270" y="105"/>
              </a:cxn>
              <a:cxn ang="0">
                <a:pos x="253" y="101"/>
              </a:cxn>
              <a:cxn ang="0">
                <a:pos x="198" y="130"/>
              </a:cxn>
              <a:cxn ang="0">
                <a:pos x="130" y="101"/>
              </a:cxn>
              <a:cxn ang="0">
                <a:pos x="126" y="105"/>
              </a:cxn>
              <a:cxn ang="0">
                <a:pos x="26" y="107"/>
              </a:cxn>
              <a:cxn ang="0">
                <a:pos x="75" y="34"/>
              </a:cxn>
              <a:cxn ang="0">
                <a:pos x="199" y="34"/>
              </a:cxn>
              <a:cxn ang="0">
                <a:pos x="332" y="22"/>
              </a:cxn>
              <a:cxn ang="0">
                <a:pos x="333" y="8"/>
              </a:cxn>
              <a:cxn ang="0">
                <a:pos x="330" y="24"/>
              </a:cxn>
              <a:cxn ang="0">
                <a:pos x="330" y="24"/>
              </a:cxn>
              <a:cxn ang="0">
                <a:pos x="330" y="218"/>
              </a:cxn>
            </a:cxnLst>
            <a:rect l="0" t="0" r="r" b="b"/>
            <a:pathLst>
              <a:path w="335" h="253">
                <a:moveTo>
                  <a:pt x="316" y="4"/>
                </a:moveTo>
                <a:cubicBezTo>
                  <a:pt x="315" y="4"/>
                  <a:pt x="315" y="4"/>
                  <a:pt x="315" y="4"/>
                </a:cubicBezTo>
                <a:cubicBezTo>
                  <a:pt x="314" y="5"/>
                  <a:pt x="312" y="6"/>
                  <a:pt x="311" y="8"/>
                </a:cubicBezTo>
                <a:cubicBezTo>
                  <a:pt x="301" y="24"/>
                  <a:pt x="281" y="34"/>
                  <a:pt x="260" y="34"/>
                </a:cubicBezTo>
                <a:cubicBezTo>
                  <a:pt x="239" y="34"/>
                  <a:pt x="220" y="24"/>
                  <a:pt x="209" y="8"/>
                </a:cubicBezTo>
                <a:cubicBezTo>
                  <a:pt x="207" y="5"/>
                  <a:pt x="205" y="3"/>
                  <a:pt x="201" y="2"/>
                </a:cubicBezTo>
                <a:cubicBezTo>
                  <a:pt x="198" y="2"/>
                  <a:pt x="195" y="2"/>
                  <a:pt x="192" y="4"/>
                </a:cubicBezTo>
                <a:cubicBezTo>
                  <a:pt x="192" y="4"/>
                  <a:pt x="192" y="4"/>
                  <a:pt x="192" y="4"/>
                </a:cubicBezTo>
                <a:cubicBezTo>
                  <a:pt x="190" y="5"/>
                  <a:pt x="189" y="6"/>
                  <a:pt x="188" y="8"/>
                </a:cubicBezTo>
                <a:cubicBezTo>
                  <a:pt x="178" y="24"/>
                  <a:pt x="158" y="34"/>
                  <a:pt x="137" y="34"/>
                </a:cubicBezTo>
                <a:cubicBezTo>
                  <a:pt x="116" y="34"/>
                  <a:pt x="96" y="24"/>
                  <a:pt x="86" y="8"/>
                </a:cubicBezTo>
                <a:cubicBezTo>
                  <a:pt x="82" y="2"/>
                  <a:pt x="74" y="0"/>
                  <a:pt x="69" y="4"/>
                </a:cubicBezTo>
                <a:cubicBezTo>
                  <a:pt x="68" y="4"/>
                  <a:pt x="68" y="4"/>
                  <a:pt x="68" y="4"/>
                </a:cubicBezTo>
                <a:cubicBezTo>
                  <a:pt x="67" y="5"/>
                  <a:pt x="66" y="6"/>
                  <a:pt x="65" y="8"/>
                </a:cubicBezTo>
                <a:cubicBezTo>
                  <a:pt x="54" y="24"/>
                  <a:pt x="35" y="34"/>
                  <a:pt x="14" y="34"/>
                </a:cubicBezTo>
                <a:cubicBezTo>
                  <a:pt x="7" y="34"/>
                  <a:pt x="1" y="39"/>
                  <a:pt x="1" y="46"/>
                </a:cubicBezTo>
                <a:cubicBezTo>
                  <a:pt x="1" y="46"/>
                  <a:pt x="0" y="112"/>
                  <a:pt x="0" y="112"/>
                </a:cubicBezTo>
                <a:cubicBezTo>
                  <a:pt x="0" y="115"/>
                  <a:pt x="1" y="118"/>
                  <a:pt x="4" y="120"/>
                </a:cubicBezTo>
                <a:cubicBezTo>
                  <a:pt x="19" y="142"/>
                  <a:pt x="46" y="156"/>
                  <a:pt x="75" y="156"/>
                </a:cubicBezTo>
                <a:cubicBezTo>
                  <a:pt x="98" y="156"/>
                  <a:pt x="121" y="147"/>
                  <a:pt x="136" y="131"/>
                </a:cubicBezTo>
                <a:cubicBezTo>
                  <a:pt x="152" y="147"/>
                  <a:pt x="174" y="156"/>
                  <a:pt x="198" y="156"/>
                </a:cubicBezTo>
                <a:cubicBezTo>
                  <a:pt x="221" y="156"/>
                  <a:pt x="244" y="147"/>
                  <a:pt x="260" y="131"/>
                </a:cubicBezTo>
                <a:cubicBezTo>
                  <a:pt x="272" y="144"/>
                  <a:pt x="290" y="152"/>
                  <a:pt x="309" y="155"/>
                </a:cubicBezTo>
                <a:cubicBezTo>
                  <a:pt x="309" y="169"/>
                  <a:pt x="309" y="198"/>
                  <a:pt x="309" y="204"/>
                </a:cubicBezTo>
                <a:cubicBezTo>
                  <a:pt x="298" y="218"/>
                  <a:pt x="280" y="227"/>
                  <a:pt x="260" y="227"/>
                </a:cubicBezTo>
                <a:cubicBezTo>
                  <a:pt x="239" y="227"/>
                  <a:pt x="220" y="217"/>
                  <a:pt x="209" y="201"/>
                </a:cubicBezTo>
                <a:cubicBezTo>
                  <a:pt x="206" y="196"/>
                  <a:pt x="198" y="194"/>
                  <a:pt x="192" y="198"/>
                </a:cubicBezTo>
                <a:cubicBezTo>
                  <a:pt x="192" y="198"/>
                  <a:pt x="192" y="198"/>
                  <a:pt x="192" y="198"/>
                </a:cubicBezTo>
                <a:cubicBezTo>
                  <a:pt x="190" y="199"/>
                  <a:pt x="189" y="200"/>
                  <a:pt x="188" y="202"/>
                </a:cubicBezTo>
                <a:cubicBezTo>
                  <a:pt x="178" y="217"/>
                  <a:pt x="158" y="227"/>
                  <a:pt x="137" y="227"/>
                </a:cubicBezTo>
                <a:cubicBezTo>
                  <a:pt x="116" y="227"/>
                  <a:pt x="96" y="217"/>
                  <a:pt x="86" y="201"/>
                </a:cubicBezTo>
                <a:cubicBezTo>
                  <a:pt x="82" y="196"/>
                  <a:pt x="75" y="194"/>
                  <a:pt x="69" y="198"/>
                </a:cubicBezTo>
                <a:cubicBezTo>
                  <a:pt x="69" y="198"/>
                  <a:pt x="69" y="198"/>
                  <a:pt x="69" y="198"/>
                </a:cubicBezTo>
                <a:cubicBezTo>
                  <a:pt x="67" y="199"/>
                  <a:pt x="66" y="200"/>
                  <a:pt x="65" y="202"/>
                </a:cubicBezTo>
                <a:cubicBezTo>
                  <a:pt x="54" y="217"/>
                  <a:pt x="35" y="227"/>
                  <a:pt x="14" y="227"/>
                </a:cubicBezTo>
                <a:cubicBezTo>
                  <a:pt x="7" y="227"/>
                  <a:pt x="1" y="233"/>
                  <a:pt x="1" y="240"/>
                </a:cubicBezTo>
                <a:cubicBezTo>
                  <a:pt x="1" y="247"/>
                  <a:pt x="7" y="253"/>
                  <a:pt x="14" y="253"/>
                </a:cubicBezTo>
                <a:cubicBezTo>
                  <a:pt x="37" y="253"/>
                  <a:pt x="60" y="244"/>
                  <a:pt x="75" y="228"/>
                </a:cubicBezTo>
                <a:cubicBezTo>
                  <a:pt x="91" y="244"/>
                  <a:pt x="113" y="253"/>
                  <a:pt x="137" y="253"/>
                </a:cubicBezTo>
                <a:cubicBezTo>
                  <a:pt x="161" y="253"/>
                  <a:pt x="183" y="244"/>
                  <a:pt x="199" y="228"/>
                </a:cubicBezTo>
                <a:cubicBezTo>
                  <a:pt x="214" y="244"/>
                  <a:pt x="237" y="253"/>
                  <a:pt x="260" y="253"/>
                </a:cubicBezTo>
                <a:cubicBezTo>
                  <a:pt x="290" y="253"/>
                  <a:pt x="317" y="239"/>
                  <a:pt x="332" y="216"/>
                </a:cubicBezTo>
                <a:cubicBezTo>
                  <a:pt x="334" y="214"/>
                  <a:pt x="335" y="211"/>
                  <a:pt x="335" y="208"/>
                </a:cubicBezTo>
                <a:cubicBezTo>
                  <a:pt x="335" y="208"/>
                  <a:pt x="334" y="143"/>
                  <a:pt x="334" y="143"/>
                </a:cubicBezTo>
                <a:cubicBezTo>
                  <a:pt x="334" y="136"/>
                  <a:pt x="328" y="130"/>
                  <a:pt x="321" y="130"/>
                </a:cubicBezTo>
                <a:cubicBezTo>
                  <a:pt x="300" y="130"/>
                  <a:pt x="281" y="121"/>
                  <a:pt x="270" y="105"/>
                </a:cubicBezTo>
                <a:cubicBezTo>
                  <a:pt x="267" y="99"/>
                  <a:pt x="259" y="97"/>
                  <a:pt x="253" y="101"/>
                </a:cubicBezTo>
                <a:cubicBezTo>
                  <a:pt x="253" y="101"/>
                  <a:pt x="253" y="101"/>
                  <a:pt x="253" y="101"/>
                </a:cubicBezTo>
                <a:cubicBezTo>
                  <a:pt x="251" y="102"/>
                  <a:pt x="250" y="103"/>
                  <a:pt x="249" y="105"/>
                </a:cubicBezTo>
                <a:cubicBezTo>
                  <a:pt x="238" y="121"/>
                  <a:pt x="219" y="130"/>
                  <a:pt x="198" y="130"/>
                </a:cubicBezTo>
                <a:cubicBezTo>
                  <a:pt x="177" y="130"/>
                  <a:pt x="157" y="121"/>
                  <a:pt x="147" y="105"/>
                </a:cubicBezTo>
                <a:cubicBezTo>
                  <a:pt x="143" y="99"/>
                  <a:pt x="136" y="97"/>
                  <a:pt x="130" y="101"/>
                </a:cubicBezTo>
                <a:cubicBezTo>
                  <a:pt x="130" y="101"/>
                  <a:pt x="130" y="101"/>
                  <a:pt x="130" y="101"/>
                </a:cubicBezTo>
                <a:cubicBezTo>
                  <a:pt x="128" y="102"/>
                  <a:pt x="127" y="103"/>
                  <a:pt x="126" y="105"/>
                </a:cubicBezTo>
                <a:cubicBezTo>
                  <a:pt x="115" y="121"/>
                  <a:pt x="96" y="130"/>
                  <a:pt x="75" y="130"/>
                </a:cubicBezTo>
                <a:cubicBezTo>
                  <a:pt x="55" y="130"/>
                  <a:pt x="36" y="122"/>
                  <a:pt x="26" y="107"/>
                </a:cubicBezTo>
                <a:cubicBezTo>
                  <a:pt x="26" y="101"/>
                  <a:pt x="26" y="72"/>
                  <a:pt x="26" y="58"/>
                </a:cubicBezTo>
                <a:cubicBezTo>
                  <a:pt x="45" y="55"/>
                  <a:pt x="62" y="47"/>
                  <a:pt x="75" y="34"/>
                </a:cubicBezTo>
                <a:cubicBezTo>
                  <a:pt x="91" y="50"/>
                  <a:pt x="113" y="59"/>
                  <a:pt x="137" y="59"/>
                </a:cubicBezTo>
                <a:cubicBezTo>
                  <a:pt x="161" y="59"/>
                  <a:pt x="183" y="50"/>
                  <a:pt x="199" y="34"/>
                </a:cubicBezTo>
                <a:cubicBezTo>
                  <a:pt x="214" y="50"/>
                  <a:pt x="237" y="59"/>
                  <a:pt x="260" y="59"/>
                </a:cubicBezTo>
                <a:cubicBezTo>
                  <a:pt x="290" y="59"/>
                  <a:pt x="317" y="45"/>
                  <a:pt x="332" y="22"/>
                </a:cubicBezTo>
                <a:cubicBezTo>
                  <a:pt x="334" y="20"/>
                  <a:pt x="335" y="17"/>
                  <a:pt x="335" y="15"/>
                </a:cubicBezTo>
                <a:cubicBezTo>
                  <a:pt x="335" y="13"/>
                  <a:pt x="334" y="10"/>
                  <a:pt x="333" y="8"/>
                </a:cubicBezTo>
                <a:cubicBezTo>
                  <a:pt x="329" y="2"/>
                  <a:pt x="322" y="0"/>
                  <a:pt x="316" y="4"/>
                </a:cubicBezTo>
                <a:close/>
                <a:moveTo>
                  <a:pt x="330" y="24"/>
                </a:moveTo>
                <a:cubicBezTo>
                  <a:pt x="330" y="24"/>
                  <a:pt x="330" y="24"/>
                  <a:pt x="329" y="25"/>
                </a:cubicBezTo>
                <a:cubicBezTo>
                  <a:pt x="330" y="24"/>
                  <a:pt x="330" y="24"/>
                  <a:pt x="330" y="24"/>
                </a:cubicBezTo>
                <a:close/>
                <a:moveTo>
                  <a:pt x="330" y="218"/>
                </a:moveTo>
                <a:cubicBezTo>
                  <a:pt x="330" y="218"/>
                  <a:pt x="330" y="218"/>
                  <a:pt x="330" y="218"/>
                </a:cubicBezTo>
                <a:cubicBezTo>
                  <a:pt x="330" y="218"/>
                  <a:pt x="330" y="218"/>
                  <a:pt x="330" y="21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39" name="Freeform 588"/>
          <p:cNvSpPr>
            <a:spLocks/>
          </p:cNvSpPr>
          <p:nvPr userDrawn="1"/>
        </p:nvSpPr>
        <p:spPr bwMode="auto">
          <a:xfrm>
            <a:off x="7452872" y="2805453"/>
            <a:ext cx="345371" cy="294085"/>
          </a:xfrm>
          <a:custGeom>
            <a:avLst/>
            <a:gdLst/>
            <a:ahLst/>
            <a:cxnLst>
              <a:cxn ang="0">
                <a:pos x="26" y="70"/>
              </a:cxn>
              <a:cxn ang="0">
                <a:pos x="6" y="162"/>
              </a:cxn>
              <a:cxn ang="0">
                <a:pos x="57" y="242"/>
              </a:cxn>
              <a:cxn ang="0">
                <a:pos x="150" y="262"/>
              </a:cxn>
              <a:cxn ang="0">
                <a:pos x="192" y="245"/>
              </a:cxn>
              <a:cxn ang="0">
                <a:pos x="197" y="227"/>
              </a:cxn>
              <a:cxn ang="0">
                <a:pos x="178" y="223"/>
              </a:cxn>
              <a:cxn ang="0">
                <a:pos x="145" y="235"/>
              </a:cxn>
              <a:cxn ang="0">
                <a:pos x="72" y="220"/>
              </a:cxn>
              <a:cxn ang="0">
                <a:pos x="32" y="157"/>
              </a:cxn>
              <a:cxn ang="0">
                <a:pos x="48" y="85"/>
              </a:cxn>
              <a:cxn ang="0">
                <a:pos x="183" y="60"/>
              </a:cxn>
              <a:cxn ang="0">
                <a:pos x="215" y="183"/>
              </a:cxn>
              <a:cxn ang="0">
                <a:pos x="217" y="198"/>
              </a:cxn>
              <a:cxn ang="0">
                <a:pos x="232" y="201"/>
              </a:cxn>
              <a:cxn ang="0">
                <a:pos x="248" y="202"/>
              </a:cxn>
              <a:cxn ang="0">
                <a:pos x="373" y="289"/>
              </a:cxn>
              <a:cxn ang="0">
                <a:pos x="377" y="312"/>
              </a:cxn>
              <a:cxn ang="0">
                <a:pos x="366" y="319"/>
              </a:cxn>
              <a:cxn ang="0">
                <a:pos x="353" y="317"/>
              </a:cxn>
              <a:cxn ang="0">
                <a:pos x="248" y="244"/>
              </a:cxn>
              <a:cxn ang="0">
                <a:pos x="230" y="247"/>
              </a:cxn>
              <a:cxn ang="0">
                <a:pos x="233" y="266"/>
              </a:cxn>
              <a:cxn ang="0">
                <a:pos x="338" y="339"/>
              </a:cxn>
              <a:cxn ang="0">
                <a:pos x="371" y="346"/>
              </a:cxn>
              <a:cxn ang="0">
                <a:pos x="399" y="327"/>
              </a:cxn>
              <a:cxn ang="0">
                <a:pos x="407" y="303"/>
              </a:cxn>
              <a:cxn ang="0">
                <a:pos x="388" y="267"/>
              </a:cxn>
              <a:cxn ang="0">
                <a:pos x="263" y="180"/>
              </a:cxn>
              <a:cxn ang="0">
                <a:pos x="246" y="174"/>
              </a:cxn>
              <a:cxn ang="0">
                <a:pos x="251" y="140"/>
              </a:cxn>
              <a:cxn ang="0">
                <a:pos x="247" y="109"/>
              </a:cxn>
              <a:cxn ang="0">
                <a:pos x="198" y="38"/>
              </a:cxn>
              <a:cxn ang="0">
                <a:pos x="26" y="70"/>
              </a:cxn>
            </a:cxnLst>
            <a:rect l="0" t="0" r="r" b="b"/>
            <a:pathLst>
              <a:path w="407" h="348">
                <a:moveTo>
                  <a:pt x="26" y="70"/>
                </a:moveTo>
                <a:cubicBezTo>
                  <a:pt x="7" y="97"/>
                  <a:pt x="0" y="130"/>
                  <a:pt x="6" y="162"/>
                </a:cubicBezTo>
                <a:cubicBezTo>
                  <a:pt x="12" y="195"/>
                  <a:pt x="30" y="223"/>
                  <a:pt x="57" y="242"/>
                </a:cubicBezTo>
                <a:cubicBezTo>
                  <a:pt x="84" y="260"/>
                  <a:pt x="117" y="267"/>
                  <a:pt x="150" y="262"/>
                </a:cubicBezTo>
                <a:cubicBezTo>
                  <a:pt x="165" y="259"/>
                  <a:pt x="179" y="253"/>
                  <a:pt x="192" y="245"/>
                </a:cubicBezTo>
                <a:cubicBezTo>
                  <a:pt x="199" y="241"/>
                  <a:pt x="201" y="233"/>
                  <a:pt x="197" y="227"/>
                </a:cubicBezTo>
                <a:cubicBezTo>
                  <a:pt x="193" y="221"/>
                  <a:pt x="185" y="219"/>
                  <a:pt x="178" y="223"/>
                </a:cubicBezTo>
                <a:cubicBezTo>
                  <a:pt x="168" y="229"/>
                  <a:pt x="157" y="233"/>
                  <a:pt x="145" y="235"/>
                </a:cubicBezTo>
                <a:cubicBezTo>
                  <a:pt x="119" y="240"/>
                  <a:pt x="94" y="234"/>
                  <a:pt x="72" y="220"/>
                </a:cubicBezTo>
                <a:cubicBezTo>
                  <a:pt x="51" y="205"/>
                  <a:pt x="37" y="183"/>
                  <a:pt x="32" y="157"/>
                </a:cubicBezTo>
                <a:cubicBezTo>
                  <a:pt x="28" y="132"/>
                  <a:pt x="33" y="106"/>
                  <a:pt x="48" y="85"/>
                </a:cubicBezTo>
                <a:cubicBezTo>
                  <a:pt x="78" y="41"/>
                  <a:pt x="139" y="30"/>
                  <a:pt x="183" y="60"/>
                </a:cubicBezTo>
                <a:cubicBezTo>
                  <a:pt x="222" y="87"/>
                  <a:pt x="236" y="140"/>
                  <a:pt x="215" y="183"/>
                </a:cubicBezTo>
                <a:cubicBezTo>
                  <a:pt x="212" y="188"/>
                  <a:pt x="213" y="194"/>
                  <a:pt x="217" y="198"/>
                </a:cubicBezTo>
                <a:cubicBezTo>
                  <a:pt x="221" y="202"/>
                  <a:pt x="227" y="203"/>
                  <a:pt x="232" y="201"/>
                </a:cubicBezTo>
                <a:cubicBezTo>
                  <a:pt x="237" y="198"/>
                  <a:pt x="243" y="199"/>
                  <a:pt x="248" y="202"/>
                </a:cubicBezTo>
                <a:cubicBezTo>
                  <a:pt x="373" y="289"/>
                  <a:pt x="373" y="289"/>
                  <a:pt x="373" y="289"/>
                </a:cubicBezTo>
                <a:cubicBezTo>
                  <a:pt x="380" y="294"/>
                  <a:pt x="382" y="305"/>
                  <a:pt x="377" y="312"/>
                </a:cubicBezTo>
                <a:cubicBezTo>
                  <a:pt x="374" y="316"/>
                  <a:pt x="371" y="319"/>
                  <a:pt x="366" y="319"/>
                </a:cubicBezTo>
                <a:cubicBezTo>
                  <a:pt x="362" y="320"/>
                  <a:pt x="357" y="319"/>
                  <a:pt x="353" y="317"/>
                </a:cubicBezTo>
                <a:cubicBezTo>
                  <a:pt x="248" y="244"/>
                  <a:pt x="248" y="244"/>
                  <a:pt x="248" y="244"/>
                </a:cubicBezTo>
                <a:cubicBezTo>
                  <a:pt x="242" y="240"/>
                  <a:pt x="234" y="241"/>
                  <a:pt x="230" y="247"/>
                </a:cubicBezTo>
                <a:cubicBezTo>
                  <a:pt x="226" y="253"/>
                  <a:pt x="227" y="262"/>
                  <a:pt x="233" y="266"/>
                </a:cubicBezTo>
                <a:cubicBezTo>
                  <a:pt x="338" y="339"/>
                  <a:pt x="338" y="339"/>
                  <a:pt x="338" y="339"/>
                </a:cubicBezTo>
                <a:cubicBezTo>
                  <a:pt x="348" y="345"/>
                  <a:pt x="359" y="348"/>
                  <a:pt x="371" y="346"/>
                </a:cubicBezTo>
                <a:cubicBezTo>
                  <a:pt x="382" y="344"/>
                  <a:pt x="392" y="337"/>
                  <a:pt x="399" y="327"/>
                </a:cubicBezTo>
                <a:cubicBezTo>
                  <a:pt x="404" y="320"/>
                  <a:pt x="407" y="311"/>
                  <a:pt x="407" y="303"/>
                </a:cubicBezTo>
                <a:cubicBezTo>
                  <a:pt x="407" y="289"/>
                  <a:pt x="400" y="275"/>
                  <a:pt x="388" y="267"/>
                </a:cubicBezTo>
                <a:cubicBezTo>
                  <a:pt x="263" y="180"/>
                  <a:pt x="263" y="180"/>
                  <a:pt x="263" y="180"/>
                </a:cubicBezTo>
                <a:cubicBezTo>
                  <a:pt x="258" y="177"/>
                  <a:pt x="252" y="175"/>
                  <a:pt x="246" y="174"/>
                </a:cubicBezTo>
                <a:cubicBezTo>
                  <a:pt x="250" y="163"/>
                  <a:pt x="251" y="151"/>
                  <a:pt x="251" y="140"/>
                </a:cubicBezTo>
                <a:cubicBezTo>
                  <a:pt x="251" y="130"/>
                  <a:pt x="250" y="119"/>
                  <a:pt x="247" y="109"/>
                </a:cubicBezTo>
                <a:cubicBezTo>
                  <a:pt x="240" y="80"/>
                  <a:pt x="222" y="55"/>
                  <a:pt x="198" y="38"/>
                </a:cubicBezTo>
                <a:cubicBezTo>
                  <a:pt x="142" y="0"/>
                  <a:pt x="65" y="14"/>
                  <a:pt x="26" y="7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0" name="Freeform 608"/>
          <p:cNvSpPr>
            <a:spLocks/>
          </p:cNvSpPr>
          <p:nvPr userDrawn="1"/>
        </p:nvSpPr>
        <p:spPr bwMode="auto">
          <a:xfrm>
            <a:off x="7488600" y="3800032"/>
            <a:ext cx="273915" cy="384572"/>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1" name="Freeform 628"/>
          <p:cNvSpPr>
            <a:spLocks/>
          </p:cNvSpPr>
          <p:nvPr userDrawn="1"/>
        </p:nvSpPr>
        <p:spPr bwMode="auto">
          <a:xfrm>
            <a:off x="7445726" y="2299774"/>
            <a:ext cx="359662" cy="272653"/>
          </a:xfrm>
          <a:custGeom>
            <a:avLst/>
            <a:gdLst/>
            <a:ahLst/>
            <a:cxnLst>
              <a:cxn ang="0">
                <a:pos x="417" y="7"/>
              </a:cxn>
              <a:cxn ang="0">
                <a:pos x="397" y="0"/>
              </a:cxn>
              <a:cxn ang="0">
                <a:pos x="143" y="0"/>
              </a:cxn>
              <a:cxn ang="0">
                <a:pos x="114" y="28"/>
              </a:cxn>
              <a:cxn ang="0">
                <a:pos x="114" y="158"/>
              </a:cxn>
              <a:cxn ang="0">
                <a:pos x="128" y="171"/>
              </a:cxn>
              <a:cxn ang="0">
                <a:pos x="202" y="171"/>
              </a:cxn>
              <a:cxn ang="0">
                <a:pos x="204" y="176"/>
              </a:cxn>
              <a:cxn ang="0">
                <a:pos x="204" y="292"/>
              </a:cxn>
              <a:cxn ang="0">
                <a:pos x="202" y="296"/>
              </a:cxn>
              <a:cxn ang="0">
                <a:pos x="29" y="296"/>
              </a:cxn>
              <a:cxn ang="0">
                <a:pos x="27" y="292"/>
              </a:cxn>
              <a:cxn ang="0">
                <a:pos x="27" y="176"/>
              </a:cxn>
              <a:cxn ang="0">
                <a:pos x="29" y="171"/>
              </a:cxn>
              <a:cxn ang="0">
                <a:pos x="77" y="171"/>
              </a:cxn>
              <a:cxn ang="0">
                <a:pos x="90" y="158"/>
              </a:cxn>
              <a:cxn ang="0">
                <a:pos x="77" y="145"/>
              </a:cxn>
              <a:cxn ang="0">
                <a:pos x="28" y="145"/>
              </a:cxn>
              <a:cxn ang="0">
                <a:pos x="0" y="176"/>
              </a:cxn>
              <a:cxn ang="0">
                <a:pos x="0" y="292"/>
              </a:cxn>
              <a:cxn ang="0">
                <a:pos x="28" y="323"/>
              </a:cxn>
              <a:cxn ang="0">
                <a:pos x="203" y="323"/>
              </a:cxn>
              <a:cxn ang="0">
                <a:pos x="231" y="292"/>
              </a:cxn>
              <a:cxn ang="0">
                <a:pos x="231" y="176"/>
              </a:cxn>
              <a:cxn ang="0">
                <a:pos x="203" y="145"/>
              </a:cxn>
              <a:cxn ang="0">
                <a:pos x="141" y="145"/>
              </a:cxn>
              <a:cxn ang="0">
                <a:pos x="141" y="28"/>
              </a:cxn>
              <a:cxn ang="0">
                <a:pos x="143" y="26"/>
              </a:cxn>
              <a:cxn ang="0">
                <a:pos x="397" y="26"/>
              </a:cxn>
              <a:cxn ang="0">
                <a:pos x="400" y="28"/>
              </a:cxn>
              <a:cxn ang="0">
                <a:pos x="400" y="223"/>
              </a:cxn>
              <a:cxn ang="0">
                <a:pos x="397" y="224"/>
              </a:cxn>
              <a:cxn ang="0">
                <a:pos x="292" y="224"/>
              </a:cxn>
              <a:cxn ang="0">
                <a:pos x="304" y="212"/>
              </a:cxn>
              <a:cxn ang="0">
                <a:pos x="304" y="195"/>
              </a:cxn>
              <a:cxn ang="0">
                <a:pos x="287" y="195"/>
              </a:cxn>
              <a:cxn ang="0">
                <a:pos x="252" y="230"/>
              </a:cxn>
              <a:cxn ang="0">
                <a:pos x="252" y="247"/>
              </a:cxn>
              <a:cxn ang="0">
                <a:pos x="287" y="283"/>
              </a:cxn>
              <a:cxn ang="0">
                <a:pos x="304" y="283"/>
              </a:cxn>
              <a:cxn ang="0">
                <a:pos x="304" y="266"/>
              </a:cxn>
              <a:cxn ang="0">
                <a:pos x="290" y="252"/>
              </a:cxn>
              <a:cxn ang="0">
                <a:pos x="290" y="251"/>
              </a:cxn>
              <a:cxn ang="0">
                <a:pos x="397" y="251"/>
              </a:cxn>
              <a:cxn ang="0">
                <a:pos x="426" y="223"/>
              </a:cxn>
              <a:cxn ang="0">
                <a:pos x="426" y="28"/>
              </a:cxn>
              <a:cxn ang="0">
                <a:pos x="417" y="7"/>
              </a:cxn>
            </a:cxnLst>
            <a:rect l="0" t="0" r="r" b="b"/>
            <a:pathLst>
              <a:path w="426" h="323">
                <a:moveTo>
                  <a:pt x="417" y="7"/>
                </a:moveTo>
                <a:cubicBezTo>
                  <a:pt x="412" y="2"/>
                  <a:pt x="405" y="0"/>
                  <a:pt x="397" y="0"/>
                </a:cubicBezTo>
                <a:cubicBezTo>
                  <a:pt x="143" y="0"/>
                  <a:pt x="143" y="0"/>
                  <a:pt x="143" y="0"/>
                </a:cubicBezTo>
                <a:cubicBezTo>
                  <a:pt x="127" y="0"/>
                  <a:pt x="114" y="12"/>
                  <a:pt x="114" y="28"/>
                </a:cubicBezTo>
                <a:cubicBezTo>
                  <a:pt x="114" y="158"/>
                  <a:pt x="114" y="158"/>
                  <a:pt x="114" y="158"/>
                </a:cubicBezTo>
                <a:cubicBezTo>
                  <a:pt x="114" y="165"/>
                  <a:pt x="120" y="171"/>
                  <a:pt x="128" y="171"/>
                </a:cubicBezTo>
                <a:cubicBezTo>
                  <a:pt x="128" y="171"/>
                  <a:pt x="202" y="171"/>
                  <a:pt x="202" y="171"/>
                </a:cubicBezTo>
                <a:cubicBezTo>
                  <a:pt x="203" y="172"/>
                  <a:pt x="204" y="173"/>
                  <a:pt x="204" y="176"/>
                </a:cubicBezTo>
                <a:cubicBezTo>
                  <a:pt x="204" y="292"/>
                  <a:pt x="204" y="292"/>
                  <a:pt x="204" y="292"/>
                </a:cubicBezTo>
                <a:cubicBezTo>
                  <a:pt x="204" y="295"/>
                  <a:pt x="203" y="296"/>
                  <a:pt x="202" y="296"/>
                </a:cubicBezTo>
                <a:cubicBezTo>
                  <a:pt x="202" y="296"/>
                  <a:pt x="29" y="296"/>
                  <a:pt x="29" y="296"/>
                </a:cubicBezTo>
                <a:cubicBezTo>
                  <a:pt x="28" y="296"/>
                  <a:pt x="27" y="295"/>
                  <a:pt x="27" y="292"/>
                </a:cubicBezTo>
                <a:cubicBezTo>
                  <a:pt x="27" y="176"/>
                  <a:pt x="27" y="176"/>
                  <a:pt x="27" y="176"/>
                </a:cubicBezTo>
                <a:cubicBezTo>
                  <a:pt x="27" y="173"/>
                  <a:pt x="28" y="172"/>
                  <a:pt x="29" y="171"/>
                </a:cubicBezTo>
                <a:cubicBezTo>
                  <a:pt x="29" y="171"/>
                  <a:pt x="77" y="171"/>
                  <a:pt x="77" y="171"/>
                </a:cubicBezTo>
                <a:cubicBezTo>
                  <a:pt x="84" y="171"/>
                  <a:pt x="90" y="165"/>
                  <a:pt x="90" y="158"/>
                </a:cubicBezTo>
                <a:cubicBezTo>
                  <a:pt x="90" y="151"/>
                  <a:pt x="84" y="145"/>
                  <a:pt x="77" y="145"/>
                </a:cubicBezTo>
                <a:cubicBezTo>
                  <a:pt x="28" y="145"/>
                  <a:pt x="28" y="145"/>
                  <a:pt x="28" y="145"/>
                </a:cubicBezTo>
                <a:cubicBezTo>
                  <a:pt x="13" y="145"/>
                  <a:pt x="0" y="159"/>
                  <a:pt x="0" y="176"/>
                </a:cubicBezTo>
                <a:cubicBezTo>
                  <a:pt x="0" y="292"/>
                  <a:pt x="0" y="292"/>
                  <a:pt x="0" y="292"/>
                </a:cubicBezTo>
                <a:cubicBezTo>
                  <a:pt x="0" y="309"/>
                  <a:pt x="13" y="323"/>
                  <a:pt x="28" y="323"/>
                </a:cubicBezTo>
                <a:cubicBezTo>
                  <a:pt x="203" y="323"/>
                  <a:pt x="203" y="323"/>
                  <a:pt x="203" y="323"/>
                </a:cubicBezTo>
                <a:cubicBezTo>
                  <a:pt x="218" y="323"/>
                  <a:pt x="231" y="309"/>
                  <a:pt x="231" y="292"/>
                </a:cubicBezTo>
                <a:cubicBezTo>
                  <a:pt x="231" y="176"/>
                  <a:pt x="231" y="176"/>
                  <a:pt x="231" y="176"/>
                </a:cubicBezTo>
                <a:cubicBezTo>
                  <a:pt x="231" y="159"/>
                  <a:pt x="218" y="145"/>
                  <a:pt x="203" y="145"/>
                </a:cubicBezTo>
                <a:cubicBezTo>
                  <a:pt x="203" y="145"/>
                  <a:pt x="159" y="145"/>
                  <a:pt x="141" y="145"/>
                </a:cubicBezTo>
                <a:cubicBezTo>
                  <a:pt x="141" y="123"/>
                  <a:pt x="141" y="28"/>
                  <a:pt x="141" y="28"/>
                </a:cubicBezTo>
                <a:cubicBezTo>
                  <a:pt x="141" y="27"/>
                  <a:pt x="142" y="26"/>
                  <a:pt x="143" y="26"/>
                </a:cubicBezTo>
                <a:cubicBezTo>
                  <a:pt x="397" y="26"/>
                  <a:pt x="397" y="26"/>
                  <a:pt x="397" y="26"/>
                </a:cubicBezTo>
                <a:cubicBezTo>
                  <a:pt x="399" y="26"/>
                  <a:pt x="400" y="27"/>
                  <a:pt x="400" y="28"/>
                </a:cubicBezTo>
                <a:cubicBezTo>
                  <a:pt x="400" y="223"/>
                  <a:pt x="400" y="223"/>
                  <a:pt x="400" y="223"/>
                </a:cubicBezTo>
                <a:cubicBezTo>
                  <a:pt x="400" y="223"/>
                  <a:pt x="399" y="224"/>
                  <a:pt x="397" y="224"/>
                </a:cubicBezTo>
                <a:cubicBezTo>
                  <a:pt x="292" y="224"/>
                  <a:pt x="292" y="224"/>
                  <a:pt x="292" y="224"/>
                </a:cubicBezTo>
                <a:cubicBezTo>
                  <a:pt x="304" y="212"/>
                  <a:pt x="304" y="212"/>
                  <a:pt x="304" y="212"/>
                </a:cubicBezTo>
                <a:cubicBezTo>
                  <a:pt x="309" y="207"/>
                  <a:pt x="309" y="199"/>
                  <a:pt x="304" y="195"/>
                </a:cubicBezTo>
                <a:cubicBezTo>
                  <a:pt x="300" y="190"/>
                  <a:pt x="292" y="190"/>
                  <a:pt x="287" y="195"/>
                </a:cubicBezTo>
                <a:cubicBezTo>
                  <a:pt x="252" y="230"/>
                  <a:pt x="252" y="230"/>
                  <a:pt x="252" y="230"/>
                </a:cubicBezTo>
                <a:cubicBezTo>
                  <a:pt x="247" y="235"/>
                  <a:pt x="247" y="243"/>
                  <a:pt x="252" y="247"/>
                </a:cubicBezTo>
                <a:cubicBezTo>
                  <a:pt x="287" y="283"/>
                  <a:pt x="287" y="283"/>
                  <a:pt x="287" y="283"/>
                </a:cubicBezTo>
                <a:cubicBezTo>
                  <a:pt x="292" y="288"/>
                  <a:pt x="300" y="288"/>
                  <a:pt x="304" y="283"/>
                </a:cubicBezTo>
                <a:cubicBezTo>
                  <a:pt x="309" y="278"/>
                  <a:pt x="309" y="270"/>
                  <a:pt x="304" y="266"/>
                </a:cubicBezTo>
                <a:cubicBezTo>
                  <a:pt x="290" y="252"/>
                  <a:pt x="290" y="252"/>
                  <a:pt x="290" y="252"/>
                </a:cubicBezTo>
                <a:cubicBezTo>
                  <a:pt x="290" y="251"/>
                  <a:pt x="290" y="251"/>
                  <a:pt x="290" y="251"/>
                </a:cubicBezTo>
                <a:cubicBezTo>
                  <a:pt x="397" y="251"/>
                  <a:pt x="397" y="251"/>
                  <a:pt x="397" y="251"/>
                </a:cubicBezTo>
                <a:cubicBezTo>
                  <a:pt x="413" y="251"/>
                  <a:pt x="426" y="238"/>
                  <a:pt x="426" y="223"/>
                </a:cubicBezTo>
                <a:cubicBezTo>
                  <a:pt x="426" y="28"/>
                  <a:pt x="426" y="28"/>
                  <a:pt x="426" y="28"/>
                </a:cubicBezTo>
                <a:cubicBezTo>
                  <a:pt x="426" y="20"/>
                  <a:pt x="423" y="13"/>
                  <a:pt x="417" y="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2" name="Freeform 648"/>
          <p:cNvSpPr>
            <a:spLocks/>
          </p:cNvSpPr>
          <p:nvPr userDrawn="1"/>
        </p:nvSpPr>
        <p:spPr bwMode="auto">
          <a:xfrm>
            <a:off x="7510631" y="947442"/>
            <a:ext cx="229851" cy="238125"/>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3" name="Freeform 652"/>
          <p:cNvSpPr>
            <a:spLocks/>
          </p:cNvSpPr>
          <p:nvPr userDrawn="1"/>
        </p:nvSpPr>
        <p:spPr bwMode="auto">
          <a:xfrm>
            <a:off x="7467758" y="1416178"/>
            <a:ext cx="315598" cy="173831"/>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009530"/>
          </a:solidFill>
          <a:ln w="1588" cap="flat">
            <a:noFill/>
            <a:prstDash val="solid"/>
            <a:miter lim="800000"/>
            <a:headEnd/>
            <a:tailEnd/>
          </a:ln>
        </p:spPr>
        <p:txBody>
          <a:bodyPr vert="horz" wrap="square" lIns="68589" tIns="34295" rIns="68589" bIns="34295" numCol="1" anchor="t" anchorCtr="0" compatLnSpc="1">
            <a:prstTxWarp prst="textNoShape">
              <a:avLst/>
            </a:prstTxWarp>
          </a:bodyPr>
          <a:lstStyle/>
          <a:p>
            <a:endParaRPr lang="en-US" dirty="0"/>
          </a:p>
        </p:txBody>
      </p:sp>
      <p:sp>
        <p:nvSpPr>
          <p:cNvPr id="144" name="Freeform 525"/>
          <p:cNvSpPr>
            <a:spLocks/>
          </p:cNvSpPr>
          <p:nvPr userDrawn="1"/>
        </p:nvSpPr>
        <p:spPr bwMode="auto">
          <a:xfrm>
            <a:off x="7923257" y="1875398"/>
            <a:ext cx="277488" cy="211931"/>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5" name="Freeform 576"/>
          <p:cNvSpPr>
            <a:spLocks noEditPoints="1"/>
          </p:cNvSpPr>
          <p:nvPr userDrawn="1"/>
        </p:nvSpPr>
        <p:spPr bwMode="auto">
          <a:xfrm>
            <a:off x="7878598" y="3354801"/>
            <a:ext cx="366809" cy="282178"/>
          </a:xfrm>
          <a:custGeom>
            <a:avLst/>
            <a:gdLst/>
            <a:ahLst/>
            <a:cxnLst>
              <a:cxn ang="0">
                <a:pos x="223" y="107"/>
              </a:cxn>
              <a:cxn ang="0">
                <a:pos x="387" y="290"/>
              </a:cxn>
              <a:cxn ang="0">
                <a:pos x="237" y="290"/>
              </a:cxn>
              <a:cxn ang="0">
                <a:pos x="283" y="267"/>
              </a:cxn>
              <a:cxn ang="0">
                <a:pos x="285" y="266"/>
              </a:cxn>
              <a:cxn ang="0">
                <a:pos x="287" y="263"/>
              </a:cxn>
              <a:cxn ang="0">
                <a:pos x="291" y="259"/>
              </a:cxn>
              <a:cxn ang="0">
                <a:pos x="295" y="255"/>
              </a:cxn>
              <a:cxn ang="0">
                <a:pos x="299" y="250"/>
              </a:cxn>
              <a:cxn ang="0">
                <a:pos x="303" y="244"/>
              </a:cxn>
              <a:cxn ang="0">
                <a:pos x="309" y="229"/>
              </a:cxn>
              <a:cxn ang="0">
                <a:pos x="303" y="195"/>
              </a:cxn>
              <a:cxn ang="0">
                <a:pos x="278" y="167"/>
              </a:cxn>
              <a:cxn ang="0">
                <a:pos x="195" y="136"/>
              </a:cxn>
              <a:cxn ang="0">
                <a:pos x="172" y="107"/>
              </a:cxn>
              <a:cxn ang="0">
                <a:pos x="201" y="114"/>
              </a:cxn>
              <a:cxn ang="0">
                <a:pos x="204" y="114"/>
              </a:cxn>
              <a:cxn ang="0">
                <a:pos x="209" y="112"/>
              </a:cxn>
              <a:cxn ang="0">
                <a:pos x="211" y="110"/>
              </a:cxn>
              <a:cxn ang="0">
                <a:pos x="214" y="105"/>
              </a:cxn>
              <a:cxn ang="0">
                <a:pos x="214" y="102"/>
              </a:cxn>
              <a:cxn ang="0">
                <a:pos x="214" y="98"/>
              </a:cxn>
              <a:cxn ang="0">
                <a:pos x="149" y="36"/>
              </a:cxn>
              <a:cxn ang="0">
                <a:pos x="150" y="194"/>
              </a:cxn>
              <a:cxn ang="0">
                <a:pos x="27" y="196"/>
              </a:cxn>
              <a:cxn ang="0">
                <a:pos x="168" y="16"/>
              </a:cxn>
              <a:cxn ang="0">
                <a:pos x="0" y="29"/>
              </a:cxn>
              <a:cxn ang="0">
                <a:pos x="55" y="232"/>
              </a:cxn>
              <a:cxn ang="0">
                <a:pos x="179" y="175"/>
              </a:cxn>
              <a:cxn ang="0">
                <a:pos x="178" y="171"/>
              </a:cxn>
              <a:cxn ang="0">
                <a:pos x="175" y="167"/>
              </a:cxn>
              <a:cxn ang="0">
                <a:pos x="173" y="165"/>
              </a:cxn>
              <a:cxn ang="0">
                <a:pos x="169" y="163"/>
              </a:cxn>
              <a:cxn ang="0">
                <a:pos x="163" y="163"/>
              </a:cxn>
              <a:cxn ang="0">
                <a:pos x="102" y="115"/>
              </a:cxn>
              <a:cxn ang="0">
                <a:pos x="179" y="81"/>
              </a:cxn>
              <a:cxn ang="0">
                <a:pos x="174" y="80"/>
              </a:cxn>
              <a:cxn ang="0">
                <a:pos x="170" y="80"/>
              </a:cxn>
              <a:cxn ang="0">
                <a:pos x="164" y="80"/>
              </a:cxn>
              <a:cxn ang="0">
                <a:pos x="205" y="191"/>
              </a:cxn>
              <a:cxn ang="0">
                <a:pos x="251" y="325"/>
              </a:cxn>
              <a:cxn ang="0">
                <a:pos x="404" y="310"/>
              </a:cxn>
              <a:cxn ang="0">
                <a:pos x="245" y="181"/>
              </a:cxn>
              <a:cxn ang="0">
                <a:pos x="262" y="189"/>
              </a:cxn>
              <a:cxn ang="0">
                <a:pos x="257" y="196"/>
              </a:cxn>
              <a:cxn ang="0">
                <a:pos x="253" y="203"/>
              </a:cxn>
              <a:cxn ang="0">
                <a:pos x="252" y="207"/>
              </a:cxn>
              <a:cxn ang="0">
                <a:pos x="251" y="213"/>
              </a:cxn>
              <a:cxn ang="0">
                <a:pos x="252" y="216"/>
              </a:cxn>
              <a:cxn ang="0">
                <a:pos x="269" y="233"/>
              </a:cxn>
              <a:cxn ang="0">
                <a:pos x="273" y="240"/>
              </a:cxn>
              <a:cxn ang="0">
                <a:pos x="253" y="247"/>
              </a:cxn>
            </a:cxnLst>
            <a:rect l="0" t="0" r="r" b="b"/>
            <a:pathLst>
              <a:path w="432" h="333">
                <a:moveTo>
                  <a:pt x="424" y="179"/>
                </a:moveTo>
                <a:cubicBezTo>
                  <a:pt x="294" y="116"/>
                  <a:pt x="275" y="108"/>
                  <a:pt x="271" y="107"/>
                </a:cubicBezTo>
                <a:cubicBezTo>
                  <a:pt x="271" y="107"/>
                  <a:pt x="271" y="107"/>
                  <a:pt x="271" y="107"/>
                </a:cubicBezTo>
                <a:cubicBezTo>
                  <a:pt x="239" y="98"/>
                  <a:pt x="239" y="98"/>
                  <a:pt x="239" y="98"/>
                </a:cubicBezTo>
                <a:cubicBezTo>
                  <a:pt x="232" y="96"/>
                  <a:pt x="225" y="100"/>
                  <a:pt x="223" y="107"/>
                </a:cubicBezTo>
                <a:cubicBezTo>
                  <a:pt x="222" y="112"/>
                  <a:pt x="223" y="116"/>
                  <a:pt x="226" y="120"/>
                </a:cubicBezTo>
                <a:cubicBezTo>
                  <a:pt x="228" y="121"/>
                  <a:pt x="230" y="123"/>
                  <a:pt x="232" y="123"/>
                </a:cubicBezTo>
                <a:cubicBezTo>
                  <a:pt x="264" y="132"/>
                  <a:pt x="264" y="132"/>
                  <a:pt x="264" y="132"/>
                </a:cubicBezTo>
                <a:cubicBezTo>
                  <a:pt x="272" y="136"/>
                  <a:pt x="348" y="172"/>
                  <a:pt x="403" y="198"/>
                </a:cubicBezTo>
                <a:cubicBezTo>
                  <a:pt x="387" y="290"/>
                  <a:pt x="387" y="290"/>
                  <a:pt x="387" y="290"/>
                </a:cubicBezTo>
                <a:cubicBezTo>
                  <a:pt x="383" y="292"/>
                  <a:pt x="379" y="295"/>
                  <a:pt x="375" y="297"/>
                </a:cubicBezTo>
                <a:cubicBezTo>
                  <a:pt x="369" y="301"/>
                  <a:pt x="364" y="305"/>
                  <a:pt x="359" y="307"/>
                </a:cubicBezTo>
                <a:cubicBezTo>
                  <a:pt x="252" y="298"/>
                  <a:pt x="252" y="298"/>
                  <a:pt x="252" y="298"/>
                </a:cubicBezTo>
                <a:cubicBezTo>
                  <a:pt x="251" y="298"/>
                  <a:pt x="250" y="298"/>
                  <a:pt x="249" y="298"/>
                </a:cubicBezTo>
                <a:cubicBezTo>
                  <a:pt x="246" y="299"/>
                  <a:pt x="238" y="299"/>
                  <a:pt x="237" y="290"/>
                </a:cubicBezTo>
                <a:cubicBezTo>
                  <a:pt x="236" y="286"/>
                  <a:pt x="237" y="283"/>
                  <a:pt x="238" y="280"/>
                </a:cubicBezTo>
                <a:cubicBezTo>
                  <a:pt x="239" y="278"/>
                  <a:pt x="241" y="276"/>
                  <a:pt x="244" y="275"/>
                </a:cubicBezTo>
                <a:cubicBezTo>
                  <a:pt x="271" y="271"/>
                  <a:pt x="271" y="271"/>
                  <a:pt x="271" y="271"/>
                </a:cubicBezTo>
                <a:cubicBezTo>
                  <a:pt x="277" y="270"/>
                  <a:pt x="277" y="270"/>
                  <a:pt x="277" y="270"/>
                </a:cubicBezTo>
                <a:cubicBezTo>
                  <a:pt x="279" y="269"/>
                  <a:pt x="281" y="269"/>
                  <a:pt x="283" y="267"/>
                </a:cubicBezTo>
                <a:cubicBezTo>
                  <a:pt x="283" y="267"/>
                  <a:pt x="283" y="267"/>
                  <a:pt x="283" y="267"/>
                </a:cubicBezTo>
                <a:cubicBezTo>
                  <a:pt x="283" y="267"/>
                  <a:pt x="283" y="267"/>
                  <a:pt x="283" y="267"/>
                </a:cubicBezTo>
                <a:cubicBezTo>
                  <a:pt x="283" y="267"/>
                  <a:pt x="284" y="266"/>
                  <a:pt x="284" y="266"/>
                </a:cubicBezTo>
                <a:cubicBezTo>
                  <a:pt x="284" y="266"/>
                  <a:pt x="284" y="266"/>
                  <a:pt x="284" y="266"/>
                </a:cubicBezTo>
                <a:cubicBezTo>
                  <a:pt x="284" y="266"/>
                  <a:pt x="284" y="266"/>
                  <a:pt x="285" y="266"/>
                </a:cubicBezTo>
                <a:cubicBezTo>
                  <a:pt x="285" y="266"/>
                  <a:pt x="285" y="265"/>
                  <a:pt x="285" y="265"/>
                </a:cubicBezTo>
                <a:cubicBezTo>
                  <a:pt x="285" y="265"/>
                  <a:pt x="285" y="265"/>
                  <a:pt x="286" y="265"/>
                </a:cubicBezTo>
                <a:cubicBezTo>
                  <a:pt x="286" y="265"/>
                  <a:pt x="286" y="264"/>
                  <a:pt x="286" y="264"/>
                </a:cubicBezTo>
                <a:cubicBezTo>
                  <a:pt x="286" y="264"/>
                  <a:pt x="287" y="264"/>
                  <a:pt x="287" y="264"/>
                </a:cubicBezTo>
                <a:cubicBezTo>
                  <a:pt x="287" y="264"/>
                  <a:pt x="287" y="263"/>
                  <a:pt x="287" y="263"/>
                </a:cubicBezTo>
                <a:cubicBezTo>
                  <a:pt x="288" y="263"/>
                  <a:pt x="288" y="263"/>
                  <a:pt x="288" y="262"/>
                </a:cubicBezTo>
                <a:cubicBezTo>
                  <a:pt x="288" y="262"/>
                  <a:pt x="289" y="262"/>
                  <a:pt x="289" y="262"/>
                </a:cubicBezTo>
                <a:cubicBezTo>
                  <a:pt x="289" y="262"/>
                  <a:pt x="289" y="261"/>
                  <a:pt x="290" y="261"/>
                </a:cubicBezTo>
                <a:cubicBezTo>
                  <a:pt x="290" y="261"/>
                  <a:pt x="290" y="260"/>
                  <a:pt x="290" y="260"/>
                </a:cubicBezTo>
                <a:cubicBezTo>
                  <a:pt x="291" y="260"/>
                  <a:pt x="291" y="260"/>
                  <a:pt x="291" y="259"/>
                </a:cubicBezTo>
                <a:cubicBezTo>
                  <a:pt x="291" y="259"/>
                  <a:pt x="292" y="259"/>
                  <a:pt x="292" y="259"/>
                </a:cubicBezTo>
                <a:cubicBezTo>
                  <a:pt x="292" y="258"/>
                  <a:pt x="293" y="258"/>
                  <a:pt x="293" y="258"/>
                </a:cubicBezTo>
                <a:cubicBezTo>
                  <a:pt x="293" y="257"/>
                  <a:pt x="293" y="257"/>
                  <a:pt x="294" y="257"/>
                </a:cubicBezTo>
                <a:cubicBezTo>
                  <a:pt x="294" y="256"/>
                  <a:pt x="294" y="256"/>
                  <a:pt x="295" y="256"/>
                </a:cubicBezTo>
                <a:cubicBezTo>
                  <a:pt x="295" y="255"/>
                  <a:pt x="295" y="255"/>
                  <a:pt x="295" y="255"/>
                </a:cubicBezTo>
                <a:cubicBezTo>
                  <a:pt x="296" y="254"/>
                  <a:pt x="296" y="254"/>
                  <a:pt x="296" y="254"/>
                </a:cubicBezTo>
                <a:cubicBezTo>
                  <a:pt x="297" y="253"/>
                  <a:pt x="297" y="253"/>
                  <a:pt x="297" y="253"/>
                </a:cubicBezTo>
                <a:cubicBezTo>
                  <a:pt x="297" y="253"/>
                  <a:pt x="297" y="253"/>
                  <a:pt x="297" y="253"/>
                </a:cubicBezTo>
                <a:cubicBezTo>
                  <a:pt x="297" y="252"/>
                  <a:pt x="298" y="252"/>
                  <a:pt x="298" y="251"/>
                </a:cubicBezTo>
                <a:cubicBezTo>
                  <a:pt x="298" y="251"/>
                  <a:pt x="299" y="251"/>
                  <a:pt x="299" y="250"/>
                </a:cubicBezTo>
                <a:cubicBezTo>
                  <a:pt x="299" y="250"/>
                  <a:pt x="300" y="249"/>
                  <a:pt x="300" y="249"/>
                </a:cubicBezTo>
                <a:cubicBezTo>
                  <a:pt x="300" y="249"/>
                  <a:pt x="300" y="248"/>
                  <a:pt x="301" y="248"/>
                </a:cubicBezTo>
                <a:cubicBezTo>
                  <a:pt x="301" y="247"/>
                  <a:pt x="301" y="247"/>
                  <a:pt x="302" y="246"/>
                </a:cubicBezTo>
                <a:cubicBezTo>
                  <a:pt x="302" y="246"/>
                  <a:pt x="302" y="246"/>
                  <a:pt x="302" y="245"/>
                </a:cubicBezTo>
                <a:cubicBezTo>
                  <a:pt x="303" y="245"/>
                  <a:pt x="303" y="244"/>
                  <a:pt x="303" y="244"/>
                </a:cubicBezTo>
                <a:cubicBezTo>
                  <a:pt x="303" y="243"/>
                  <a:pt x="304" y="243"/>
                  <a:pt x="304" y="243"/>
                </a:cubicBezTo>
                <a:cubicBezTo>
                  <a:pt x="304" y="242"/>
                  <a:pt x="305" y="241"/>
                  <a:pt x="305" y="240"/>
                </a:cubicBezTo>
                <a:cubicBezTo>
                  <a:pt x="305" y="240"/>
                  <a:pt x="305" y="240"/>
                  <a:pt x="305" y="240"/>
                </a:cubicBezTo>
                <a:cubicBezTo>
                  <a:pt x="305" y="240"/>
                  <a:pt x="305" y="240"/>
                  <a:pt x="305" y="240"/>
                </a:cubicBezTo>
                <a:cubicBezTo>
                  <a:pt x="307" y="236"/>
                  <a:pt x="308" y="233"/>
                  <a:pt x="309" y="229"/>
                </a:cubicBezTo>
                <a:cubicBezTo>
                  <a:pt x="310" y="225"/>
                  <a:pt x="310" y="222"/>
                  <a:pt x="310" y="218"/>
                </a:cubicBezTo>
                <a:cubicBezTo>
                  <a:pt x="310" y="217"/>
                  <a:pt x="310" y="216"/>
                  <a:pt x="310" y="216"/>
                </a:cubicBezTo>
                <a:cubicBezTo>
                  <a:pt x="310" y="212"/>
                  <a:pt x="309" y="209"/>
                  <a:pt x="308" y="206"/>
                </a:cubicBezTo>
                <a:cubicBezTo>
                  <a:pt x="307" y="203"/>
                  <a:pt x="305" y="200"/>
                  <a:pt x="304" y="197"/>
                </a:cubicBezTo>
                <a:cubicBezTo>
                  <a:pt x="303" y="196"/>
                  <a:pt x="303" y="196"/>
                  <a:pt x="303" y="195"/>
                </a:cubicBezTo>
                <a:cubicBezTo>
                  <a:pt x="301" y="192"/>
                  <a:pt x="299" y="190"/>
                  <a:pt x="298" y="187"/>
                </a:cubicBezTo>
                <a:cubicBezTo>
                  <a:pt x="296" y="186"/>
                  <a:pt x="295" y="184"/>
                  <a:pt x="293" y="182"/>
                </a:cubicBezTo>
                <a:cubicBezTo>
                  <a:pt x="292" y="181"/>
                  <a:pt x="291" y="180"/>
                  <a:pt x="290" y="178"/>
                </a:cubicBezTo>
                <a:cubicBezTo>
                  <a:pt x="285" y="173"/>
                  <a:pt x="281" y="169"/>
                  <a:pt x="279" y="168"/>
                </a:cubicBezTo>
                <a:cubicBezTo>
                  <a:pt x="279" y="168"/>
                  <a:pt x="278" y="167"/>
                  <a:pt x="278" y="167"/>
                </a:cubicBezTo>
                <a:cubicBezTo>
                  <a:pt x="278" y="167"/>
                  <a:pt x="277" y="167"/>
                  <a:pt x="276" y="166"/>
                </a:cubicBezTo>
                <a:cubicBezTo>
                  <a:pt x="266" y="160"/>
                  <a:pt x="266" y="160"/>
                  <a:pt x="266" y="160"/>
                </a:cubicBezTo>
                <a:cubicBezTo>
                  <a:pt x="265" y="160"/>
                  <a:pt x="237" y="150"/>
                  <a:pt x="237" y="150"/>
                </a:cubicBezTo>
                <a:cubicBezTo>
                  <a:pt x="195" y="136"/>
                  <a:pt x="195" y="136"/>
                  <a:pt x="195" y="136"/>
                </a:cubicBezTo>
                <a:cubicBezTo>
                  <a:pt x="195" y="136"/>
                  <a:pt x="195" y="136"/>
                  <a:pt x="195" y="136"/>
                </a:cubicBezTo>
                <a:cubicBezTo>
                  <a:pt x="165" y="126"/>
                  <a:pt x="165" y="126"/>
                  <a:pt x="165" y="126"/>
                </a:cubicBezTo>
                <a:cubicBezTo>
                  <a:pt x="162" y="125"/>
                  <a:pt x="160" y="123"/>
                  <a:pt x="159" y="121"/>
                </a:cubicBezTo>
                <a:cubicBezTo>
                  <a:pt x="158" y="119"/>
                  <a:pt x="158" y="116"/>
                  <a:pt x="159" y="113"/>
                </a:cubicBezTo>
                <a:cubicBezTo>
                  <a:pt x="160" y="109"/>
                  <a:pt x="163" y="107"/>
                  <a:pt x="167" y="106"/>
                </a:cubicBezTo>
                <a:cubicBezTo>
                  <a:pt x="169" y="106"/>
                  <a:pt x="170" y="106"/>
                  <a:pt x="172" y="107"/>
                </a:cubicBezTo>
                <a:cubicBezTo>
                  <a:pt x="172" y="107"/>
                  <a:pt x="172" y="107"/>
                  <a:pt x="172" y="107"/>
                </a:cubicBezTo>
                <a:cubicBezTo>
                  <a:pt x="197" y="114"/>
                  <a:pt x="197" y="114"/>
                  <a:pt x="197" y="114"/>
                </a:cubicBezTo>
                <a:cubicBezTo>
                  <a:pt x="198" y="114"/>
                  <a:pt x="199" y="114"/>
                  <a:pt x="199" y="114"/>
                </a:cubicBezTo>
                <a:cubicBezTo>
                  <a:pt x="199" y="114"/>
                  <a:pt x="199" y="114"/>
                  <a:pt x="199" y="114"/>
                </a:cubicBezTo>
                <a:cubicBezTo>
                  <a:pt x="200" y="114"/>
                  <a:pt x="200" y="114"/>
                  <a:pt x="201" y="114"/>
                </a:cubicBezTo>
                <a:cubicBezTo>
                  <a:pt x="201" y="114"/>
                  <a:pt x="201" y="114"/>
                  <a:pt x="201" y="114"/>
                </a:cubicBezTo>
                <a:cubicBezTo>
                  <a:pt x="201" y="114"/>
                  <a:pt x="202" y="114"/>
                  <a:pt x="202" y="114"/>
                </a:cubicBezTo>
                <a:cubicBezTo>
                  <a:pt x="202" y="114"/>
                  <a:pt x="202" y="114"/>
                  <a:pt x="203" y="114"/>
                </a:cubicBezTo>
                <a:cubicBezTo>
                  <a:pt x="203" y="114"/>
                  <a:pt x="204" y="114"/>
                  <a:pt x="204" y="114"/>
                </a:cubicBezTo>
                <a:cubicBezTo>
                  <a:pt x="204" y="114"/>
                  <a:pt x="204" y="114"/>
                  <a:pt x="204" y="114"/>
                </a:cubicBezTo>
                <a:cubicBezTo>
                  <a:pt x="205" y="114"/>
                  <a:pt x="205" y="114"/>
                  <a:pt x="205" y="114"/>
                </a:cubicBezTo>
                <a:cubicBezTo>
                  <a:pt x="206" y="114"/>
                  <a:pt x="206" y="113"/>
                  <a:pt x="206" y="113"/>
                </a:cubicBezTo>
                <a:cubicBezTo>
                  <a:pt x="206" y="113"/>
                  <a:pt x="207" y="113"/>
                  <a:pt x="207" y="113"/>
                </a:cubicBezTo>
                <a:cubicBezTo>
                  <a:pt x="207" y="113"/>
                  <a:pt x="207" y="113"/>
                  <a:pt x="207" y="113"/>
                </a:cubicBezTo>
                <a:cubicBezTo>
                  <a:pt x="208" y="113"/>
                  <a:pt x="208" y="112"/>
                  <a:pt x="209" y="112"/>
                </a:cubicBezTo>
                <a:cubicBezTo>
                  <a:pt x="209" y="112"/>
                  <a:pt x="209" y="112"/>
                  <a:pt x="209" y="112"/>
                </a:cubicBezTo>
                <a:cubicBezTo>
                  <a:pt x="209" y="112"/>
                  <a:pt x="209" y="111"/>
                  <a:pt x="210" y="111"/>
                </a:cubicBezTo>
                <a:cubicBezTo>
                  <a:pt x="210" y="111"/>
                  <a:pt x="210" y="111"/>
                  <a:pt x="210" y="111"/>
                </a:cubicBezTo>
                <a:cubicBezTo>
                  <a:pt x="210" y="111"/>
                  <a:pt x="210" y="111"/>
                  <a:pt x="210" y="111"/>
                </a:cubicBezTo>
                <a:cubicBezTo>
                  <a:pt x="210" y="110"/>
                  <a:pt x="211" y="110"/>
                  <a:pt x="211" y="110"/>
                </a:cubicBezTo>
                <a:cubicBezTo>
                  <a:pt x="211" y="110"/>
                  <a:pt x="211" y="110"/>
                  <a:pt x="211" y="110"/>
                </a:cubicBezTo>
                <a:cubicBezTo>
                  <a:pt x="212" y="109"/>
                  <a:pt x="212" y="108"/>
                  <a:pt x="213" y="107"/>
                </a:cubicBezTo>
                <a:cubicBezTo>
                  <a:pt x="213" y="107"/>
                  <a:pt x="213" y="107"/>
                  <a:pt x="213" y="107"/>
                </a:cubicBezTo>
                <a:cubicBezTo>
                  <a:pt x="213" y="106"/>
                  <a:pt x="213" y="106"/>
                  <a:pt x="213" y="106"/>
                </a:cubicBezTo>
                <a:cubicBezTo>
                  <a:pt x="214" y="105"/>
                  <a:pt x="214" y="105"/>
                  <a:pt x="214" y="105"/>
                </a:cubicBezTo>
                <a:cubicBezTo>
                  <a:pt x="214" y="105"/>
                  <a:pt x="214" y="105"/>
                  <a:pt x="214" y="105"/>
                </a:cubicBezTo>
                <a:cubicBezTo>
                  <a:pt x="214" y="104"/>
                  <a:pt x="214" y="104"/>
                  <a:pt x="214" y="104"/>
                </a:cubicBezTo>
                <a:cubicBezTo>
                  <a:pt x="214" y="104"/>
                  <a:pt x="214" y="104"/>
                  <a:pt x="214" y="103"/>
                </a:cubicBezTo>
                <a:cubicBezTo>
                  <a:pt x="214" y="103"/>
                  <a:pt x="214" y="103"/>
                  <a:pt x="214" y="102"/>
                </a:cubicBezTo>
                <a:cubicBezTo>
                  <a:pt x="214" y="102"/>
                  <a:pt x="214" y="102"/>
                  <a:pt x="214" y="102"/>
                </a:cubicBezTo>
                <a:cubicBezTo>
                  <a:pt x="214" y="101"/>
                  <a:pt x="214" y="101"/>
                  <a:pt x="214" y="100"/>
                </a:cubicBezTo>
                <a:cubicBezTo>
                  <a:pt x="214" y="100"/>
                  <a:pt x="214" y="100"/>
                  <a:pt x="214" y="100"/>
                </a:cubicBezTo>
                <a:cubicBezTo>
                  <a:pt x="214" y="100"/>
                  <a:pt x="214" y="99"/>
                  <a:pt x="214" y="99"/>
                </a:cubicBezTo>
                <a:cubicBezTo>
                  <a:pt x="214" y="99"/>
                  <a:pt x="214" y="99"/>
                  <a:pt x="214" y="99"/>
                </a:cubicBezTo>
                <a:cubicBezTo>
                  <a:pt x="214" y="98"/>
                  <a:pt x="214" y="98"/>
                  <a:pt x="214" y="98"/>
                </a:cubicBezTo>
                <a:cubicBezTo>
                  <a:pt x="214" y="98"/>
                  <a:pt x="214" y="98"/>
                  <a:pt x="214" y="98"/>
                </a:cubicBezTo>
                <a:cubicBezTo>
                  <a:pt x="209" y="72"/>
                  <a:pt x="193" y="51"/>
                  <a:pt x="171" y="41"/>
                </a:cubicBezTo>
                <a:cubicBezTo>
                  <a:pt x="168" y="40"/>
                  <a:pt x="165" y="39"/>
                  <a:pt x="161" y="38"/>
                </a:cubicBezTo>
                <a:cubicBezTo>
                  <a:pt x="158" y="37"/>
                  <a:pt x="155" y="36"/>
                  <a:pt x="152" y="36"/>
                </a:cubicBezTo>
                <a:cubicBezTo>
                  <a:pt x="151" y="36"/>
                  <a:pt x="150" y="36"/>
                  <a:pt x="149" y="36"/>
                </a:cubicBezTo>
                <a:cubicBezTo>
                  <a:pt x="148" y="36"/>
                  <a:pt x="147" y="36"/>
                  <a:pt x="145" y="36"/>
                </a:cubicBezTo>
                <a:cubicBezTo>
                  <a:pt x="107" y="36"/>
                  <a:pt x="75" y="71"/>
                  <a:pt x="75" y="115"/>
                </a:cubicBezTo>
                <a:cubicBezTo>
                  <a:pt x="75" y="159"/>
                  <a:pt x="107" y="194"/>
                  <a:pt x="145" y="194"/>
                </a:cubicBezTo>
                <a:cubicBezTo>
                  <a:pt x="147" y="194"/>
                  <a:pt x="148" y="194"/>
                  <a:pt x="149" y="194"/>
                </a:cubicBezTo>
                <a:cubicBezTo>
                  <a:pt x="149" y="194"/>
                  <a:pt x="150" y="194"/>
                  <a:pt x="150" y="194"/>
                </a:cubicBezTo>
                <a:cubicBezTo>
                  <a:pt x="151" y="194"/>
                  <a:pt x="151" y="194"/>
                  <a:pt x="152" y="194"/>
                </a:cubicBezTo>
                <a:cubicBezTo>
                  <a:pt x="152" y="194"/>
                  <a:pt x="152" y="194"/>
                  <a:pt x="152" y="194"/>
                </a:cubicBezTo>
                <a:cubicBezTo>
                  <a:pt x="152" y="201"/>
                  <a:pt x="152" y="201"/>
                  <a:pt x="152" y="201"/>
                </a:cubicBezTo>
                <a:cubicBezTo>
                  <a:pt x="56" y="206"/>
                  <a:pt x="56" y="206"/>
                  <a:pt x="56" y="206"/>
                </a:cubicBezTo>
                <a:cubicBezTo>
                  <a:pt x="27" y="196"/>
                  <a:pt x="27" y="196"/>
                  <a:pt x="27" y="196"/>
                </a:cubicBezTo>
                <a:cubicBezTo>
                  <a:pt x="27" y="38"/>
                  <a:pt x="27" y="38"/>
                  <a:pt x="27" y="38"/>
                </a:cubicBezTo>
                <a:cubicBezTo>
                  <a:pt x="57" y="26"/>
                  <a:pt x="57" y="26"/>
                  <a:pt x="57" y="26"/>
                </a:cubicBezTo>
                <a:cubicBezTo>
                  <a:pt x="155" y="29"/>
                  <a:pt x="155" y="29"/>
                  <a:pt x="155" y="29"/>
                </a:cubicBezTo>
                <a:cubicBezTo>
                  <a:pt x="156" y="29"/>
                  <a:pt x="157" y="29"/>
                  <a:pt x="159" y="29"/>
                </a:cubicBezTo>
                <a:cubicBezTo>
                  <a:pt x="164" y="27"/>
                  <a:pt x="168" y="22"/>
                  <a:pt x="168" y="16"/>
                </a:cubicBezTo>
                <a:cubicBezTo>
                  <a:pt x="169" y="9"/>
                  <a:pt x="163" y="3"/>
                  <a:pt x="155" y="3"/>
                </a:cubicBezTo>
                <a:cubicBezTo>
                  <a:pt x="55" y="0"/>
                  <a:pt x="55" y="0"/>
                  <a:pt x="55" y="0"/>
                </a:cubicBezTo>
                <a:cubicBezTo>
                  <a:pt x="54" y="0"/>
                  <a:pt x="52" y="0"/>
                  <a:pt x="50" y="1"/>
                </a:cubicBezTo>
                <a:cubicBezTo>
                  <a:pt x="9" y="16"/>
                  <a:pt x="9" y="16"/>
                  <a:pt x="9" y="16"/>
                </a:cubicBezTo>
                <a:cubicBezTo>
                  <a:pt x="4" y="18"/>
                  <a:pt x="0" y="23"/>
                  <a:pt x="0" y="29"/>
                </a:cubicBezTo>
                <a:cubicBezTo>
                  <a:pt x="0" y="206"/>
                  <a:pt x="0" y="206"/>
                  <a:pt x="0" y="206"/>
                </a:cubicBezTo>
                <a:cubicBezTo>
                  <a:pt x="0" y="211"/>
                  <a:pt x="4" y="216"/>
                  <a:pt x="9" y="218"/>
                </a:cubicBezTo>
                <a:cubicBezTo>
                  <a:pt x="50" y="232"/>
                  <a:pt x="50" y="232"/>
                  <a:pt x="50" y="232"/>
                </a:cubicBezTo>
                <a:cubicBezTo>
                  <a:pt x="51" y="232"/>
                  <a:pt x="53" y="232"/>
                  <a:pt x="54" y="232"/>
                </a:cubicBezTo>
                <a:cubicBezTo>
                  <a:pt x="55" y="232"/>
                  <a:pt x="55" y="232"/>
                  <a:pt x="55" y="232"/>
                </a:cubicBezTo>
                <a:cubicBezTo>
                  <a:pt x="166" y="227"/>
                  <a:pt x="166" y="227"/>
                  <a:pt x="166" y="227"/>
                </a:cubicBezTo>
                <a:cubicBezTo>
                  <a:pt x="173" y="227"/>
                  <a:pt x="179" y="221"/>
                  <a:pt x="179" y="214"/>
                </a:cubicBezTo>
                <a:cubicBezTo>
                  <a:pt x="179" y="176"/>
                  <a:pt x="179" y="176"/>
                  <a:pt x="179" y="176"/>
                </a:cubicBezTo>
                <a:cubicBezTo>
                  <a:pt x="179" y="176"/>
                  <a:pt x="179" y="176"/>
                  <a:pt x="179" y="176"/>
                </a:cubicBezTo>
                <a:cubicBezTo>
                  <a:pt x="179" y="176"/>
                  <a:pt x="179" y="175"/>
                  <a:pt x="179" y="175"/>
                </a:cubicBezTo>
                <a:cubicBezTo>
                  <a:pt x="179" y="175"/>
                  <a:pt x="179" y="175"/>
                  <a:pt x="179" y="175"/>
                </a:cubicBezTo>
                <a:cubicBezTo>
                  <a:pt x="179" y="174"/>
                  <a:pt x="179" y="174"/>
                  <a:pt x="179" y="173"/>
                </a:cubicBezTo>
                <a:cubicBezTo>
                  <a:pt x="179" y="173"/>
                  <a:pt x="179" y="173"/>
                  <a:pt x="178" y="173"/>
                </a:cubicBezTo>
                <a:cubicBezTo>
                  <a:pt x="178" y="173"/>
                  <a:pt x="178" y="172"/>
                  <a:pt x="178" y="172"/>
                </a:cubicBezTo>
                <a:cubicBezTo>
                  <a:pt x="178" y="172"/>
                  <a:pt x="178" y="172"/>
                  <a:pt x="178" y="171"/>
                </a:cubicBezTo>
                <a:cubicBezTo>
                  <a:pt x="178" y="171"/>
                  <a:pt x="178" y="171"/>
                  <a:pt x="178" y="170"/>
                </a:cubicBezTo>
                <a:cubicBezTo>
                  <a:pt x="177" y="170"/>
                  <a:pt x="177" y="170"/>
                  <a:pt x="177" y="170"/>
                </a:cubicBezTo>
                <a:cubicBezTo>
                  <a:pt x="177" y="170"/>
                  <a:pt x="177" y="169"/>
                  <a:pt x="177" y="169"/>
                </a:cubicBezTo>
                <a:cubicBezTo>
                  <a:pt x="176" y="168"/>
                  <a:pt x="176" y="168"/>
                  <a:pt x="176" y="168"/>
                </a:cubicBezTo>
                <a:cubicBezTo>
                  <a:pt x="175" y="167"/>
                  <a:pt x="175" y="167"/>
                  <a:pt x="175" y="167"/>
                </a:cubicBezTo>
                <a:cubicBezTo>
                  <a:pt x="175" y="167"/>
                  <a:pt x="175" y="167"/>
                  <a:pt x="175" y="167"/>
                </a:cubicBezTo>
                <a:cubicBezTo>
                  <a:pt x="175" y="167"/>
                  <a:pt x="175" y="167"/>
                  <a:pt x="174" y="166"/>
                </a:cubicBezTo>
                <a:cubicBezTo>
                  <a:pt x="174" y="166"/>
                  <a:pt x="174" y="166"/>
                  <a:pt x="174" y="166"/>
                </a:cubicBezTo>
                <a:cubicBezTo>
                  <a:pt x="174" y="166"/>
                  <a:pt x="173" y="166"/>
                  <a:pt x="173" y="165"/>
                </a:cubicBezTo>
                <a:cubicBezTo>
                  <a:pt x="173" y="165"/>
                  <a:pt x="173" y="165"/>
                  <a:pt x="173" y="165"/>
                </a:cubicBezTo>
                <a:cubicBezTo>
                  <a:pt x="172" y="165"/>
                  <a:pt x="172" y="165"/>
                  <a:pt x="172" y="165"/>
                </a:cubicBezTo>
                <a:cubicBezTo>
                  <a:pt x="171" y="164"/>
                  <a:pt x="171" y="164"/>
                  <a:pt x="171" y="164"/>
                </a:cubicBezTo>
                <a:cubicBezTo>
                  <a:pt x="171" y="164"/>
                  <a:pt x="171" y="164"/>
                  <a:pt x="170" y="164"/>
                </a:cubicBezTo>
                <a:cubicBezTo>
                  <a:pt x="170" y="164"/>
                  <a:pt x="170" y="164"/>
                  <a:pt x="170" y="164"/>
                </a:cubicBezTo>
                <a:cubicBezTo>
                  <a:pt x="169" y="164"/>
                  <a:pt x="169" y="164"/>
                  <a:pt x="169" y="163"/>
                </a:cubicBezTo>
                <a:cubicBezTo>
                  <a:pt x="169" y="163"/>
                  <a:pt x="168" y="163"/>
                  <a:pt x="168" y="163"/>
                </a:cubicBezTo>
                <a:cubicBezTo>
                  <a:pt x="167" y="163"/>
                  <a:pt x="166" y="163"/>
                  <a:pt x="165" y="163"/>
                </a:cubicBezTo>
                <a:cubicBezTo>
                  <a:pt x="165" y="163"/>
                  <a:pt x="165" y="163"/>
                  <a:pt x="165" y="163"/>
                </a:cubicBezTo>
                <a:cubicBezTo>
                  <a:pt x="164" y="163"/>
                  <a:pt x="164" y="163"/>
                  <a:pt x="164" y="163"/>
                </a:cubicBezTo>
                <a:cubicBezTo>
                  <a:pt x="164" y="163"/>
                  <a:pt x="163" y="163"/>
                  <a:pt x="163" y="163"/>
                </a:cubicBezTo>
                <a:cubicBezTo>
                  <a:pt x="163" y="163"/>
                  <a:pt x="162" y="164"/>
                  <a:pt x="162" y="164"/>
                </a:cubicBezTo>
                <a:cubicBezTo>
                  <a:pt x="162" y="164"/>
                  <a:pt x="162" y="164"/>
                  <a:pt x="162" y="164"/>
                </a:cubicBezTo>
                <a:cubicBezTo>
                  <a:pt x="161" y="164"/>
                  <a:pt x="161" y="164"/>
                  <a:pt x="160" y="164"/>
                </a:cubicBezTo>
                <a:cubicBezTo>
                  <a:pt x="156" y="166"/>
                  <a:pt x="151" y="167"/>
                  <a:pt x="145" y="167"/>
                </a:cubicBezTo>
                <a:cubicBezTo>
                  <a:pt x="122" y="167"/>
                  <a:pt x="102" y="144"/>
                  <a:pt x="102" y="115"/>
                </a:cubicBezTo>
                <a:cubicBezTo>
                  <a:pt x="102" y="86"/>
                  <a:pt x="122" y="62"/>
                  <a:pt x="145" y="62"/>
                </a:cubicBezTo>
                <a:cubicBezTo>
                  <a:pt x="147" y="62"/>
                  <a:pt x="148" y="62"/>
                  <a:pt x="149" y="63"/>
                </a:cubicBezTo>
                <a:cubicBezTo>
                  <a:pt x="153" y="63"/>
                  <a:pt x="157" y="64"/>
                  <a:pt x="160" y="65"/>
                </a:cubicBezTo>
                <a:cubicBezTo>
                  <a:pt x="160" y="65"/>
                  <a:pt x="160" y="65"/>
                  <a:pt x="160" y="65"/>
                </a:cubicBezTo>
                <a:cubicBezTo>
                  <a:pt x="167" y="69"/>
                  <a:pt x="174" y="74"/>
                  <a:pt x="179" y="81"/>
                </a:cubicBezTo>
                <a:cubicBezTo>
                  <a:pt x="178" y="81"/>
                  <a:pt x="178" y="81"/>
                  <a:pt x="178" y="81"/>
                </a:cubicBezTo>
                <a:cubicBezTo>
                  <a:pt x="178" y="81"/>
                  <a:pt x="178" y="81"/>
                  <a:pt x="177" y="81"/>
                </a:cubicBezTo>
                <a:cubicBezTo>
                  <a:pt x="177" y="81"/>
                  <a:pt x="177" y="81"/>
                  <a:pt x="176" y="80"/>
                </a:cubicBezTo>
                <a:cubicBezTo>
                  <a:pt x="176" y="80"/>
                  <a:pt x="176" y="80"/>
                  <a:pt x="176" y="80"/>
                </a:cubicBezTo>
                <a:cubicBezTo>
                  <a:pt x="175" y="80"/>
                  <a:pt x="175" y="80"/>
                  <a:pt x="174" y="80"/>
                </a:cubicBezTo>
                <a:cubicBezTo>
                  <a:pt x="174" y="80"/>
                  <a:pt x="174" y="80"/>
                  <a:pt x="174" y="80"/>
                </a:cubicBezTo>
                <a:cubicBezTo>
                  <a:pt x="173" y="80"/>
                  <a:pt x="173" y="80"/>
                  <a:pt x="173" y="80"/>
                </a:cubicBezTo>
                <a:cubicBezTo>
                  <a:pt x="172" y="80"/>
                  <a:pt x="172" y="80"/>
                  <a:pt x="172" y="80"/>
                </a:cubicBezTo>
                <a:cubicBezTo>
                  <a:pt x="171" y="80"/>
                  <a:pt x="171" y="80"/>
                  <a:pt x="171" y="80"/>
                </a:cubicBezTo>
                <a:cubicBezTo>
                  <a:pt x="170" y="80"/>
                  <a:pt x="170" y="80"/>
                  <a:pt x="170" y="80"/>
                </a:cubicBezTo>
                <a:cubicBezTo>
                  <a:pt x="169" y="80"/>
                  <a:pt x="169" y="80"/>
                  <a:pt x="169" y="80"/>
                </a:cubicBezTo>
                <a:cubicBezTo>
                  <a:pt x="168" y="80"/>
                  <a:pt x="168" y="80"/>
                  <a:pt x="168" y="80"/>
                </a:cubicBezTo>
                <a:cubicBezTo>
                  <a:pt x="168" y="80"/>
                  <a:pt x="167" y="80"/>
                  <a:pt x="167" y="80"/>
                </a:cubicBezTo>
                <a:cubicBezTo>
                  <a:pt x="166" y="80"/>
                  <a:pt x="166" y="80"/>
                  <a:pt x="166" y="80"/>
                </a:cubicBezTo>
                <a:cubicBezTo>
                  <a:pt x="165" y="80"/>
                  <a:pt x="165" y="80"/>
                  <a:pt x="164" y="80"/>
                </a:cubicBezTo>
                <a:cubicBezTo>
                  <a:pt x="150" y="82"/>
                  <a:pt x="138" y="91"/>
                  <a:pt x="134" y="105"/>
                </a:cubicBezTo>
                <a:cubicBezTo>
                  <a:pt x="130" y="114"/>
                  <a:pt x="131" y="124"/>
                  <a:pt x="135" y="133"/>
                </a:cubicBezTo>
                <a:cubicBezTo>
                  <a:pt x="140" y="142"/>
                  <a:pt x="147" y="148"/>
                  <a:pt x="157" y="151"/>
                </a:cubicBezTo>
                <a:cubicBezTo>
                  <a:pt x="218" y="172"/>
                  <a:pt x="218" y="172"/>
                  <a:pt x="218" y="172"/>
                </a:cubicBezTo>
                <a:cubicBezTo>
                  <a:pt x="213" y="179"/>
                  <a:pt x="208" y="186"/>
                  <a:pt x="205" y="191"/>
                </a:cubicBezTo>
                <a:cubicBezTo>
                  <a:pt x="195" y="209"/>
                  <a:pt x="198" y="240"/>
                  <a:pt x="216" y="253"/>
                </a:cubicBezTo>
                <a:cubicBezTo>
                  <a:pt x="218" y="254"/>
                  <a:pt x="220" y="256"/>
                  <a:pt x="222" y="258"/>
                </a:cubicBezTo>
                <a:cubicBezTo>
                  <a:pt x="220" y="260"/>
                  <a:pt x="217" y="263"/>
                  <a:pt x="216" y="266"/>
                </a:cubicBezTo>
                <a:cubicBezTo>
                  <a:pt x="210" y="274"/>
                  <a:pt x="209" y="285"/>
                  <a:pt x="210" y="295"/>
                </a:cubicBezTo>
                <a:cubicBezTo>
                  <a:pt x="214" y="315"/>
                  <a:pt x="231" y="327"/>
                  <a:pt x="251" y="325"/>
                </a:cubicBezTo>
                <a:cubicBezTo>
                  <a:pt x="359" y="333"/>
                  <a:pt x="359" y="333"/>
                  <a:pt x="359" y="333"/>
                </a:cubicBezTo>
                <a:cubicBezTo>
                  <a:pt x="359" y="333"/>
                  <a:pt x="360" y="333"/>
                  <a:pt x="360" y="333"/>
                </a:cubicBezTo>
                <a:cubicBezTo>
                  <a:pt x="361" y="333"/>
                  <a:pt x="361" y="333"/>
                  <a:pt x="362" y="333"/>
                </a:cubicBezTo>
                <a:cubicBezTo>
                  <a:pt x="373" y="331"/>
                  <a:pt x="382" y="325"/>
                  <a:pt x="390" y="319"/>
                </a:cubicBezTo>
                <a:cubicBezTo>
                  <a:pt x="395" y="316"/>
                  <a:pt x="400" y="312"/>
                  <a:pt x="404" y="310"/>
                </a:cubicBezTo>
                <a:cubicBezTo>
                  <a:pt x="408" y="308"/>
                  <a:pt x="411" y="305"/>
                  <a:pt x="412" y="301"/>
                </a:cubicBezTo>
                <a:cubicBezTo>
                  <a:pt x="431" y="193"/>
                  <a:pt x="431" y="193"/>
                  <a:pt x="431" y="193"/>
                </a:cubicBezTo>
                <a:cubicBezTo>
                  <a:pt x="432" y="187"/>
                  <a:pt x="429" y="181"/>
                  <a:pt x="424" y="179"/>
                </a:cubicBezTo>
                <a:close/>
                <a:moveTo>
                  <a:pt x="228" y="204"/>
                </a:moveTo>
                <a:cubicBezTo>
                  <a:pt x="231" y="199"/>
                  <a:pt x="237" y="191"/>
                  <a:pt x="245" y="181"/>
                </a:cubicBezTo>
                <a:cubicBezTo>
                  <a:pt x="251" y="183"/>
                  <a:pt x="251" y="183"/>
                  <a:pt x="251" y="183"/>
                </a:cubicBezTo>
                <a:cubicBezTo>
                  <a:pt x="254" y="184"/>
                  <a:pt x="254" y="184"/>
                  <a:pt x="254" y="184"/>
                </a:cubicBezTo>
                <a:cubicBezTo>
                  <a:pt x="261" y="188"/>
                  <a:pt x="261" y="188"/>
                  <a:pt x="261" y="188"/>
                </a:cubicBezTo>
                <a:cubicBezTo>
                  <a:pt x="262" y="189"/>
                  <a:pt x="262" y="189"/>
                  <a:pt x="262" y="189"/>
                </a:cubicBezTo>
                <a:cubicBezTo>
                  <a:pt x="262" y="189"/>
                  <a:pt x="262" y="189"/>
                  <a:pt x="262" y="189"/>
                </a:cubicBezTo>
                <a:cubicBezTo>
                  <a:pt x="262" y="190"/>
                  <a:pt x="261" y="190"/>
                  <a:pt x="261" y="190"/>
                </a:cubicBezTo>
                <a:cubicBezTo>
                  <a:pt x="261" y="191"/>
                  <a:pt x="260" y="191"/>
                  <a:pt x="260" y="192"/>
                </a:cubicBezTo>
                <a:cubicBezTo>
                  <a:pt x="260" y="192"/>
                  <a:pt x="259" y="193"/>
                  <a:pt x="259" y="193"/>
                </a:cubicBezTo>
                <a:cubicBezTo>
                  <a:pt x="259" y="194"/>
                  <a:pt x="258" y="194"/>
                  <a:pt x="258" y="195"/>
                </a:cubicBezTo>
                <a:cubicBezTo>
                  <a:pt x="258" y="195"/>
                  <a:pt x="257" y="195"/>
                  <a:pt x="257" y="196"/>
                </a:cubicBezTo>
                <a:cubicBezTo>
                  <a:pt x="257" y="196"/>
                  <a:pt x="256" y="197"/>
                  <a:pt x="256" y="198"/>
                </a:cubicBezTo>
                <a:cubicBezTo>
                  <a:pt x="256" y="198"/>
                  <a:pt x="256" y="198"/>
                  <a:pt x="256" y="198"/>
                </a:cubicBezTo>
                <a:cubicBezTo>
                  <a:pt x="255" y="199"/>
                  <a:pt x="255" y="200"/>
                  <a:pt x="254" y="200"/>
                </a:cubicBezTo>
                <a:cubicBezTo>
                  <a:pt x="254" y="201"/>
                  <a:pt x="254" y="201"/>
                  <a:pt x="254" y="201"/>
                </a:cubicBezTo>
                <a:cubicBezTo>
                  <a:pt x="254" y="202"/>
                  <a:pt x="254" y="202"/>
                  <a:pt x="253" y="203"/>
                </a:cubicBezTo>
                <a:cubicBezTo>
                  <a:pt x="253" y="203"/>
                  <a:pt x="253" y="203"/>
                  <a:pt x="253" y="203"/>
                </a:cubicBezTo>
                <a:cubicBezTo>
                  <a:pt x="253" y="204"/>
                  <a:pt x="253" y="204"/>
                  <a:pt x="252" y="205"/>
                </a:cubicBezTo>
                <a:cubicBezTo>
                  <a:pt x="252" y="205"/>
                  <a:pt x="252" y="205"/>
                  <a:pt x="252" y="205"/>
                </a:cubicBezTo>
                <a:cubicBezTo>
                  <a:pt x="252" y="206"/>
                  <a:pt x="252" y="206"/>
                  <a:pt x="252" y="207"/>
                </a:cubicBezTo>
                <a:cubicBezTo>
                  <a:pt x="252" y="207"/>
                  <a:pt x="252" y="207"/>
                  <a:pt x="252" y="207"/>
                </a:cubicBezTo>
                <a:cubicBezTo>
                  <a:pt x="251" y="208"/>
                  <a:pt x="251" y="208"/>
                  <a:pt x="251" y="209"/>
                </a:cubicBezTo>
                <a:cubicBezTo>
                  <a:pt x="251" y="209"/>
                  <a:pt x="251" y="209"/>
                  <a:pt x="251" y="209"/>
                </a:cubicBezTo>
                <a:cubicBezTo>
                  <a:pt x="251" y="210"/>
                  <a:pt x="251" y="210"/>
                  <a:pt x="251" y="211"/>
                </a:cubicBezTo>
                <a:cubicBezTo>
                  <a:pt x="251" y="211"/>
                  <a:pt x="251" y="211"/>
                  <a:pt x="251" y="211"/>
                </a:cubicBezTo>
                <a:cubicBezTo>
                  <a:pt x="251" y="212"/>
                  <a:pt x="251" y="212"/>
                  <a:pt x="251" y="213"/>
                </a:cubicBezTo>
                <a:cubicBezTo>
                  <a:pt x="251" y="213"/>
                  <a:pt x="251" y="213"/>
                  <a:pt x="251" y="213"/>
                </a:cubicBezTo>
                <a:cubicBezTo>
                  <a:pt x="251" y="214"/>
                  <a:pt x="251" y="214"/>
                  <a:pt x="251" y="214"/>
                </a:cubicBezTo>
                <a:cubicBezTo>
                  <a:pt x="251" y="214"/>
                  <a:pt x="251" y="215"/>
                  <a:pt x="251" y="215"/>
                </a:cubicBezTo>
                <a:cubicBezTo>
                  <a:pt x="252" y="215"/>
                  <a:pt x="252" y="216"/>
                  <a:pt x="252" y="216"/>
                </a:cubicBezTo>
                <a:cubicBezTo>
                  <a:pt x="252" y="216"/>
                  <a:pt x="252" y="216"/>
                  <a:pt x="252" y="216"/>
                </a:cubicBezTo>
                <a:cubicBezTo>
                  <a:pt x="252" y="217"/>
                  <a:pt x="252" y="218"/>
                  <a:pt x="253" y="218"/>
                </a:cubicBezTo>
                <a:cubicBezTo>
                  <a:pt x="253" y="219"/>
                  <a:pt x="253" y="219"/>
                  <a:pt x="254" y="220"/>
                </a:cubicBezTo>
                <a:cubicBezTo>
                  <a:pt x="255" y="221"/>
                  <a:pt x="256" y="222"/>
                  <a:pt x="258" y="224"/>
                </a:cubicBezTo>
                <a:cubicBezTo>
                  <a:pt x="269" y="233"/>
                  <a:pt x="269" y="233"/>
                  <a:pt x="269" y="233"/>
                </a:cubicBezTo>
                <a:cubicBezTo>
                  <a:pt x="269" y="233"/>
                  <a:pt x="269" y="233"/>
                  <a:pt x="269" y="233"/>
                </a:cubicBezTo>
                <a:cubicBezTo>
                  <a:pt x="269" y="233"/>
                  <a:pt x="269" y="233"/>
                  <a:pt x="269" y="233"/>
                </a:cubicBezTo>
                <a:cubicBezTo>
                  <a:pt x="275" y="237"/>
                  <a:pt x="275" y="237"/>
                  <a:pt x="275" y="237"/>
                </a:cubicBezTo>
                <a:cubicBezTo>
                  <a:pt x="275" y="238"/>
                  <a:pt x="274" y="238"/>
                  <a:pt x="274" y="238"/>
                </a:cubicBezTo>
                <a:cubicBezTo>
                  <a:pt x="274" y="239"/>
                  <a:pt x="274" y="239"/>
                  <a:pt x="273" y="239"/>
                </a:cubicBezTo>
                <a:cubicBezTo>
                  <a:pt x="273" y="240"/>
                  <a:pt x="273" y="240"/>
                  <a:pt x="273" y="240"/>
                </a:cubicBezTo>
                <a:cubicBezTo>
                  <a:pt x="272" y="241"/>
                  <a:pt x="272" y="241"/>
                  <a:pt x="272" y="241"/>
                </a:cubicBezTo>
                <a:cubicBezTo>
                  <a:pt x="271" y="241"/>
                  <a:pt x="271" y="242"/>
                  <a:pt x="271" y="242"/>
                </a:cubicBezTo>
                <a:cubicBezTo>
                  <a:pt x="271" y="242"/>
                  <a:pt x="270" y="242"/>
                  <a:pt x="270" y="243"/>
                </a:cubicBezTo>
                <a:cubicBezTo>
                  <a:pt x="270" y="243"/>
                  <a:pt x="269" y="244"/>
                  <a:pt x="269" y="244"/>
                </a:cubicBezTo>
                <a:cubicBezTo>
                  <a:pt x="253" y="247"/>
                  <a:pt x="253" y="247"/>
                  <a:pt x="253" y="247"/>
                </a:cubicBezTo>
                <a:cubicBezTo>
                  <a:pt x="246" y="241"/>
                  <a:pt x="237" y="235"/>
                  <a:pt x="231" y="231"/>
                </a:cubicBezTo>
                <a:cubicBezTo>
                  <a:pt x="226" y="228"/>
                  <a:pt x="224" y="213"/>
                  <a:pt x="228" y="20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6" name="Freeform 596"/>
          <p:cNvSpPr>
            <a:spLocks noEditPoints="1"/>
          </p:cNvSpPr>
          <p:nvPr userDrawn="1"/>
        </p:nvSpPr>
        <p:spPr bwMode="auto">
          <a:xfrm>
            <a:off x="7887529" y="2757828"/>
            <a:ext cx="348944" cy="389334"/>
          </a:xfrm>
          <a:custGeom>
            <a:avLst/>
            <a:gdLst/>
            <a:ahLst/>
            <a:cxnLst>
              <a:cxn ang="0">
                <a:pos x="157" y="15"/>
              </a:cxn>
              <a:cxn ang="0">
                <a:pos x="154" y="35"/>
              </a:cxn>
              <a:cxn ang="0">
                <a:pos x="22" y="68"/>
              </a:cxn>
              <a:cxn ang="0">
                <a:pos x="0" y="99"/>
              </a:cxn>
              <a:cxn ang="0">
                <a:pos x="25" y="164"/>
              </a:cxn>
              <a:cxn ang="0">
                <a:pos x="72" y="402"/>
              </a:cxn>
              <a:cxn ang="0">
                <a:pos x="207" y="461"/>
              </a:cxn>
              <a:cxn ang="0">
                <a:pos x="323" y="432"/>
              </a:cxn>
              <a:cxn ang="0">
                <a:pos x="344" y="401"/>
              </a:cxn>
              <a:cxn ang="0">
                <a:pos x="370" y="153"/>
              </a:cxn>
              <a:cxn ang="0">
                <a:pos x="207" y="177"/>
              </a:cxn>
              <a:cxn ang="0">
                <a:pos x="98" y="179"/>
              </a:cxn>
              <a:cxn ang="0">
                <a:pos x="207" y="204"/>
              </a:cxn>
              <a:cxn ang="0">
                <a:pos x="317" y="397"/>
              </a:cxn>
              <a:cxn ang="0">
                <a:pos x="305" y="412"/>
              </a:cxn>
              <a:cxn ang="0">
                <a:pos x="99" y="401"/>
              </a:cxn>
              <a:cxn ang="0">
                <a:pos x="66" y="162"/>
              </a:cxn>
              <a:cxn ang="0">
                <a:pos x="41" y="143"/>
              </a:cxn>
              <a:cxn ang="0">
                <a:pos x="27" y="98"/>
              </a:cxn>
              <a:cxn ang="0">
                <a:pos x="167" y="61"/>
              </a:cxn>
              <a:cxn ang="0">
                <a:pos x="182" y="27"/>
              </a:cxn>
              <a:cxn ang="0">
                <a:pos x="232" y="27"/>
              </a:cxn>
              <a:cxn ang="0">
                <a:pos x="248" y="61"/>
              </a:cxn>
              <a:cxn ang="0">
                <a:pos x="388" y="98"/>
              </a:cxn>
              <a:cxn ang="0">
                <a:pos x="385" y="130"/>
              </a:cxn>
              <a:cxn ang="0">
                <a:pos x="412" y="132"/>
              </a:cxn>
              <a:cxn ang="0">
                <a:pos x="414" y="87"/>
              </a:cxn>
              <a:cxn ang="0">
                <a:pos x="357" y="53"/>
              </a:cxn>
              <a:cxn ang="0">
                <a:pos x="258" y="17"/>
              </a:cxn>
              <a:cxn ang="0">
                <a:pos x="241" y="0"/>
              </a:cxn>
              <a:cxn ang="0">
                <a:pos x="207" y="0"/>
              </a:cxn>
              <a:cxn ang="0">
                <a:pos x="241" y="27"/>
              </a:cxn>
            </a:cxnLst>
            <a:rect l="0" t="0" r="r" b="b"/>
            <a:pathLst>
              <a:path w="415" h="461">
                <a:moveTo>
                  <a:pt x="174" y="0"/>
                </a:moveTo>
                <a:cubicBezTo>
                  <a:pt x="165" y="0"/>
                  <a:pt x="159" y="8"/>
                  <a:pt x="157" y="15"/>
                </a:cubicBezTo>
                <a:cubicBezTo>
                  <a:pt x="157" y="15"/>
                  <a:pt x="156" y="16"/>
                  <a:pt x="156" y="17"/>
                </a:cubicBezTo>
                <a:cubicBezTo>
                  <a:pt x="156" y="17"/>
                  <a:pt x="155" y="26"/>
                  <a:pt x="154" y="35"/>
                </a:cubicBezTo>
                <a:cubicBezTo>
                  <a:pt x="112" y="37"/>
                  <a:pt x="76" y="47"/>
                  <a:pt x="58" y="53"/>
                </a:cubicBezTo>
                <a:cubicBezTo>
                  <a:pt x="44" y="58"/>
                  <a:pt x="31" y="63"/>
                  <a:pt x="22" y="68"/>
                </a:cubicBezTo>
                <a:cubicBezTo>
                  <a:pt x="9" y="74"/>
                  <a:pt x="3" y="80"/>
                  <a:pt x="1" y="87"/>
                </a:cubicBezTo>
                <a:cubicBezTo>
                  <a:pt x="0" y="89"/>
                  <a:pt x="0" y="94"/>
                  <a:pt x="0" y="99"/>
                </a:cubicBezTo>
                <a:cubicBezTo>
                  <a:pt x="0" y="108"/>
                  <a:pt x="1" y="121"/>
                  <a:pt x="3" y="132"/>
                </a:cubicBezTo>
                <a:cubicBezTo>
                  <a:pt x="3" y="136"/>
                  <a:pt x="6" y="150"/>
                  <a:pt x="25" y="164"/>
                </a:cubicBezTo>
                <a:cubicBezTo>
                  <a:pt x="30" y="168"/>
                  <a:pt x="36" y="171"/>
                  <a:pt x="40" y="173"/>
                </a:cubicBezTo>
                <a:cubicBezTo>
                  <a:pt x="45" y="209"/>
                  <a:pt x="68" y="375"/>
                  <a:pt x="72" y="402"/>
                </a:cubicBezTo>
                <a:cubicBezTo>
                  <a:pt x="72" y="402"/>
                  <a:pt x="74" y="411"/>
                  <a:pt x="78" y="417"/>
                </a:cubicBezTo>
                <a:cubicBezTo>
                  <a:pt x="91" y="434"/>
                  <a:pt x="137" y="461"/>
                  <a:pt x="207" y="461"/>
                </a:cubicBezTo>
                <a:cubicBezTo>
                  <a:pt x="281" y="461"/>
                  <a:pt x="305" y="444"/>
                  <a:pt x="320" y="434"/>
                </a:cubicBezTo>
                <a:cubicBezTo>
                  <a:pt x="323" y="432"/>
                  <a:pt x="323" y="432"/>
                  <a:pt x="323" y="432"/>
                </a:cubicBezTo>
                <a:cubicBezTo>
                  <a:pt x="340" y="421"/>
                  <a:pt x="343" y="403"/>
                  <a:pt x="344" y="401"/>
                </a:cubicBezTo>
                <a:cubicBezTo>
                  <a:pt x="344" y="401"/>
                  <a:pt x="344" y="401"/>
                  <a:pt x="344" y="401"/>
                </a:cubicBezTo>
                <a:cubicBezTo>
                  <a:pt x="376" y="166"/>
                  <a:pt x="376" y="166"/>
                  <a:pt x="376" y="166"/>
                </a:cubicBezTo>
                <a:cubicBezTo>
                  <a:pt x="376" y="161"/>
                  <a:pt x="374" y="156"/>
                  <a:pt x="370" y="153"/>
                </a:cubicBezTo>
                <a:cubicBezTo>
                  <a:pt x="366" y="151"/>
                  <a:pt x="361" y="150"/>
                  <a:pt x="357" y="152"/>
                </a:cubicBezTo>
                <a:cubicBezTo>
                  <a:pt x="326" y="167"/>
                  <a:pt x="263" y="177"/>
                  <a:pt x="207" y="177"/>
                </a:cubicBezTo>
                <a:cubicBezTo>
                  <a:pt x="166" y="177"/>
                  <a:pt x="133" y="172"/>
                  <a:pt x="113" y="169"/>
                </a:cubicBezTo>
                <a:cubicBezTo>
                  <a:pt x="106" y="167"/>
                  <a:pt x="99" y="172"/>
                  <a:pt x="98" y="179"/>
                </a:cubicBezTo>
                <a:cubicBezTo>
                  <a:pt x="96" y="186"/>
                  <a:pt x="101" y="193"/>
                  <a:pt x="108" y="195"/>
                </a:cubicBezTo>
                <a:cubicBezTo>
                  <a:pt x="129" y="199"/>
                  <a:pt x="163" y="204"/>
                  <a:pt x="207" y="204"/>
                </a:cubicBezTo>
                <a:cubicBezTo>
                  <a:pt x="249" y="204"/>
                  <a:pt x="305" y="198"/>
                  <a:pt x="346" y="185"/>
                </a:cubicBezTo>
                <a:cubicBezTo>
                  <a:pt x="341" y="222"/>
                  <a:pt x="317" y="396"/>
                  <a:pt x="317" y="397"/>
                </a:cubicBezTo>
                <a:cubicBezTo>
                  <a:pt x="317" y="397"/>
                  <a:pt x="315" y="405"/>
                  <a:pt x="309" y="410"/>
                </a:cubicBezTo>
                <a:cubicBezTo>
                  <a:pt x="305" y="412"/>
                  <a:pt x="305" y="412"/>
                  <a:pt x="305" y="412"/>
                </a:cubicBezTo>
                <a:cubicBezTo>
                  <a:pt x="293" y="420"/>
                  <a:pt x="273" y="434"/>
                  <a:pt x="207" y="434"/>
                </a:cubicBezTo>
                <a:cubicBezTo>
                  <a:pt x="145" y="434"/>
                  <a:pt x="107" y="410"/>
                  <a:pt x="99" y="401"/>
                </a:cubicBezTo>
                <a:cubicBezTo>
                  <a:pt x="99" y="400"/>
                  <a:pt x="99" y="399"/>
                  <a:pt x="98" y="398"/>
                </a:cubicBezTo>
                <a:cubicBezTo>
                  <a:pt x="94" y="369"/>
                  <a:pt x="66" y="165"/>
                  <a:pt x="66" y="162"/>
                </a:cubicBezTo>
                <a:cubicBezTo>
                  <a:pt x="65" y="158"/>
                  <a:pt x="62" y="154"/>
                  <a:pt x="58" y="152"/>
                </a:cubicBezTo>
                <a:cubicBezTo>
                  <a:pt x="58" y="152"/>
                  <a:pt x="48" y="147"/>
                  <a:pt x="41" y="143"/>
                </a:cubicBezTo>
                <a:cubicBezTo>
                  <a:pt x="31" y="135"/>
                  <a:pt x="29" y="129"/>
                  <a:pt x="29" y="129"/>
                </a:cubicBezTo>
                <a:cubicBezTo>
                  <a:pt x="28" y="118"/>
                  <a:pt x="27" y="105"/>
                  <a:pt x="27" y="98"/>
                </a:cubicBezTo>
                <a:cubicBezTo>
                  <a:pt x="27" y="97"/>
                  <a:pt x="27" y="96"/>
                  <a:pt x="27" y="96"/>
                </a:cubicBezTo>
                <a:cubicBezTo>
                  <a:pt x="38" y="87"/>
                  <a:pt x="98" y="63"/>
                  <a:pt x="167" y="61"/>
                </a:cubicBezTo>
                <a:cubicBezTo>
                  <a:pt x="174" y="60"/>
                  <a:pt x="179" y="55"/>
                  <a:pt x="180" y="49"/>
                </a:cubicBezTo>
                <a:cubicBezTo>
                  <a:pt x="180" y="49"/>
                  <a:pt x="181" y="35"/>
                  <a:pt x="182" y="27"/>
                </a:cubicBezTo>
                <a:cubicBezTo>
                  <a:pt x="191" y="27"/>
                  <a:pt x="207" y="27"/>
                  <a:pt x="207" y="27"/>
                </a:cubicBezTo>
                <a:cubicBezTo>
                  <a:pt x="207" y="27"/>
                  <a:pt x="224" y="27"/>
                  <a:pt x="232" y="27"/>
                </a:cubicBezTo>
                <a:cubicBezTo>
                  <a:pt x="233" y="35"/>
                  <a:pt x="235" y="49"/>
                  <a:pt x="235" y="49"/>
                </a:cubicBezTo>
                <a:cubicBezTo>
                  <a:pt x="236" y="55"/>
                  <a:pt x="241" y="60"/>
                  <a:pt x="248" y="61"/>
                </a:cubicBezTo>
                <a:cubicBezTo>
                  <a:pt x="316" y="62"/>
                  <a:pt x="376" y="86"/>
                  <a:pt x="388" y="96"/>
                </a:cubicBezTo>
                <a:cubicBezTo>
                  <a:pt x="388" y="96"/>
                  <a:pt x="388" y="97"/>
                  <a:pt x="388" y="98"/>
                </a:cubicBezTo>
                <a:cubicBezTo>
                  <a:pt x="388" y="105"/>
                  <a:pt x="387" y="118"/>
                  <a:pt x="386" y="129"/>
                </a:cubicBezTo>
                <a:cubicBezTo>
                  <a:pt x="386" y="129"/>
                  <a:pt x="385" y="130"/>
                  <a:pt x="385" y="130"/>
                </a:cubicBezTo>
                <a:cubicBezTo>
                  <a:pt x="385" y="137"/>
                  <a:pt x="390" y="143"/>
                  <a:pt x="397" y="144"/>
                </a:cubicBezTo>
                <a:cubicBezTo>
                  <a:pt x="404" y="144"/>
                  <a:pt x="411" y="139"/>
                  <a:pt x="412" y="132"/>
                </a:cubicBezTo>
                <a:cubicBezTo>
                  <a:pt x="413" y="121"/>
                  <a:pt x="415" y="108"/>
                  <a:pt x="415" y="99"/>
                </a:cubicBezTo>
                <a:cubicBezTo>
                  <a:pt x="415" y="94"/>
                  <a:pt x="414" y="89"/>
                  <a:pt x="414" y="87"/>
                </a:cubicBezTo>
                <a:cubicBezTo>
                  <a:pt x="412" y="80"/>
                  <a:pt x="405" y="74"/>
                  <a:pt x="393" y="68"/>
                </a:cubicBezTo>
                <a:cubicBezTo>
                  <a:pt x="383" y="63"/>
                  <a:pt x="371" y="58"/>
                  <a:pt x="357" y="53"/>
                </a:cubicBezTo>
                <a:cubicBezTo>
                  <a:pt x="339" y="47"/>
                  <a:pt x="303" y="37"/>
                  <a:pt x="260" y="34"/>
                </a:cubicBezTo>
                <a:cubicBezTo>
                  <a:pt x="259" y="26"/>
                  <a:pt x="258" y="17"/>
                  <a:pt x="258" y="17"/>
                </a:cubicBezTo>
                <a:cubicBezTo>
                  <a:pt x="258" y="16"/>
                  <a:pt x="258" y="15"/>
                  <a:pt x="258" y="15"/>
                </a:cubicBezTo>
                <a:cubicBezTo>
                  <a:pt x="256" y="8"/>
                  <a:pt x="250" y="0"/>
                  <a:pt x="241" y="0"/>
                </a:cubicBezTo>
                <a:cubicBezTo>
                  <a:pt x="237" y="0"/>
                  <a:pt x="237" y="0"/>
                  <a:pt x="237" y="0"/>
                </a:cubicBezTo>
                <a:cubicBezTo>
                  <a:pt x="207" y="0"/>
                  <a:pt x="207" y="0"/>
                  <a:pt x="207" y="0"/>
                </a:cubicBezTo>
                <a:cubicBezTo>
                  <a:pt x="207" y="0"/>
                  <a:pt x="174" y="0"/>
                  <a:pt x="174" y="0"/>
                </a:cubicBezTo>
                <a:close/>
                <a:moveTo>
                  <a:pt x="241" y="27"/>
                </a:moveTo>
                <a:cubicBezTo>
                  <a:pt x="241" y="27"/>
                  <a:pt x="241" y="27"/>
                  <a:pt x="241" y="2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7" name="Freeform 604"/>
          <p:cNvSpPr>
            <a:spLocks/>
          </p:cNvSpPr>
          <p:nvPr userDrawn="1"/>
        </p:nvSpPr>
        <p:spPr bwMode="auto">
          <a:xfrm>
            <a:off x="7901822" y="3898259"/>
            <a:ext cx="320361" cy="188119"/>
          </a:xfrm>
          <a:custGeom>
            <a:avLst/>
            <a:gdLst/>
            <a:ahLst/>
            <a:cxnLst>
              <a:cxn ang="0">
                <a:pos x="0" y="146"/>
              </a:cxn>
              <a:cxn ang="0">
                <a:pos x="3" y="156"/>
              </a:cxn>
              <a:cxn ang="0">
                <a:pos x="12" y="160"/>
              </a:cxn>
              <a:cxn ang="0">
                <a:pos x="124" y="160"/>
              </a:cxn>
              <a:cxn ang="0">
                <a:pos x="137" y="147"/>
              </a:cxn>
              <a:cxn ang="0">
                <a:pos x="124" y="135"/>
              </a:cxn>
              <a:cxn ang="0">
                <a:pos x="26" y="135"/>
              </a:cxn>
              <a:cxn ang="0">
                <a:pos x="162" y="24"/>
              </a:cxn>
              <a:cxn ang="0">
                <a:pos x="300" y="163"/>
              </a:cxn>
              <a:cxn ang="0">
                <a:pos x="308" y="174"/>
              </a:cxn>
              <a:cxn ang="0">
                <a:pos x="333" y="185"/>
              </a:cxn>
              <a:cxn ang="0">
                <a:pos x="296" y="190"/>
              </a:cxn>
              <a:cxn ang="0">
                <a:pos x="296" y="190"/>
              </a:cxn>
              <a:cxn ang="0">
                <a:pos x="225" y="180"/>
              </a:cxn>
              <a:cxn ang="0">
                <a:pos x="222" y="180"/>
              </a:cxn>
              <a:cxn ang="0">
                <a:pos x="47" y="180"/>
              </a:cxn>
              <a:cxn ang="0">
                <a:pos x="35" y="192"/>
              </a:cxn>
              <a:cxn ang="0">
                <a:pos x="35" y="208"/>
              </a:cxn>
              <a:cxn ang="0">
                <a:pos x="47" y="221"/>
              </a:cxn>
              <a:cxn ang="0">
                <a:pos x="59" y="208"/>
              </a:cxn>
              <a:cxn ang="0">
                <a:pos x="59" y="204"/>
              </a:cxn>
              <a:cxn ang="0">
                <a:pos x="220" y="204"/>
              </a:cxn>
              <a:cxn ang="0">
                <a:pos x="296" y="215"/>
              </a:cxn>
              <a:cxn ang="0">
                <a:pos x="296" y="215"/>
              </a:cxn>
              <a:cxn ang="0">
                <a:pos x="372" y="198"/>
              </a:cxn>
              <a:cxn ang="0">
                <a:pos x="379" y="187"/>
              </a:cxn>
              <a:cxn ang="0">
                <a:pos x="379" y="187"/>
              </a:cxn>
              <a:cxn ang="0">
                <a:pos x="372" y="176"/>
              </a:cxn>
              <a:cxn ang="0">
                <a:pos x="324" y="155"/>
              </a:cxn>
              <a:cxn ang="0">
                <a:pos x="162" y="0"/>
              </a:cxn>
              <a:cxn ang="0">
                <a:pos x="0" y="146"/>
              </a:cxn>
            </a:cxnLst>
            <a:rect l="0" t="0" r="r" b="b"/>
            <a:pathLst>
              <a:path w="379" h="221">
                <a:moveTo>
                  <a:pt x="0" y="146"/>
                </a:moveTo>
                <a:cubicBezTo>
                  <a:pt x="0" y="150"/>
                  <a:pt x="1" y="153"/>
                  <a:pt x="3" y="156"/>
                </a:cubicBezTo>
                <a:cubicBezTo>
                  <a:pt x="5" y="158"/>
                  <a:pt x="9" y="160"/>
                  <a:pt x="12" y="160"/>
                </a:cubicBezTo>
                <a:cubicBezTo>
                  <a:pt x="124" y="160"/>
                  <a:pt x="124" y="160"/>
                  <a:pt x="124" y="160"/>
                </a:cubicBezTo>
                <a:cubicBezTo>
                  <a:pt x="131" y="160"/>
                  <a:pt x="137" y="154"/>
                  <a:pt x="137" y="147"/>
                </a:cubicBezTo>
                <a:cubicBezTo>
                  <a:pt x="137" y="141"/>
                  <a:pt x="131" y="135"/>
                  <a:pt x="124" y="135"/>
                </a:cubicBezTo>
                <a:cubicBezTo>
                  <a:pt x="124" y="135"/>
                  <a:pt x="48" y="135"/>
                  <a:pt x="26" y="135"/>
                </a:cubicBezTo>
                <a:cubicBezTo>
                  <a:pt x="39" y="71"/>
                  <a:pt x="95" y="24"/>
                  <a:pt x="162" y="24"/>
                </a:cubicBezTo>
                <a:cubicBezTo>
                  <a:pt x="238" y="24"/>
                  <a:pt x="300" y="87"/>
                  <a:pt x="300" y="163"/>
                </a:cubicBezTo>
                <a:cubicBezTo>
                  <a:pt x="300" y="168"/>
                  <a:pt x="303" y="172"/>
                  <a:pt x="308" y="174"/>
                </a:cubicBezTo>
                <a:cubicBezTo>
                  <a:pt x="308" y="174"/>
                  <a:pt x="320" y="180"/>
                  <a:pt x="333" y="185"/>
                </a:cubicBezTo>
                <a:cubicBezTo>
                  <a:pt x="322" y="188"/>
                  <a:pt x="309" y="190"/>
                  <a:pt x="296" y="190"/>
                </a:cubicBezTo>
                <a:cubicBezTo>
                  <a:pt x="296" y="190"/>
                  <a:pt x="296" y="190"/>
                  <a:pt x="296" y="190"/>
                </a:cubicBezTo>
                <a:cubicBezTo>
                  <a:pt x="263" y="190"/>
                  <a:pt x="225" y="180"/>
                  <a:pt x="225" y="180"/>
                </a:cubicBezTo>
                <a:cubicBezTo>
                  <a:pt x="224" y="180"/>
                  <a:pt x="223" y="180"/>
                  <a:pt x="222" y="180"/>
                </a:cubicBezTo>
                <a:cubicBezTo>
                  <a:pt x="47" y="180"/>
                  <a:pt x="47" y="180"/>
                  <a:pt x="47" y="180"/>
                </a:cubicBezTo>
                <a:cubicBezTo>
                  <a:pt x="40" y="180"/>
                  <a:pt x="35" y="185"/>
                  <a:pt x="35" y="192"/>
                </a:cubicBezTo>
                <a:cubicBezTo>
                  <a:pt x="35" y="208"/>
                  <a:pt x="35" y="208"/>
                  <a:pt x="35" y="208"/>
                </a:cubicBezTo>
                <a:cubicBezTo>
                  <a:pt x="35" y="215"/>
                  <a:pt x="40" y="221"/>
                  <a:pt x="47" y="221"/>
                </a:cubicBezTo>
                <a:cubicBezTo>
                  <a:pt x="54" y="221"/>
                  <a:pt x="59" y="215"/>
                  <a:pt x="59" y="208"/>
                </a:cubicBezTo>
                <a:cubicBezTo>
                  <a:pt x="59" y="208"/>
                  <a:pt x="59" y="206"/>
                  <a:pt x="59" y="204"/>
                </a:cubicBezTo>
                <a:cubicBezTo>
                  <a:pt x="80" y="204"/>
                  <a:pt x="217" y="204"/>
                  <a:pt x="220" y="204"/>
                </a:cubicBezTo>
                <a:cubicBezTo>
                  <a:pt x="227" y="206"/>
                  <a:pt x="263" y="215"/>
                  <a:pt x="296" y="215"/>
                </a:cubicBezTo>
                <a:cubicBezTo>
                  <a:pt x="296" y="215"/>
                  <a:pt x="296" y="215"/>
                  <a:pt x="296" y="215"/>
                </a:cubicBezTo>
                <a:cubicBezTo>
                  <a:pt x="333" y="215"/>
                  <a:pt x="370" y="199"/>
                  <a:pt x="372" y="198"/>
                </a:cubicBezTo>
                <a:cubicBezTo>
                  <a:pt x="376" y="196"/>
                  <a:pt x="379" y="192"/>
                  <a:pt x="379" y="187"/>
                </a:cubicBezTo>
                <a:cubicBezTo>
                  <a:pt x="379" y="187"/>
                  <a:pt x="379" y="187"/>
                  <a:pt x="379" y="187"/>
                </a:cubicBezTo>
                <a:cubicBezTo>
                  <a:pt x="379" y="182"/>
                  <a:pt x="376" y="178"/>
                  <a:pt x="372" y="176"/>
                </a:cubicBezTo>
                <a:cubicBezTo>
                  <a:pt x="372" y="176"/>
                  <a:pt x="335" y="159"/>
                  <a:pt x="324" y="155"/>
                </a:cubicBezTo>
                <a:cubicBezTo>
                  <a:pt x="320" y="69"/>
                  <a:pt x="249" y="0"/>
                  <a:pt x="162" y="0"/>
                </a:cubicBezTo>
                <a:cubicBezTo>
                  <a:pt x="78" y="0"/>
                  <a:pt x="8" y="63"/>
                  <a:pt x="0" y="14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8" name="Freeform 620"/>
          <p:cNvSpPr>
            <a:spLocks/>
          </p:cNvSpPr>
          <p:nvPr userDrawn="1"/>
        </p:nvSpPr>
        <p:spPr bwMode="auto">
          <a:xfrm>
            <a:off x="7885149" y="2330729"/>
            <a:ext cx="353707" cy="210741"/>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9" name="Freeform 656"/>
          <p:cNvSpPr>
            <a:spLocks/>
          </p:cNvSpPr>
          <p:nvPr userDrawn="1"/>
        </p:nvSpPr>
        <p:spPr bwMode="auto">
          <a:xfrm>
            <a:off x="7869666" y="1311403"/>
            <a:ext cx="384672" cy="383381"/>
          </a:xfrm>
          <a:custGeom>
            <a:avLst/>
            <a:gdLst/>
            <a:ahLst/>
            <a:cxnLst>
              <a:cxn ang="0">
                <a:pos x="227" y="1"/>
              </a:cxn>
              <a:cxn ang="0">
                <a:pos x="11" y="46"/>
              </a:cxn>
              <a:cxn ang="0">
                <a:pos x="1" y="54"/>
              </a:cxn>
              <a:cxn ang="0">
                <a:pos x="0" y="59"/>
              </a:cxn>
              <a:cxn ang="0">
                <a:pos x="2" y="66"/>
              </a:cxn>
              <a:cxn ang="0">
                <a:pos x="45" y="147"/>
              </a:cxn>
              <a:cxn ang="0">
                <a:pos x="45" y="330"/>
              </a:cxn>
              <a:cxn ang="0">
                <a:pos x="50" y="341"/>
              </a:cxn>
              <a:cxn ang="0">
                <a:pos x="186" y="450"/>
              </a:cxn>
              <a:cxn ang="0">
                <a:pos x="200" y="452"/>
              </a:cxn>
              <a:cxn ang="0">
                <a:pos x="208" y="440"/>
              </a:cxn>
              <a:cxn ang="0">
                <a:pos x="208" y="240"/>
              </a:cxn>
              <a:cxn ang="0">
                <a:pos x="250" y="194"/>
              </a:cxn>
              <a:cxn ang="0">
                <a:pos x="368" y="163"/>
              </a:cxn>
              <a:cxn ang="0">
                <a:pos x="378" y="150"/>
              </a:cxn>
              <a:cxn ang="0">
                <a:pos x="377" y="147"/>
              </a:cxn>
              <a:cxn ang="0">
                <a:pos x="361" y="137"/>
              </a:cxn>
              <a:cxn ang="0">
                <a:pos x="240" y="169"/>
              </a:cxn>
              <a:cxn ang="0">
                <a:pos x="234" y="173"/>
              </a:cxn>
              <a:cxn ang="0">
                <a:pos x="184" y="225"/>
              </a:cxn>
              <a:cxn ang="0">
                <a:pos x="181" y="235"/>
              </a:cxn>
              <a:cxn ang="0">
                <a:pos x="181" y="412"/>
              </a:cxn>
              <a:cxn ang="0">
                <a:pos x="72" y="324"/>
              </a:cxn>
              <a:cxn ang="0">
                <a:pos x="72" y="143"/>
              </a:cxn>
              <a:cxn ang="0">
                <a:pos x="70" y="137"/>
              </a:cxn>
              <a:cxn ang="0">
                <a:pos x="34" y="69"/>
              </a:cxn>
              <a:cxn ang="0">
                <a:pos x="224" y="29"/>
              </a:cxn>
              <a:cxn ang="0">
                <a:pos x="265" y="91"/>
              </a:cxn>
              <a:cxn ang="0">
                <a:pos x="273" y="97"/>
              </a:cxn>
              <a:cxn ang="0">
                <a:pos x="420" y="130"/>
              </a:cxn>
              <a:cxn ang="0">
                <a:pos x="364" y="218"/>
              </a:cxn>
              <a:cxn ang="0">
                <a:pos x="362" y="225"/>
              </a:cxn>
              <a:cxn ang="0">
                <a:pos x="361" y="372"/>
              </a:cxn>
              <a:cxn ang="0">
                <a:pos x="242" y="414"/>
              </a:cxn>
              <a:cxn ang="0">
                <a:pos x="233" y="426"/>
              </a:cxn>
              <a:cxn ang="0">
                <a:pos x="234" y="431"/>
              </a:cxn>
              <a:cxn ang="0">
                <a:pos x="251" y="439"/>
              </a:cxn>
              <a:cxn ang="0">
                <a:pos x="379" y="394"/>
              </a:cxn>
              <a:cxn ang="0">
                <a:pos x="388" y="381"/>
              </a:cxn>
              <a:cxn ang="0">
                <a:pos x="388" y="229"/>
              </a:cxn>
              <a:cxn ang="0">
                <a:pos x="452" y="129"/>
              </a:cxn>
              <a:cxn ang="0">
                <a:pos x="455" y="122"/>
              </a:cxn>
              <a:cxn ang="0">
                <a:pos x="454" y="117"/>
              </a:cxn>
              <a:cxn ang="0">
                <a:pos x="444" y="109"/>
              </a:cxn>
              <a:cxn ang="0">
                <a:pos x="284" y="72"/>
              </a:cxn>
              <a:cxn ang="0">
                <a:pos x="241" y="7"/>
              </a:cxn>
              <a:cxn ang="0">
                <a:pos x="227" y="1"/>
              </a:cxn>
            </a:cxnLst>
            <a:rect l="0" t="0" r="r" b="b"/>
            <a:pathLst>
              <a:path w="455" h="454">
                <a:moveTo>
                  <a:pt x="227" y="1"/>
                </a:moveTo>
                <a:cubicBezTo>
                  <a:pt x="11" y="46"/>
                  <a:pt x="11" y="46"/>
                  <a:pt x="11" y="46"/>
                </a:cubicBezTo>
                <a:cubicBezTo>
                  <a:pt x="7" y="47"/>
                  <a:pt x="3" y="50"/>
                  <a:pt x="1" y="54"/>
                </a:cubicBezTo>
                <a:cubicBezTo>
                  <a:pt x="1" y="55"/>
                  <a:pt x="0" y="57"/>
                  <a:pt x="0" y="59"/>
                </a:cubicBezTo>
                <a:cubicBezTo>
                  <a:pt x="0" y="61"/>
                  <a:pt x="1" y="64"/>
                  <a:pt x="2" y="66"/>
                </a:cubicBezTo>
                <a:cubicBezTo>
                  <a:pt x="2" y="66"/>
                  <a:pt x="42" y="141"/>
                  <a:pt x="45" y="147"/>
                </a:cubicBezTo>
                <a:cubicBezTo>
                  <a:pt x="45" y="153"/>
                  <a:pt x="45" y="330"/>
                  <a:pt x="45" y="330"/>
                </a:cubicBezTo>
                <a:cubicBezTo>
                  <a:pt x="45" y="334"/>
                  <a:pt x="47" y="338"/>
                  <a:pt x="50" y="341"/>
                </a:cubicBezTo>
                <a:cubicBezTo>
                  <a:pt x="186" y="450"/>
                  <a:pt x="186" y="450"/>
                  <a:pt x="186" y="450"/>
                </a:cubicBezTo>
                <a:cubicBezTo>
                  <a:pt x="190" y="454"/>
                  <a:pt x="195" y="454"/>
                  <a:pt x="200" y="452"/>
                </a:cubicBezTo>
                <a:cubicBezTo>
                  <a:pt x="205" y="450"/>
                  <a:pt x="208" y="445"/>
                  <a:pt x="208" y="440"/>
                </a:cubicBezTo>
                <a:cubicBezTo>
                  <a:pt x="208" y="440"/>
                  <a:pt x="208" y="250"/>
                  <a:pt x="208" y="240"/>
                </a:cubicBezTo>
                <a:cubicBezTo>
                  <a:pt x="213" y="234"/>
                  <a:pt x="246" y="199"/>
                  <a:pt x="250" y="194"/>
                </a:cubicBezTo>
                <a:cubicBezTo>
                  <a:pt x="257" y="192"/>
                  <a:pt x="368" y="163"/>
                  <a:pt x="368" y="163"/>
                </a:cubicBezTo>
                <a:cubicBezTo>
                  <a:pt x="374" y="161"/>
                  <a:pt x="378" y="156"/>
                  <a:pt x="378" y="150"/>
                </a:cubicBezTo>
                <a:cubicBezTo>
                  <a:pt x="378" y="149"/>
                  <a:pt x="378" y="148"/>
                  <a:pt x="377" y="147"/>
                </a:cubicBezTo>
                <a:cubicBezTo>
                  <a:pt x="375" y="139"/>
                  <a:pt x="368" y="135"/>
                  <a:pt x="361" y="137"/>
                </a:cubicBezTo>
                <a:cubicBezTo>
                  <a:pt x="240" y="169"/>
                  <a:pt x="240" y="169"/>
                  <a:pt x="240" y="169"/>
                </a:cubicBezTo>
                <a:cubicBezTo>
                  <a:pt x="238" y="170"/>
                  <a:pt x="235" y="171"/>
                  <a:pt x="234" y="173"/>
                </a:cubicBezTo>
                <a:cubicBezTo>
                  <a:pt x="184" y="225"/>
                  <a:pt x="184" y="225"/>
                  <a:pt x="184" y="225"/>
                </a:cubicBezTo>
                <a:cubicBezTo>
                  <a:pt x="182" y="228"/>
                  <a:pt x="181" y="231"/>
                  <a:pt x="181" y="235"/>
                </a:cubicBezTo>
                <a:cubicBezTo>
                  <a:pt x="181" y="235"/>
                  <a:pt x="181" y="370"/>
                  <a:pt x="181" y="412"/>
                </a:cubicBezTo>
                <a:cubicBezTo>
                  <a:pt x="151" y="388"/>
                  <a:pt x="79" y="330"/>
                  <a:pt x="72" y="324"/>
                </a:cubicBezTo>
                <a:cubicBezTo>
                  <a:pt x="72" y="312"/>
                  <a:pt x="72" y="143"/>
                  <a:pt x="72" y="143"/>
                </a:cubicBezTo>
                <a:cubicBezTo>
                  <a:pt x="72" y="141"/>
                  <a:pt x="71" y="139"/>
                  <a:pt x="70" y="137"/>
                </a:cubicBezTo>
                <a:cubicBezTo>
                  <a:pt x="70" y="137"/>
                  <a:pt x="45" y="90"/>
                  <a:pt x="34" y="69"/>
                </a:cubicBezTo>
                <a:cubicBezTo>
                  <a:pt x="62" y="63"/>
                  <a:pt x="209" y="32"/>
                  <a:pt x="224" y="29"/>
                </a:cubicBezTo>
                <a:cubicBezTo>
                  <a:pt x="232" y="41"/>
                  <a:pt x="265" y="91"/>
                  <a:pt x="265" y="91"/>
                </a:cubicBezTo>
                <a:cubicBezTo>
                  <a:pt x="267" y="94"/>
                  <a:pt x="270" y="96"/>
                  <a:pt x="273" y="97"/>
                </a:cubicBezTo>
                <a:cubicBezTo>
                  <a:pt x="273" y="97"/>
                  <a:pt x="391" y="124"/>
                  <a:pt x="420" y="130"/>
                </a:cubicBezTo>
                <a:cubicBezTo>
                  <a:pt x="405" y="153"/>
                  <a:pt x="364" y="218"/>
                  <a:pt x="364" y="218"/>
                </a:cubicBezTo>
                <a:cubicBezTo>
                  <a:pt x="362" y="220"/>
                  <a:pt x="362" y="223"/>
                  <a:pt x="362" y="225"/>
                </a:cubicBezTo>
                <a:cubicBezTo>
                  <a:pt x="362" y="225"/>
                  <a:pt x="361" y="355"/>
                  <a:pt x="361" y="372"/>
                </a:cubicBezTo>
                <a:cubicBezTo>
                  <a:pt x="346" y="377"/>
                  <a:pt x="242" y="414"/>
                  <a:pt x="242" y="414"/>
                </a:cubicBezTo>
                <a:cubicBezTo>
                  <a:pt x="236" y="416"/>
                  <a:pt x="233" y="421"/>
                  <a:pt x="233" y="426"/>
                </a:cubicBezTo>
                <a:cubicBezTo>
                  <a:pt x="233" y="428"/>
                  <a:pt x="233" y="429"/>
                  <a:pt x="234" y="431"/>
                </a:cubicBezTo>
                <a:cubicBezTo>
                  <a:pt x="236" y="438"/>
                  <a:pt x="244" y="441"/>
                  <a:pt x="251" y="439"/>
                </a:cubicBezTo>
                <a:cubicBezTo>
                  <a:pt x="379" y="394"/>
                  <a:pt x="379" y="394"/>
                  <a:pt x="379" y="394"/>
                </a:cubicBezTo>
                <a:cubicBezTo>
                  <a:pt x="384" y="392"/>
                  <a:pt x="388" y="387"/>
                  <a:pt x="388" y="381"/>
                </a:cubicBezTo>
                <a:cubicBezTo>
                  <a:pt x="388" y="381"/>
                  <a:pt x="388" y="236"/>
                  <a:pt x="388" y="229"/>
                </a:cubicBezTo>
                <a:cubicBezTo>
                  <a:pt x="392" y="223"/>
                  <a:pt x="452" y="129"/>
                  <a:pt x="452" y="129"/>
                </a:cubicBezTo>
                <a:cubicBezTo>
                  <a:pt x="454" y="127"/>
                  <a:pt x="455" y="124"/>
                  <a:pt x="455" y="122"/>
                </a:cubicBezTo>
                <a:cubicBezTo>
                  <a:pt x="455" y="120"/>
                  <a:pt x="454" y="118"/>
                  <a:pt x="454" y="117"/>
                </a:cubicBezTo>
                <a:cubicBezTo>
                  <a:pt x="452" y="113"/>
                  <a:pt x="448" y="110"/>
                  <a:pt x="444" y="109"/>
                </a:cubicBezTo>
                <a:cubicBezTo>
                  <a:pt x="444" y="109"/>
                  <a:pt x="294" y="74"/>
                  <a:pt x="284" y="72"/>
                </a:cubicBezTo>
                <a:cubicBezTo>
                  <a:pt x="279" y="64"/>
                  <a:pt x="241" y="7"/>
                  <a:pt x="241" y="7"/>
                </a:cubicBezTo>
                <a:cubicBezTo>
                  <a:pt x="238" y="3"/>
                  <a:pt x="233" y="0"/>
                  <a:pt x="227" y="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50" name="Freeform 660"/>
          <p:cNvSpPr>
            <a:spLocks/>
          </p:cNvSpPr>
          <p:nvPr userDrawn="1"/>
        </p:nvSpPr>
        <p:spPr bwMode="auto">
          <a:xfrm>
            <a:off x="7959581" y="893269"/>
            <a:ext cx="204841" cy="346472"/>
          </a:xfrm>
          <a:custGeom>
            <a:avLst/>
            <a:gdLst/>
            <a:ahLst/>
            <a:cxnLst>
              <a:cxn ang="0">
                <a:pos x="172" y="259"/>
              </a:cxn>
              <a:cxn ang="0">
                <a:pos x="172" y="291"/>
              </a:cxn>
              <a:cxn ang="0">
                <a:pos x="0" y="291"/>
              </a:cxn>
              <a:cxn ang="0">
                <a:pos x="0" y="259"/>
              </a:cxn>
              <a:cxn ang="0">
                <a:pos x="19" y="232"/>
              </a:cxn>
              <a:cxn ang="0">
                <a:pos x="153" y="232"/>
              </a:cxn>
              <a:cxn ang="0">
                <a:pos x="142" y="199"/>
              </a:cxn>
              <a:cxn ang="0">
                <a:pos x="31" y="199"/>
              </a:cxn>
              <a:cxn ang="0">
                <a:pos x="34" y="167"/>
              </a:cxn>
              <a:cxn ang="0">
                <a:pos x="139" y="167"/>
              </a:cxn>
              <a:cxn ang="0">
                <a:pos x="139" y="75"/>
              </a:cxn>
              <a:cxn ang="0">
                <a:pos x="166" y="75"/>
              </a:cxn>
              <a:cxn ang="0">
                <a:pos x="166" y="0"/>
              </a:cxn>
              <a:cxn ang="0">
                <a:pos x="132" y="0"/>
              </a:cxn>
              <a:cxn ang="0">
                <a:pos x="132" y="23"/>
              </a:cxn>
              <a:cxn ang="0">
                <a:pos x="105" y="23"/>
              </a:cxn>
              <a:cxn ang="0">
                <a:pos x="105" y="0"/>
              </a:cxn>
              <a:cxn ang="0">
                <a:pos x="68" y="0"/>
              </a:cxn>
              <a:cxn ang="0">
                <a:pos x="68" y="23"/>
              </a:cxn>
              <a:cxn ang="0">
                <a:pos x="41" y="23"/>
              </a:cxn>
              <a:cxn ang="0">
                <a:pos x="41" y="0"/>
              </a:cxn>
              <a:cxn ang="0">
                <a:pos x="7" y="0"/>
              </a:cxn>
              <a:cxn ang="0">
                <a:pos x="7" y="72"/>
              </a:cxn>
              <a:cxn ang="0">
                <a:pos x="32" y="72"/>
              </a:cxn>
              <a:cxn ang="0">
                <a:pos x="32" y="117"/>
              </a:cxn>
            </a:cxnLst>
            <a:rect l="0" t="0" r="r" b="b"/>
            <a:pathLst>
              <a:path w="172" h="291">
                <a:moveTo>
                  <a:pt x="172" y="259"/>
                </a:moveTo>
                <a:lnTo>
                  <a:pt x="172" y="291"/>
                </a:lnTo>
                <a:lnTo>
                  <a:pt x="0" y="291"/>
                </a:lnTo>
                <a:lnTo>
                  <a:pt x="0" y="259"/>
                </a:lnTo>
                <a:lnTo>
                  <a:pt x="19" y="232"/>
                </a:lnTo>
                <a:lnTo>
                  <a:pt x="153" y="232"/>
                </a:lnTo>
                <a:lnTo>
                  <a:pt x="142" y="199"/>
                </a:lnTo>
                <a:lnTo>
                  <a:pt x="31" y="199"/>
                </a:lnTo>
                <a:lnTo>
                  <a:pt x="34" y="167"/>
                </a:lnTo>
                <a:lnTo>
                  <a:pt x="139" y="167"/>
                </a:lnTo>
                <a:lnTo>
                  <a:pt x="139" y="75"/>
                </a:lnTo>
                <a:lnTo>
                  <a:pt x="166" y="75"/>
                </a:lnTo>
                <a:lnTo>
                  <a:pt x="166" y="0"/>
                </a:lnTo>
                <a:lnTo>
                  <a:pt x="132" y="0"/>
                </a:lnTo>
                <a:lnTo>
                  <a:pt x="132" y="23"/>
                </a:lnTo>
                <a:lnTo>
                  <a:pt x="105" y="23"/>
                </a:lnTo>
                <a:lnTo>
                  <a:pt x="105" y="0"/>
                </a:lnTo>
                <a:lnTo>
                  <a:pt x="68" y="0"/>
                </a:lnTo>
                <a:lnTo>
                  <a:pt x="68" y="23"/>
                </a:lnTo>
                <a:lnTo>
                  <a:pt x="41" y="23"/>
                </a:lnTo>
                <a:lnTo>
                  <a:pt x="41" y="0"/>
                </a:lnTo>
                <a:lnTo>
                  <a:pt x="7" y="0"/>
                </a:lnTo>
                <a:lnTo>
                  <a:pt x="7" y="72"/>
                </a:lnTo>
                <a:lnTo>
                  <a:pt x="32" y="72"/>
                </a:lnTo>
                <a:lnTo>
                  <a:pt x="32" y="117"/>
                </a:lnTo>
              </a:path>
            </a:pathLst>
          </a:custGeom>
          <a:noFill/>
          <a:ln w="30163"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51" name="Freeform 143"/>
          <p:cNvSpPr>
            <a:spLocks noEditPoints="1"/>
          </p:cNvSpPr>
          <p:nvPr userDrawn="1"/>
        </p:nvSpPr>
        <p:spPr bwMode="auto">
          <a:xfrm>
            <a:off x="8400397" y="3878619"/>
            <a:ext cx="221120" cy="227399"/>
          </a:xfrm>
          <a:custGeom>
            <a:avLst/>
            <a:gdLst/>
            <a:ahLst/>
            <a:cxnLst>
              <a:cxn ang="0">
                <a:pos x="88" y="9"/>
              </a:cxn>
              <a:cxn ang="0">
                <a:pos x="31" y="21"/>
              </a:cxn>
              <a:cxn ang="0">
                <a:pos x="0" y="48"/>
              </a:cxn>
              <a:cxn ang="0">
                <a:pos x="0" y="49"/>
              </a:cxn>
              <a:cxn ang="0">
                <a:pos x="74" y="85"/>
              </a:cxn>
              <a:cxn ang="0">
                <a:pos x="214" y="103"/>
              </a:cxn>
              <a:cxn ang="0">
                <a:pos x="339" y="117"/>
              </a:cxn>
              <a:cxn ang="0">
                <a:pos x="393" y="129"/>
              </a:cxn>
              <a:cxn ang="0">
                <a:pos x="335" y="143"/>
              </a:cxn>
              <a:cxn ang="0">
                <a:pos x="203" y="165"/>
              </a:cxn>
              <a:cxn ang="0">
                <a:pos x="71" y="186"/>
              </a:cxn>
              <a:cxn ang="0">
                <a:pos x="27" y="197"/>
              </a:cxn>
              <a:cxn ang="0">
                <a:pos x="2" y="221"/>
              </a:cxn>
              <a:cxn ang="0">
                <a:pos x="2" y="221"/>
              </a:cxn>
              <a:cxn ang="0">
                <a:pos x="219" y="284"/>
              </a:cxn>
              <a:cxn ang="0">
                <a:pos x="341" y="304"/>
              </a:cxn>
              <a:cxn ang="0">
                <a:pos x="390" y="316"/>
              </a:cxn>
              <a:cxn ang="0">
                <a:pos x="334" y="330"/>
              </a:cxn>
              <a:cxn ang="0">
                <a:pos x="201" y="353"/>
              </a:cxn>
              <a:cxn ang="0">
                <a:pos x="71" y="375"/>
              </a:cxn>
              <a:cxn ang="0">
                <a:pos x="27" y="386"/>
              </a:cxn>
              <a:cxn ang="0">
                <a:pos x="2" y="409"/>
              </a:cxn>
              <a:cxn ang="0">
                <a:pos x="29" y="436"/>
              </a:cxn>
              <a:cxn ang="0">
                <a:pos x="80" y="447"/>
              </a:cxn>
              <a:cxn ang="0">
                <a:pos x="227" y="455"/>
              </a:cxn>
              <a:cxn ang="0">
                <a:pos x="368" y="447"/>
              </a:cxn>
              <a:cxn ang="0">
                <a:pos x="443" y="409"/>
              </a:cxn>
              <a:cxn ang="0">
                <a:pos x="435" y="394"/>
              </a:cxn>
              <a:cxn ang="0">
                <a:pos x="326" y="369"/>
              </a:cxn>
              <a:cxn ang="0">
                <a:pos x="289" y="365"/>
              </a:cxn>
              <a:cxn ang="0">
                <a:pos x="350" y="354"/>
              </a:cxn>
              <a:cxn ang="0">
                <a:pos x="427" y="316"/>
              </a:cxn>
              <a:cxn ang="0">
                <a:pos x="356" y="280"/>
              </a:cxn>
              <a:cxn ang="0">
                <a:pos x="223" y="257"/>
              </a:cxn>
              <a:cxn ang="0">
                <a:pos x="93" y="235"/>
              </a:cxn>
              <a:cxn ang="0">
                <a:pos x="38" y="222"/>
              </a:cxn>
              <a:cxn ang="0">
                <a:pos x="87" y="210"/>
              </a:cxn>
              <a:cxn ang="0">
                <a:pos x="207" y="191"/>
              </a:cxn>
              <a:cxn ang="0">
                <a:pos x="350" y="167"/>
              </a:cxn>
              <a:cxn ang="0">
                <a:pos x="400" y="154"/>
              </a:cxn>
              <a:cxn ang="0">
                <a:pos x="427" y="128"/>
              </a:cxn>
              <a:cxn ang="0">
                <a:pos x="354" y="93"/>
              </a:cxn>
              <a:cxn ang="0">
                <a:pos x="217" y="76"/>
              </a:cxn>
              <a:cxn ang="0">
                <a:pos x="89" y="61"/>
              </a:cxn>
              <a:cxn ang="0">
                <a:pos x="33" y="49"/>
              </a:cxn>
              <a:cxn ang="0">
                <a:pos x="101" y="35"/>
              </a:cxn>
              <a:cxn ang="0">
                <a:pos x="221" y="28"/>
              </a:cxn>
              <a:cxn ang="0">
                <a:pos x="235" y="15"/>
              </a:cxn>
              <a:cxn ang="0">
                <a:pos x="222" y="2"/>
              </a:cxn>
              <a:cxn ang="0">
                <a:pos x="88" y="9"/>
              </a:cxn>
              <a:cxn ang="0">
                <a:pos x="86" y="399"/>
              </a:cxn>
              <a:cxn ang="0">
                <a:pos x="205" y="379"/>
              </a:cxn>
              <a:cxn ang="0">
                <a:pos x="210" y="378"/>
              </a:cxn>
              <a:cxn ang="0">
                <a:pos x="211" y="380"/>
              </a:cxn>
              <a:cxn ang="0">
                <a:pos x="226" y="390"/>
              </a:cxn>
              <a:cxn ang="0">
                <a:pos x="324" y="395"/>
              </a:cxn>
              <a:cxn ang="0">
                <a:pos x="409" y="410"/>
              </a:cxn>
              <a:cxn ang="0">
                <a:pos x="363" y="421"/>
              </a:cxn>
              <a:cxn ang="0">
                <a:pos x="250" y="428"/>
              </a:cxn>
              <a:cxn ang="0">
                <a:pos x="103" y="423"/>
              </a:cxn>
              <a:cxn ang="0">
                <a:pos x="38" y="411"/>
              </a:cxn>
              <a:cxn ang="0">
                <a:pos x="86" y="399"/>
              </a:cxn>
            </a:cxnLst>
            <a:rect l="0" t="0" r="r" b="b"/>
            <a:pathLst>
              <a:path w="443" h="455">
                <a:moveTo>
                  <a:pt x="88" y="9"/>
                </a:moveTo>
                <a:cubicBezTo>
                  <a:pt x="64" y="13"/>
                  <a:pt x="45" y="17"/>
                  <a:pt x="31" y="21"/>
                </a:cubicBezTo>
                <a:cubicBezTo>
                  <a:pt x="18" y="25"/>
                  <a:pt x="1" y="33"/>
                  <a:pt x="0" y="48"/>
                </a:cubicBezTo>
                <a:cubicBezTo>
                  <a:pt x="0" y="49"/>
                  <a:pt x="0" y="49"/>
                  <a:pt x="0" y="49"/>
                </a:cubicBezTo>
                <a:cubicBezTo>
                  <a:pt x="0" y="69"/>
                  <a:pt x="27" y="78"/>
                  <a:pt x="74" y="85"/>
                </a:cubicBezTo>
                <a:cubicBezTo>
                  <a:pt x="112" y="92"/>
                  <a:pt x="164" y="97"/>
                  <a:pt x="214" y="103"/>
                </a:cubicBezTo>
                <a:cubicBezTo>
                  <a:pt x="258" y="107"/>
                  <a:pt x="304" y="112"/>
                  <a:pt x="339" y="117"/>
                </a:cubicBezTo>
                <a:cubicBezTo>
                  <a:pt x="368" y="122"/>
                  <a:pt x="384" y="126"/>
                  <a:pt x="393" y="129"/>
                </a:cubicBezTo>
                <a:cubicBezTo>
                  <a:pt x="384" y="132"/>
                  <a:pt x="367" y="137"/>
                  <a:pt x="335" y="143"/>
                </a:cubicBezTo>
                <a:cubicBezTo>
                  <a:pt x="297" y="151"/>
                  <a:pt x="249" y="158"/>
                  <a:pt x="203" y="165"/>
                </a:cubicBezTo>
                <a:cubicBezTo>
                  <a:pt x="153" y="172"/>
                  <a:pt x="107" y="179"/>
                  <a:pt x="71" y="186"/>
                </a:cubicBezTo>
                <a:cubicBezTo>
                  <a:pt x="52" y="190"/>
                  <a:pt x="37" y="194"/>
                  <a:pt x="27" y="197"/>
                </a:cubicBezTo>
                <a:cubicBezTo>
                  <a:pt x="19" y="200"/>
                  <a:pt x="2" y="206"/>
                  <a:pt x="2" y="221"/>
                </a:cubicBezTo>
                <a:cubicBezTo>
                  <a:pt x="2" y="221"/>
                  <a:pt x="2" y="221"/>
                  <a:pt x="2" y="221"/>
                </a:cubicBezTo>
                <a:cubicBezTo>
                  <a:pt x="2" y="247"/>
                  <a:pt x="46" y="257"/>
                  <a:pt x="219" y="284"/>
                </a:cubicBezTo>
                <a:cubicBezTo>
                  <a:pt x="262" y="290"/>
                  <a:pt x="306" y="297"/>
                  <a:pt x="341" y="304"/>
                </a:cubicBezTo>
                <a:cubicBezTo>
                  <a:pt x="366" y="309"/>
                  <a:pt x="381" y="313"/>
                  <a:pt x="390" y="316"/>
                </a:cubicBezTo>
                <a:cubicBezTo>
                  <a:pt x="381" y="320"/>
                  <a:pt x="364" y="324"/>
                  <a:pt x="334" y="330"/>
                </a:cubicBezTo>
                <a:cubicBezTo>
                  <a:pt x="296" y="338"/>
                  <a:pt x="248" y="345"/>
                  <a:pt x="201" y="353"/>
                </a:cubicBezTo>
                <a:cubicBezTo>
                  <a:pt x="152" y="361"/>
                  <a:pt x="106" y="368"/>
                  <a:pt x="71" y="375"/>
                </a:cubicBezTo>
                <a:cubicBezTo>
                  <a:pt x="51" y="379"/>
                  <a:pt x="37" y="383"/>
                  <a:pt x="27" y="386"/>
                </a:cubicBezTo>
                <a:cubicBezTo>
                  <a:pt x="19" y="389"/>
                  <a:pt x="2" y="395"/>
                  <a:pt x="2" y="409"/>
                </a:cubicBezTo>
                <a:cubicBezTo>
                  <a:pt x="2" y="426"/>
                  <a:pt x="22" y="433"/>
                  <a:pt x="29" y="436"/>
                </a:cubicBezTo>
                <a:cubicBezTo>
                  <a:pt x="41" y="440"/>
                  <a:pt x="58" y="444"/>
                  <a:pt x="80" y="447"/>
                </a:cubicBezTo>
                <a:cubicBezTo>
                  <a:pt x="119" y="452"/>
                  <a:pt x="171" y="455"/>
                  <a:pt x="227" y="455"/>
                </a:cubicBezTo>
                <a:cubicBezTo>
                  <a:pt x="281" y="455"/>
                  <a:pt x="331" y="452"/>
                  <a:pt x="368" y="447"/>
                </a:cubicBezTo>
                <a:cubicBezTo>
                  <a:pt x="421" y="439"/>
                  <a:pt x="443" y="428"/>
                  <a:pt x="443" y="409"/>
                </a:cubicBezTo>
                <a:cubicBezTo>
                  <a:pt x="443" y="405"/>
                  <a:pt x="442" y="399"/>
                  <a:pt x="435" y="394"/>
                </a:cubicBezTo>
                <a:cubicBezTo>
                  <a:pt x="423" y="384"/>
                  <a:pt x="386" y="375"/>
                  <a:pt x="326" y="369"/>
                </a:cubicBezTo>
                <a:cubicBezTo>
                  <a:pt x="314" y="368"/>
                  <a:pt x="302" y="366"/>
                  <a:pt x="289" y="365"/>
                </a:cubicBezTo>
                <a:cubicBezTo>
                  <a:pt x="311" y="362"/>
                  <a:pt x="332" y="358"/>
                  <a:pt x="350" y="354"/>
                </a:cubicBezTo>
                <a:cubicBezTo>
                  <a:pt x="408" y="342"/>
                  <a:pt x="427" y="333"/>
                  <a:pt x="427" y="316"/>
                </a:cubicBezTo>
                <a:cubicBezTo>
                  <a:pt x="427" y="300"/>
                  <a:pt x="410" y="291"/>
                  <a:pt x="356" y="280"/>
                </a:cubicBezTo>
                <a:cubicBezTo>
                  <a:pt x="320" y="272"/>
                  <a:pt x="271" y="265"/>
                  <a:pt x="223" y="257"/>
                </a:cubicBezTo>
                <a:cubicBezTo>
                  <a:pt x="177" y="250"/>
                  <a:pt x="130" y="243"/>
                  <a:pt x="93" y="235"/>
                </a:cubicBezTo>
                <a:cubicBezTo>
                  <a:pt x="63" y="230"/>
                  <a:pt x="47" y="225"/>
                  <a:pt x="38" y="222"/>
                </a:cubicBezTo>
                <a:cubicBezTo>
                  <a:pt x="47" y="219"/>
                  <a:pt x="61" y="215"/>
                  <a:pt x="87" y="210"/>
                </a:cubicBezTo>
                <a:cubicBezTo>
                  <a:pt x="120" y="204"/>
                  <a:pt x="162" y="197"/>
                  <a:pt x="207" y="191"/>
                </a:cubicBezTo>
                <a:cubicBezTo>
                  <a:pt x="258" y="183"/>
                  <a:pt x="311" y="176"/>
                  <a:pt x="350" y="167"/>
                </a:cubicBezTo>
                <a:cubicBezTo>
                  <a:pt x="372" y="163"/>
                  <a:pt x="389" y="159"/>
                  <a:pt x="400" y="154"/>
                </a:cubicBezTo>
                <a:cubicBezTo>
                  <a:pt x="408" y="151"/>
                  <a:pt x="427" y="144"/>
                  <a:pt x="427" y="128"/>
                </a:cubicBezTo>
                <a:cubicBezTo>
                  <a:pt x="427" y="109"/>
                  <a:pt x="400" y="100"/>
                  <a:pt x="354" y="93"/>
                </a:cubicBezTo>
                <a:cubicBezTo>
                  <a:pt x="317" y="87"/>
                  <a:pt x="266" y="81"/>
                  <a:pt x="217" y="76"/>
                </a:cubicBezTo>
                <a:cubicBezTo>
                  <a:pt x="172" y="71"/>
                  <a:pt x="126" y="66"/>
                  <a:pt x="89" y="61"/>
                </a:cubicBezTo>
                <a:cubicBezTo>
                  <a:pt x="58" y="56"/>
                  <a:pt x="41" y="52"/>
                  <a:pt x="33" y="49"/>
                </a:cubicBezTo>
                <a:cubicBezTo>
                  <a:pt x="43" y="45"/>
                  <a:pt x="64" y="39"/>
                  <a:pt x="101" y="35"/>
                </a:cubicBezTo>
                <a:cubicBezTo>
                  <a:pt x="140" y="30"/>
                  <a:pt x="186" y="27"/>
                  <a:pt x="221" y="28"/>
                </a:cubicBezTo>
                <a:cubicBezTo>
                  <a:pt x="228" y="29"/>
                  <a:pt x="234" y="23"/>
                  <a:pt x="235" y="15"/>
                </a:cubicBezTo>
                <a:cubicBezTo>
                  <a:pt x="235" y="8"/>
                  <a:pt x="229" y="2"/>
                  <a:pt x="222" y="2"/>
                </a:cubicBezTo>
                <a:cubicBezTo>
                  <a:pt x="183" y="0"/>
                  <a:pt x="130" y="3"/>
                  <a:pt x="88" y="9"/>
                </a:cubicBezTo>
                <a:close/>
                <a:moveTo>
                  <a:pt x="86" y="399"/>
                </a:moveTo>
                <a:cubicBezTo>
                  <a:pt x="120" y="393"/>
                  <a:pt x="161" y="386"/>
                  <a:pt x="205" y="379"/>
                </a:cubicBezTo>
                <a:cubicBezTo>
                  <a:pt x="207" y="379"/>
                  <a:pt x="209" y="379"/>
                  <a:pt x="210" y="378"/>
                </a:cubicBezTo>
                <a:cubicBezTo>
                  <a:pt x="210" y="379"/>
                  <a:pt x="210" y="379"/>
                  <a:pt x="211" y="380"/>
                </a:cubicBezTo>
                <a:cubicBezTo>
                  <a:pt x="212" y="387"/>
                  <a:pt x="219" y="392"/>
                  <a:pt x="226" y="390"/>
                </a:cubicBezTo>
                <a:cubicBezTo>
                  <a:pt x="234" y="389"/>
                  <a:pt x="274" y="390"/>
                  <a:pt x="324" y="395"/>
                </a:cubicBezTo>
                <a:cubicBezTo>
                  <a:pt x="370" y="400"/>
                  <a:pt x="396" y="406"/>
                  <a:pt x="409" y="410"/>
                </a:cubicBezTo>
                <a:cubicBezTo>
                  <a:pt x="402" y="413"/>
                  <a:pt x="388" y="417"/>
                  <a:pt x="363" y="421"/>
                </a:cubicBezTo>
                <a:cubicBezTo>
                  <a:pt x="333" y="425"/>
                  <a:pt x="294" y="428"/>
                  <a:pt x="250" y="428"/>
                </a:cubicBezTo>
                <a:cubicBezTo>
                  <a:pt x="198" y="429"/>
                  <a:pt x="145" y="427"/>
                  <a:pt x="103" y="423"/>
                </a:cubicBezTo>
                <a:cubicBezTo>
                  <a:pt x="67" y="419"/>
                  <a:pt x="48" y="414"/>
                  <a:pt x="38" y="411"/>
                </a:cubicBezTo>
                <a:cubicBezTo>
                  <a:pt x="47" y="408"/>
                  <a:pt x="61" y="404"/>
                  <a:pt x="86" y="399"/>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52" name="Freeform 600"/>
          <p:cNvSpPr>
            <a:spLocks/>
          </p:cNvSpPr>
          <p:nvPr userDrawn="1"/>
        </p:nvSpPr>
        <p:spPr bwMode="auto">
          <a:xfrm>
            <a:off x="8318622" y="2862007"/>
            <a:ext cx="384672" cy="180975"/>
          </a:xfrm>
          <a:custGeom>
            <a:avLst/>
            <a:gdLst/>
            <a:ahLst/>
            <a:cxnLst>
              <a:cxn ang="0">
                <a:pos x="228" y="22"/>
              </a:cxn>
              <a:cxn ang="0">
                <a:pos x="169" y="6"/>
              </a:cxn>
              <a:cxn ang="0">
                <a:pos x="12" y="47"/>
              </a:cxn>
              <a:cxn ang="0">
                <a:pos x="2" y="63"/>
              </a:cxn>
              <a:cxn ang="0">
                <a:pos x="18" y="72"/>
              </a:cxn>
              <a:cxn ang="0">
                <a:pos x="176" y="32"/>
              </a:cxn>
              <a:cxn ang="0">
                <a:pos x="219" y="49"/>
              </a:cxn>
              <a:cxn ang="0">
                <a:pos x="235" y="49"/>
              </a:cxn>
              <a:cxn ang="0">
                <a:pos x="279" y="32"/>
              </a:cxn>
              <a:cxn ang="0">
                <a:pos x="416" y="67"/>
              </a:cxn>
              <a:cxn ang="0">
                <a:pos x="222" y="183"/>
              </a:cxn>
              <a:cxn ang="0">
                <a:pos x="90" y="115"/>
              </a:cxn>
              <a:cxn ang="0">
                <a:pos x="361" y="105"/>
              </a:cxn>
              <a:cxn ang="0">
                <a:pos x="367" y="87"/>
              </a:cxn>
              <a:cxn ang="0">
                <a:pos x="350" y="80"/>
              </a:cxn>
              <a:cxn ang="0">
                <a:pos x="59" y="81"/>
              </a:cxn>
              <a:cxn ang="0">
                <a:pos x="44" y="86"/>
              </a:cxn>
              <a:cxn ang="0">
                <a:pos x="44" y="102"/>
              </a:cxn>
              <a:cxn ang="0">
                <a:pos x="221" y="210"/>
              </a:cxn>
              <a:cxn ang="0">
                <a:pos x="451" y="66"/>
              </a:cxn>
              <a:cxn ang="0">
                <a:pos x="452" y="54"/>
              </a:cxn>
              <a:cxn ang="0">
                <a:pos x="443" y="45"/>
              </a:cxn>
              <a:cxn ang="0">
                <a:pos x="286" y="6"/>
              </a:cxn>
              <a:cxn ang="0">
                <a:pos x="228" y="22"/>
              </a:cxn>
            </a:cxnLst>
            <a:rect l="0" t="0" r="r" b="b"/>
            <a:pathLst>
              <a:path w="454" h="214">
                <a:moveTo>
                  <a:pt x="228" y="22"/>
                </a:moveTo>
                <a:cubicBezTo>
                  <a:pt x="215" y="14"/>
                  <a:pt x="191" y="1"/>
                  <a:pt x="169" y="6"/>
                </a:cubicBezTo>
                <a:cubicBezTo>
                  <a:pt x="151" y="11"/>
                  <a:pt x="13" y="46"/>
                  <a:pt x="12" y="47"/>
                </a:cubicBezTo>
                <a:cubicBezTo>
                  <a:pt x="4" y="48"/>
                  <a:pt x="0" y="56"/>
                  <a:pt x="2" y="63"/>
                </a:cubicBezTo>
                <a:cubicBezTo>
                  <a:pt x="4" y="70"/>
                  <a:pt x="11" y="74"/>
                  <a:pt x="18" y="72"/>
                </a:cubicBezTo>
                <a:cubicBezTo>
                  <a:pt x="20" y="72"/>
                  <a:pt x="157" y="37"/>
                  <a:pt x="176" y="32"/>
                </a:cubicBezTo>
                <a:cubicBezTo>
                  <a:pt x="190" y="29"/>
                  <a:pt x="212" y="43"/>
                  <a:pt x="219" y="49"/>
                </a:cubicBezTo>
                <a:cubicBezTo>
                  <a:pt x="224" y="53"/>
                  <a:pt x="230" y="53"/>
                  <a:pt x="235" y="49"/>
                </a:cubicBezTo>
                <a:cubicBezTo>
                  <a:pt x="247" y="40"/>
                  <a:pt x="269" y="29"/>
                  <a:pt x="279" y="32"/>
                </a:cubicBezTo>
                <a:cubicBezTo>
                  <a:pt x="308" y="41"/>
                  <a:pt x="381" y="58"/>
                  <a:pt x="416" y="67"/>
                </a:cubicBezTo>
                <a:cubicBezTo>
                  <a:pt x="386" y="102"/>
                  <a:pt x="306" y="186"/>
                  <a:pt x="222" y="183"/>
                </a:cubicBezTo>
                <a:cubicBezTo>
                  <a:pt x="163" y="181"/>
                  <a:pt x="117" y="143"/>
                  <a:pt x="90" y="115"/>
                </a:cubicBezTo>
                <a:cubicBezTo>
                  <a:pt x="152" y="127"/>
                  <a:pt x="274" y="143"/>
                  <a:pt x="361" y="105"/>
                </a:cubicBezTo>
                <a:cubicBezTo>
                  <a:pt x="367" y="102"/>
                  <a:pt x="370" y="94"/>
                  <a:pt x="367" y="87"/>
                </a:cubicBezTo>
                <a:cubicBezTo>
                  <a:pt x="364" y="80"/>
                  <a:pt x="357" y="77"/>
                  <a:pt x="350" y="80"/>
                </a:cubicBezTo>
                <a:cubicBezTo>
                  <a:pt x="241" y="128"/>
                  <a:pt x="61" y="82"/>
                  <a:pt x="59" y="81"/>
                </a:cubicBezTo>
                <a:cubicBezTo>
                  <a:pt x="53" y="80"/>
                  <a:pt x="48" y="82"/>
                  <a:pt x="44" y="86"/>
                </a:cubicBezTo>
                <a:cubicBezTo>
                  <a:pt x="41" y="91"/>
                  <a:pt x="41" y="97"/>
                  <a:pt x="44" y="102"/>
                </a:cubicBezTo>
                <a:cubicBezTo>
                  <a:pt x="47" y="106"/>
                  <a:pt x="115" y="206"/>
                  <a:pt x="221" y="210"/>
                </a:cubicBezTo>
                <a:cubicBezTo>
                  <a:pt x="342" y="214"/>
                  <a:pt x="446" y="72"/>
                  <a:pt x="451" y="66"/>
                </a:cubicBezTo>
                <a:cubicBezTo>
                  <a:pt x="453" y="63"/>
                  <a:pt x="454" y="58"/>
                  <a:pt x="452" y="54"/>
                </a:cubicBezTo>
                <a:cubicBezTo>
                  <a:pt x="451" y="50"/>
                  <a:pt x="447" y="47"/>
                  <a:pt x="443" y="45"/>
                </a:cubicBezTo>
                <a:cubicBezTo>
                  <a:pt x="442" y="45"/>
                  <a:pt x="325" y="18"/>
                  <a:pt x="286" y="6"/>
                </a:cubicBezTo>
                <a:cubicBezTo>
                  <a:pt x="266" y="0"/>
                  <a:pt x="241" y="14"/>
                  <a:pt x="228" y="2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53" name="Freeform 612"/>
          <p:cNvSpPr>
            <a:spLocks/>
          </p:cNvSpPr>
          <p:nvPr userDrawn="1"/>
        </p:nvSpPr>
        <p:spPr bwMode="auto">
          <a:xfrm>
            <a:off x="8338271" y="3323250"/>
            <a:ext cx="345372" cy="345281"/>
          </a:xfrm>
          <a:custGeom>
            <a:avLst/>
            <a:gdLst/>
            <a:ahLst/>
            <a:cxnLst>
              <a:cxn ang="0">
                <a:pos x="153" y="404"/>
              </a:cxn>
              <a:cxn ang="0">
                <a:pos x="149" y="156"/>
              </a:cxn>
              <a:cxn ang="0">
                <a:pos x="175" y="156"/>
              </a:cxn>
              <a:cxn ang="0">
                <a:pos x="249" y="381"/>
              </a:cxn>
              <a:cxn ang="0">
                <a:pos x="253" y="232"/>
              </a:cxn>
              <a:cxn ang="0">
                <a:pos x="310" y="228"/>
              </a:cxn>
              <a:cxn ang="0">
                <a:pos x="323" y="242"/>
              </a:cxn>
              <a:cxn ang="0">
                <a:pos x="381" y="269"/>
              </a:cxn>
              <a:cxn ang="0">
                <a:pos x="381" y="238"/>
              </a:cxn>
              <a:cxn ang="0">
                <a:pos x="378" y="203"/>
              </a:cxn>
              <a:cxn ang="0">
                <a:pos x="351" y="173"/>
              </a:cxn>
              <a:cxn ang="0">
                <a:pos x="323" y="169"/>
              </a:cxn>
              <a:cxn ang="0">
                <a:pos x="254" y="165"/>
              </a:cxn>
              <a:cxn ang="0">
                <a:pos x="250" y="102"/>
              </a:cxn>
              <a:cxn ang="0">
                <a:pos x="212" y="98"/>
              </a:cxn>
              <a:cxn ang="0">
                <a:pos x="208" y="33"/>
              </a:cxn>
              <a:cxn ang="0">
                <a:pos x="176" y="27"/>
              </a:cxn>
              <a:cxn ang="0">
                <a:pos x="158" y="29"/>
              </a:cxn>
              <a:cxn ang="0">
                <a:pos x="124" y="69"/>
              </a:cxn>
              <a:cxn ang="0">
                <a:pos x="113" y="113"/>
              </a:cxn>
              <a:cxn ang="0">
                <a:pos x="24" y="329"/>
              </a:cxn>
              <a:cxn ang="0">
                <a:pos x="6" y="330"/>
              </a:cxn>
              <a:cxn ang="0">
                <a:pos x="5" y="311"/>
              </a:cxn>
              <a:cxn ang="0">
                <a:pos x="5" y="311"/>
              </a:cxn>
              <a:cxn ang="0">
                <a:pos x="10" y="305"/>
              </a:cxn>
              <a:cxn ang="0">
                <a:pos x="25" y="285"/>
              </a:cxn>
              <a:cxn ang="0">
                <a:pos x="82" y="135"/>
              </a:cxn>
              <a:cxn ang="0">
                <a:pos x="99" y="60"/>
              </a:cxn>
              <a:cxn ang="0">
                <a:pos x="149" y="4"/>
              </a:cxn>
              <a:cxn ang="0">
                <a:pos x="176" y="0"/>
              </a:cxn>
              <a:cxn ang="0">
                <a:pos x="235" y="24"/>
              </a:cxn>
              <a:cxn ang="0">
                <a:pos x="263" y="75"/>
              </a:cxn>
              <a:cxn ang="0">
                <a:pos x="277" y="88"/>
              </a:cxn>
              <a:cxn ang="0">
                <a:pos x="324" y="142"/>
              </a:cxn>
              <a:cxn ang="0">
                <a:pos x="360" y="148"/>
              </a:cxn>
              <a:cxn ang="0">
                <a:pos x="405" y="198"/>
              </a:cxn>
              <a:cxn ang="0">
                <a:pos x="408" y="238"/>
              </a:cxn>
              <a:cxn ang="0">
                <a:pos x="408" y="283"/>
              </a:cxn>
              <a:cxn ang="0">
                <a:pos x="395" y="296"/>
              </a:cxn>
              <a:cxn ang="0">
                <a:pos x="297" y="283"/>
              </a:cxn>
              <a:cxn ang="0">
                <a:pos x="275" y="255"/>
              </a:cxn>
              <a:cxn ang="0">
                <a:pos x="271" y="404"/>
              </a:cxn>
              <a:cxn ang="0">
                <a:pos x="162" y="408"/>
              </a:cxn>
            </a:cxnLst>
            <a:rect l="0" t="0" r="r" b="b"/>
            <a:pathLst>
              <a:path w="408" h="408">
                <a:moveTo>
                  <a:pt x="162" y="408"/>
                </a:moveTo>
                <a:cubicBezTo>
                  <a:pt x="158" y="408"/>
                  <a:pt x="155" y="406"/>
                  <a:pt x="153" y="404"/>
                </a:cubicBezTo>
                <a:cubicBezTo>
                  <a:pt x="153" y="404"/>
                  <a:pt x="153" y="404"/>
                  <a:pt x="153" y="404"/>
                </a:cubicBezTo>
                <a:cubicBezTo>
                  <a:pt x="150" y="401"/>
                  <a:pt x="149" y="398"/>
                  <a:pt x="149" y="394"/>
                </a:cubicBezTo>
                <a:cubicBezTo>
                  <a:pt x="149" y="394"/>
                  <a:pt x="149" y="394"/>
                  <a:pt x="149" y="394"/>
                </a:cubicBezTo>
                <a:cubicBezTo>
                  <a:pt x="149" y="156"/>
                  <a:pt x="149" y="156"/>
                  <a:pt x="149" y="156"/>
                </a:cubicBezTo>
                <a:cubicBezTo>
                  <a:pt x="149" y="149"/>
                  <a:pt x="155" y="143"/>
                  <a:pt x="162" y="143"/>
                </a:cubicBezTo>
                <a:cubicBezTo>
                  <a:pt x="162" y="143"/>
                  <a:pt x="162" y="143"/>
                  <a:pt x="162" y="143"/>
                </a:cubicBezTo>
                <a:cubicBezTo>
                  <a:pt x="169" y="143"/>
                  <a:pt x="175" y="149"/>
                  <a:pt x="175" y="156"/>
                </a:cubicBezTo>
                <a:cubicBezTo>
                  <a:pt x="175" y="156"/>
                  <a:pt x="175" y="156"/>
                  <a:pt x="175" y="156"/>
                </a:cubicBezTo>
                <a:cubicBezTo>
                  <a:pt x="175" y="381"/>
                  <a:pt x="175" y="381"/>
                  <a:pt x="175" y="381"/>
                </a:cubicBezTo>
                <a:cubicBezTo>
                  <a:pt x="249" y="381"/>
                  <a:pt x="249" y="381"/>
                  <a:pt x="249" y="381"/>
                </a:cubicBezTo>
                <a:cubicBezTo>
                  <a:pt x="249" y="242"/>
                  <a:pt x="249" y="242"/>
                  <a:pt x="249" y="242"/>
                </a:cubicBezTo>
                <a:cubicBezTo>
                  <a:pt x="249" y="238"/>
                  <a:pt x="250" y="235"/>
                  <a:pt x="253" y="232"/>
                </a:cubicBezTo>
                <a:cubicBezTo>
                  <a:pt x="253" y="232"/>
                  <a:pt x="253" y="232"/>
                  <a:pt x="253" y="232"/>
                </a:cubicBezTo>
                <a:cubicBezTo>
                  <a:pt x="255" y="230"/>
                  <a:pt x="258" y="228"/>
                  <a:pt x="262" y="228"/>
                </a:cubicBezTo>
                <a:cubicBezTo>
                  <a:pt x="262" y="228"/>
                  <a:pt x="262" y="228"/>
                  <a:pt x="262" y="228"/>
                </a:cubicBezTo>
                <a:cubicBezTo>
                  <a:pt x="310" y="228"/>
                  <a:pt x="310" y="228"/>
                  <a:pt x="310" y="228"/>
                </a:cubicBezTo>
                <a:cubicBezTo>
                  <a:pt x="313" y="228"/>
                  <a:pt x="317" y="230"/>
                  <a:pt x="319" y="232"/>
                </a:cubicBezTo>
                <a:cubicBezTo>
                  <a:pt x="319" y="232"/>
                  <a:pt x="319" y="232"/>
                  <a:pt x="319" y="232"/>
                </a:cubicBezTo>
                <a:cubicBezTo>
                  <a:pt x="322" y="235"/>
                  <a:pt x="323" y="238"/>
                  <a:pt x="323" y="242"/>
                </a:cubicBezTo>
                <a:cubicBezTo>
                  <a:pt x="323" y="242"/>
                  <a:pt x="323" y="242"/>
                  <a:pt x="323" y="242"/>
                </a:cubicBezTo>
                <a:cubicBezTo>
                  <a:pt x="323" y="269"/>
                  <a:pt x="323" y="269"/>
                  <a:pt x="323" y="269"/>
                </a:cubicBezTo>
                <a:cubicBezTo>
                  <a:pt x="381" y="269"/>
                  <a:pt x="381" y="269"/>
                  <a:pt x="381" y="269"/>
                </a:cubicBezTo>
                <a:cubicBezTo>
                  <a:pt x="381" y="247"/>
                  <a:pt x="381" y="247"/>
                  <a:pt x="381" y="247"/>
                </a:cubicBezTo>
                <a:cubicBezTo>
                  <a:pt x="381" y="246"/>
                  <a:pt x="381" y="246"/>
                  <a:pt x="381" y="246"/>
                </a:cubicBezTo>
                <a:cubicBezTo>
                  <a:pt x="381" y="243"/>
                  <a:pt x="381" y="241"/>
                  <a:pt x="381" y="238"/>
                </a:cubicBezTo>
                <a:cubicBezTo>
                  <a:pt x="381" y="238"/>
                  <a:pt x="381" y="238"/>
                  <a:pt x="381" y="238"/>
                </a:cubicBezTo>
                <a:cubicBezTo>
                  <a:pt x="381" y="223"/>
                  <a:pt x="380" y="212"/>
                  <a:pt x="378" y="203"/>
                </a:cubicBezTo>
                <a:cubicBezTo>
                  <a:pt x="378" y="203"/>
                  <a:pt x="378" y="203"/>
                  <a:pt x="378" y="203"/>
                </a:cubicBezTo>
                <a:cubicBezTo>
                  <a:pt x="377" y="195"/>
                  <a:pt x="374" y="190"/>
                  <a:pt x="371" y="187"/>
                </a:cubicBezTo>
                <a:cubicBezTo>
                  <a:pt x="371" y="187"/>
                  <a:pt x="371" y="187"/>
                  <a:pt x="371" y="187"/>
                </a:cubicBezTo>
                <a:cubicBezTo>
                  <a:pt x="366" y="180"/>
                  <a:pt x="359" y="176"/>
                  <a:pt x="351" y="173"/>
                </a:cubicBezTo>
                <a:cubicBezTo>
                  <a:pt x="351" y="173"/>
                  <a:pt x="351" y="173"/>
                  <a:pt x="351" y="173"/>
                </a:cubicBezTo>
                <a:cubicBezTo>
                  <a:pt x="344" y="170"/>
                  <a:pt x="334" y="169"/>
                  <a:pt x="323" y="169"/>
                </a:cubicBezTo>
                <a:cubicBezTo>
                  <a:pt x="323" y="169"/>
                  <a:pt x="323" y="169"/>
                  <a:pt x="323" y="169"/>
                </a:cubicBezTo>
                <a:cubicBezTo>
                  <a:pt x="263" y="169"/>
                  <a:pt x="263" y="169"/>
                  <a:pt x="263" y="169"/>
                </a:cubicBezTo>
                <a:cubicBezTo>
                  <a:pt x="260" y="169"/>
                  <a:pt x="256" y="167"/>
                  <a:pt x="254" y="165"/>
                </a:cubicBezTo>
                <a:cubicBezTo>
                  <a:pt x="254" y="165"/>
                  <a:pt x="254" y="165"/>
                  <a:pt x="254" y="165"/>
                </a:cubicBezTo>
                <a:cubicBezTo>
                  <a:pt x="251" y="162"/>
                  <a:pt x="250" y="159"/>
                  <a:pt x="250" y="156"/>
                </a:cubicBezTo>
                <a:cubicBezTo>
                  <a:pt x="250" y="156"/>
                  <a:pt x="250" y="156"/>
                  <a:pt x="250" y="156"/>
                </a:cubicBezTo>
                <a:cubicBezTo>
                  <a:pt x="250" y="102"/>
                  <a:pt x="250" y="102"/>
                  <a:pt x="250" y="102"/>
                </a:cubicBezTo>
                <a:cubicBezTo>
                  <a:pt x="222" y="102"/>
                  <a:pt x="222" y="102"/>
                  <a:pt x="222" y="102"/>
                </a:cubicBezTo>
                <a:cubicBezTo>
                  <a:pt x="218" y="102"/>
                  <a:pt x="215" y="100"/>
                  <a:pt x="212" y="98"/>
                </a:cubicBezTo>
                <a:cubicBezTo>
                  <a:pt x="212" y="98"/>
                  <a:pt x="212" y="98"/>
                  <a:pt x="212" y="98"/>
                </a:cubicBezTo>
                <a:cubicBezTo>
                  <a:pt x="210" y="95"/>
                  <a:pt x="208" y="92"/>
                  <a:pt x="208" y="88"/>
                </a:cubicBezTo>
                <a:cubicBezTo>
                  <a:pt x="208" y="88"/>
                  <a:pt x="208" y="88"/>
                  <a:pt x="208" y="88"/>
                </a:cubicBezTo>
                <a:cubicBezTo>
                  <a:pt x="208" y="33"/>
                  <a:pt x="208" y="33"/>
                  <a:pt x="208" y="33"/>
                </a:cubicBezTo>
                <a:cubicBezTo>
                  <a:pt x="207" y="33"/>
                  <a:pt x="205" y="32"/>
                  <a:pt x="204" y="31"/>
                </a:cubicBezTo>
                <a:cubicBezTo>
                  <a:pt x="204" y="31"/>
                  <a:pt x="204" y="31"/>
                  <a:pt x="204" y="31"/>
                </a:cubicBezTo>
                <a:cubicBezTo>
                  <a:pt x="196" y="29"/>
                  <a:pt x="186" y="27"/>
                  <a:pt x="176" y="27"/>
                </a:cubicBezTo>
                <a:cubicBezTo>
                  <a:pt x="176" y="27"/>
                  <a:pt x="176" y="27"/>
                  <a:pt x="176" y="27"/>
                </a:cubicBezTo>
                <a:cubicBezTo>
                  <a:pt x="170" y="27"/>
                  <a:pt x="164" y="27"/>
                  <a:pt x="158" y="29"/>
                </a:cubicBezTo>
                <a:cubicBezTo>
                  <a:pt x="158" y="29"/>
                  <a:pt x="158" y="29"/>
                  <a:pt x="158" y="29"/>
                </a:cubicBezTo>
                <a:cubicBezTo>
                  <a:pt x="152" y="31"/>
                  <a:pt x="146" y="35"/>
                  <a:pt x="141" y="40"/>
                </a:cubicBezTo>
                <a:cubicBezTo>
                  <a:pt x="141" y="40"/>
                  <a:pt x="141" y="40"/>
                  <a:pt x="141" y="40"/>
                </a:cubicBezTo>
                <a:cubicBezTo>
                  <a:pt x="134" y="46"/>
                  <a:pt x="128" y="56"/>
                  <a:pt x="124" y="69"/>
                </a:cubicBezTo>
                <a:cubicBezTo>
                  <a:pt x="124" y="69"/>
                  <a:pt x="124" y="69"/>
                  <a:pt x="124" y="69"/>
                </a:cubicBezTo>
                <a:cubicBezTo>
                  <a:pt x="119" y="81"/>
                  <a:pt x="116" y="97"/>
                  <a:pt x="113" y="113"/>
                </a:cubicBezTo>
                <a:cubicBezTo>
                  <a:pt x="113" y="113"/>
                  <a:pt x="113" y="113"/>
                  <a:pt x="113" y="113"/>
                </a:cubicBezTo>
                <a:cubicBezTo>
                  <a:pt x="107" y="147"/>
                  <a:pt x="102" y="186"/>
                  <a:pt x="89" y="221"/>
                </a:cubicBezTo>
                <a:cubicBezTo>
                  <a:pt x="89" y="221"/>
                  <a:pt x="89" y="221"/>
                  <a:pt x="89" y="221"/>
                </a:cubicBezTo>
                <a:cubicBezTo>
                  <a:pt x="63" y="287"/>
                  <a:pt x="25" y="329"/>
                  <a:pt x="24" y="329"/>
                </a:cubicBezTo>
                <a:cubicBezTo>
                  <a:pt x="24" y="329"/>
                  <a:pt x="24" y="329"/>
                  <a:pt x="24" y="329"/>
                </a:cubicBezTo>
                <a:cubicBezTo>
                  <a:pt x="19" y="335"/>
                  <a:pt x="11" y="335"/>
                  <a:pt x="6" y="330"/>
                </a:cubicBezTo>
                <a:cubicBezTo>
                  <a:pt x="6" y="330"/>
                  <a:pt x="6" y="330"/>
                  <a:pt x="6" y="330"/>
                </a:cubicBezTo>
                <a:cubicBezTo>
                  <a:pt x="0" y="325"/>
                  <a:pt x="0" y="317"/>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6" y="310"/>
                  <a:pt x="6" y="310"/>
                </a:cubicBezTo>
                <a:cubicBezTo>
                  <a:pt x="6" y="310"/>
                  <a:pt x="6" y="310"/>
                  <a:pt x="6" y="310"/>
                </a:cubicBezTo>
                <a:cubicBezTo>
                  <a:pt x="7" y="309"/>
                  <a:pt x="9" y="307"/>
                  <a:pt x="10" y="305"/>
                </a:cubicBezTo>
                <a:cubicBezTo>
                  <a:pt x="10" y="305"/>
                  <a:pt x="10" y="305"/>
                  <a:pt x="10" y="305"/>
                </a:cubicBezTo>
                <a:cubicBezTo>
                  <a:pt x="14" y="300"/>
                  <a:pt x="19" y="293"/>
                  <a:pt x="25" y="285"/>
                </a:cubicBezTo>
                <a:cubicBezTo>
                  <a:pt x="25" y="285"/>
                  <a:pt x="25" y="285"/>
                  <a:pt x="25" y="285"/>
                </a:cubicBezTo>
                <a:cubicBezTo>
                  <a:pt x="37" y="267"/>
                  <a:pt x="52" y="242"/>
                  <a:pt x="64" y="211"/>
                </a:cubicBezTo>
                <a:cubicBezTo>
                  <a:pt x="64" y="211"/>
                  <a:pt x="64" y="211"/>
                  <a:pt x="64" y="211"/>
                </a:cubicBezTo>
                <a:cubicBezTo>
                  <a:pt x="73" y="188"/>
                  <a:pt x="78" y="162"/>
                  <a:pt x="82" y="135"/>
                </a:cubicBezTo>
                <a:cubicBezTo>
                  <a:pt x="82" y="135"/>
                  <a:pt x="82" y="135"/>
                  <a:pt x="82" y="135"/>
                </a:cubicBezTo>
                <a:cubicBezTo>
                  <a:pt x="87" y="109"/>
                  <a:pt x="91" y="82"/>
                  <a:pt x="99" y="60"/>
                </a:cubicBezTo>
                <a:cubicBezTo>
                  <a:pt x="99" y="60"/>
                  <a:pt x="99" y="60"/>
                  <a:pt x="99" y="60"/>
                </a:cubicBezTo>
                <a:cubicBezTo>
                  <a:pt x="104" y="45"/>
                  <a:pt x="111" y="31"/>
                  <a:pt x="123" y="20"/>
                </a:cubicBezTo>
                <a:cubicBezTo>
                  <a:pt x="123" y="20"/>
                  <a:pt x="123" y="20"/>
                  <a:pt x="123" y="20"/>
                </a:cubicBezTo>
                <a:cubicBezTo>
                  <a:pt x="131" y="12"/>
                  <a:pt x="140" y="7"/>
                  <a:pt x="149" y="4"/>
                </a:cubicBezTo>
                <a:cubicBezTo>
                  <a:pt x="149" y="4"/>
                  <a:pt x="149" y="4"/>
                  <a:pt x="149" y="4"/>
                </a:cubicBezTo>
                <a:cubicBezTo>
                  <a:pt x="158" y="1"/>
                  <a:pt x="168" y="0"/>
                  <a:pt x="176" y="0"/>
                </a:cubicBezTo>
                <a:cubicBezTo>
                  <a:pt x="176" y="0"/>
                  <a:pt x="176" y="0"/>
                  <a:pt x="176" y="0"/>
                </a:cubicBezTo>
                <a:cubicBezTo>
                  <a:pt x="205" y="0"/>
                  <a:pt x="227" y="12"/>
                  <a:pt x="228" y="13"/>
                </a:cubicBezTo>
                <a:cubicBezTo>
                  <a:pt x="228" y="13"/>
                  <a:pt x="228" y="13"/>
                  <a:pt x="228" y="13"/>
                </a:cubicBezTo>
                <a:cubicBezTo>
                  <a:pt x="232" y="15"/>
                  <a:pt x="235" y="20"/>
                  <a:pt x="235" y="24"/>
                </a:cubicBezTo>
                <a:cubicBezTo>
                  <a:pt x="235" y="24"/>
                  <a:pt x="235" y="24"/>
                  <a:pt x="235" y="24"/>
                </a:cubicBezTo>
                <a:cubicBezTo>
                  <a:pt x="235" y="75"/>
                  <a:pt x="235" y="75"/>
                  <a:pt x="235" y="75"/>
                </a:cubicBezTo>
                <a:cubicBezTo>
                  <a:pt x="263" y="75"/>
                  <a:pt x="263" y="75"/>
                  <a:pt x="263" y="75"/>
                </a:cubicBezTo>
                <a:cubicBezTo>
                  <a:pt x="267" y="75"/>
                  <a:pt x="270" y="76"/>
                  <a:pt x="273" y="79"/>
                </a:cubicBezTo>
                <a:cubicBezTo>
                  <a:pt x="273" y="79"/>
                  <a:pt x="273" y="79"/>
                  <a:pt x="273" y="79"/>
                </a:cubicBezTo>
                <a:cubicBezTo>
                  <a:pt x="275" y="82"/>
                  <a:pt x="277" y="85"/>
                  <a:pt x="277" y="88"/>
                </a:cubicBezTo>
                <a:cubicBezTo>
                  <a:pt x="277" y="88"/>
                  <a:pt x="277" y="88"/>
                  <a:pt x="277" y="88"/>
                </a:cubicBezTo>
                <a:cubicBezTo>
                  <a:pt x="277" y="142"/>
                  <a:pt x="277" y="142"/>
                  <a:pt x="277" y="142"/>
                </a:cubicBezTo>
                <a:cubicBezTo>
                  <a:pt x="324" y="142"/>
                  <a:pt x="324" y="142"/>
                  <a:pt x="324" y="142"/>
                </a:cubicBezTo>
                <a:cubicBezTo>
                  <a:pt x="324" y="142"/>
                  <a:pt x="324" y="142"/>
                  <a:pt x="324" y="142"/>
                </a:cubicBezTo>
                <a:cubicBezTo>
                  <a:pt x="336" y="142"/>
                  <a:pt x="349" y="144"/>
                  <a:pt x="360" y="148"/>
                </a:cubicBezTo>
                <a:cubicBezTo>
                  <a:pt x="360" y="148"/>
                  <a:pt x="360" y="148"/>
                  <a:pt x="360" y="148"/>
                </a:cubicBezTo>
                <a:cubicBezTo>
                  <a:pt x="372" y="152"/>
                  <a:pt x="383" y="159"/>
                  <a:pt x="391" y="169"/>
                </a:cubicBezTo>
                <a:cubicBezTo>
                  <a:pt x="391" y="169"/>
                  <a:pt x="391" y="169"/>
                  <a:pt x="391" y="169"/>
                </a:cubicBezTo>
                <a:cubicBezTo>
                  <a:pt x="398" y="177"/>
                  <a:pt x="402" y="186"/>
                  <a:pt x="405" y="198"/>
                </a:cubicBezTo>
                <a:cubicBezTo>
                  <a:pt x="405" y="198"/>
                  <a:pt x="405" y="198"/>
                  <a:pt x="405" y="198"/>
                </a:cubicBezTo>
                <a:cubicBezTo>
                  <a:pt x="407" y="209"/>
                  <a:pt x="408" y="222"/>
                  <a:pt x="408" y="238"/>
                </a:cubicBezTo>
                <a:cubicBezTo>
                  <a:pt x="408" y="238"/>
                  <a:pt x="408" y="238"/>
                  <a:pt x="408" y="238"/>
                </a:cubicBezTo>
                <a:cubicBezTo>
                  <a:pt x="408" y="241"/>
                  <a:pt x="408" y="244"/>
                  <a:pt x="408" y="246"/>
                </a:cubicBezTo>
                <a:cubicBezTo>
                  <a:pt x="408" y="246"/>
                  <a:pt x="408" y="246"/>
                  <a:pt x="408" y="246"/>
                </a:cubicBezTo>
                <a:cubicBezTo>
                  <a:pt x="408" y="283"/>
                  <a:pt x="408" y="283"/>
                  <a:pt x="408" y="283"/>
                </a:cubicBezTo>
                <a:cubicBezTo>
                  <a:pt x="408" y="286"/>
                  <a:pt x="407" y="290"/>
                  <a:pt x="404" y="292"/>
                </a:cubicBezTo>
                <a:cubicBezTo>
                  <a:pt x="404" y="292"/>
                  <a:pt x="404" y="292"/>
                  <a:pt x="404" y="292"/>
                </a:cubicBezTo>
                <a:cubicBezTo>
                  <a:pt x="402" y="295"/>
                  <a:pt x="398" y="296"/>
                  <a:pt x="395" y="296"/>
                </a:cubicBezTo>
                <a:cubicBezTo>
                  <a:pt x="395" y="296"/>
                  <a:pt x="395" y="296"/>
                  <a:pt x="395" y="296"/>
                </a:cubicBezTo>
                <a:cubicBezTo>
                  <a:pt x="310" y="296"/>
                  <a:pt x="310" y="296"/>
                  <a:pt x="310" y="296"/>
                </a:cubicBezTo>
                <a:cubicBezTo>
                  <a:pt x="303" y="296"/>
                  <a:pt x="297" y="290"/>
                  <a:pt x="297" y="283"/>
                </a:cubicBezTo>
                <a:cubicBezTo>
                  <a:pt x="297" y="283"/>
                  <a:pt x="297" y="283"/>
                  <a:pt x="297" y="283"/>
                </a:cubicBezTo>
                <a:cubicBezTo>
                  <a:pt x="297" y="255"/>
                  <a:pt x="297" y="255"/>
                  <a:pt x="297" y="255"/>
                </a:cubicBezTo>
                <a:cubicBezTo>
                  <a:pt x="275" y="255"/>
                  <a:pt x="275" y="255"/>
                  <a:pt x="275" y="255"/>
                </a:cubicBezTo>
                <a:cubicBezTo>
                  <a:pt x="275" y="394"/>
                  <a:pt x="275" y="394"/>
                  <a:pt x="275" y="394"/>
                </a:cubicBezTo>
                <a:cubicBezTo>
                  <a:pt x="275" y="398"/>
                  <a:pt x="274" y="401"/>
                  <a:pt x="271" y="404"/>
                </a:cubicBezTo>
                <a:cubicBezTo>
                  <a:pt x="271" y="404"/>
                  <a:pt x="271" y="404"/>
                  <a:pt x="271" y="404"/>
                </a:cubicBezTo>
                <a:cubicBezTo>
                  <a:pt x="269" y="406"/>
                  <a:pt x="266" y="408"/>
                  <a:pt x="262" y="408"/>
                </a:cubicBezTo>
                <a:cubicBezTo>
                  <a:pt x="262" y="408"/>
                  <a:pt x="262" y="408"/>
                  <a:pt x="262" y="408"/>
                </a:cubicBezTo>
                <a:cubicBezTo>
                  <a:pt x="162" y="408"/>
                  <a:pt x="162" y="408"/>
                  <a:pt x="162" y="40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54" name="Freeform 616"/>
          <p:cNvSpPr>
            <a:spLocks/>
          </p:cNvSpPr>
          <p:nvPr userDrawn="1"/>
        </p:nvSpPr>
        <p:spPr bwMode="auto">
          <a:xfrm>
            <a:off x="8324576" y="2282509"/>
            <a:ext cx="372763" cy="307181"/>
          </a:xfrm>
          <a:custGeom>
            <a:avLst/>
            <a:gdLst/>
            <a:ahLst/>
            <a:cxnLst>
              <a:cxn ang="0">
                <a:pos x="439" y="11"/>
              </a:cxn>
              <a:cxn ang="0">
                <a:pos x="318" y="78"/>
              </a:cxn>
              <a:cxn ang="0">
                <a:pos x="230" y="141"/>
              </a:cxn>
              <a:cxn ang="0">
                <a:pos x="191" y="159"/>
              </a:cxn>
              <a:cxn ang="0">
                <a:pos x="162" y="198"/>
              </a:cxn>
              <a:cxn ang="0">
                <a:pos x="248" y="168"/>
              </a:cxn>
              <a:cxn ang="0">
                <a:pos x="361" y="95"/>
              </a:cxn>
              <a:cxn ang="0">
                <a:pos x="376" y="202"/>
              </a:cxn>
              <a:cxn ang="0">
                <a:pos x="29" y="214"/>
              </a:cxn>
              <a:cxn ang="0">
                <a:pos x="88" y="178"/>
              </a:cxn>
              <a:cxn ang="0">
                <a:pos x="63" y="129"/>
              </a:cxn>
              <a:cxn ang="0">
                <a:pos x="89" y="56"/>
              </a:cxn>
              <a:cxn ang="0">
                <a:pos x="301" y="35"/>
              </a:cxn>
            </a:cxnLst>
            <a:rect l="0" t="0" r="r" b="b"/>
            <a:pathLst>
              <a:path w="439" h="363">
                <a:moveTo>
                  <a:pt x="439" y="11"/>
                </a:moveTo>
                <a:cubicBezTo>
                  <a:pt x="439" y="11"/>
                  <a:pt x="372" y="42"/>
                  <a:pt x="318" y="78"/>
                </a:cubicBezTo>
                <a:cubicBezTo>
                  <a:pt x="276" y="106"/>
                  <a:pt x="239" y="135"/>
                  <a:pt x="230" y="141"/>
                </a:cubicBezTo>
                <a:cubicBezTo>
                  <a:pt x="221" y="144"/>
                  <a:pt x="205" y="145"/>
                  <a:pt x="191" y="159"/>
                </a:cubicBezTo>
                <a:cubicBezTo>
                  <a:pt x="181" y="169"/>
                  <a:pt x="176" y="191"/>
                  <a:pt x="162" y="198"/>
                </a:cubicBezTo>
                <a:cubicBezTo>
                  <a:pt x="208" y="217"/>
                  <a:pt x="241" y="170"/>
                  <a:pt x="248" y="168"/>
                </a:cubicBezTo>
                <a:cubicBezTo>
                  <a:pt x="255" y="165"/>
                  <a:pt x="358" y="97"/>
                  <a:pt x="361" y="95"/>
                </a:cubicBezTo>
                <a:cubicBezTo>
                  <a:pt x="409" y="136"/>
                  <a:pt x="376" y="202"/>
                  <a:pt x="376" y="202"/>
                </a:cubicBezTo>
                <a:cubicBezTo>
                  <a:pt x="313" y="330"/>
                  <a:pt x="0" y="363"/>
                  <a:pt x="29" y="214"/>
                </a:cubicBezTo>
                <a:cubicBezTo>
                  <a:pt x="35" y="194"/>
                  <a:pt x="56" y="182"/>
                  <a:pt x="88" y="178"/>
                </a:cubicBezTo>
                <a:cubicBezTo>
                  <a:pt x="121" y="174"/>
                  <a:pt x="125" y="131"/>
                  <a:pt x="63" y="129"/>
                </a:cubicBezTo>
                <a:cubicBezTo>
                  <a:pt x="22" y="128"/>
                  <a:pt x="68" y="77"/>
                  <a:pt x="89" y="56"/>
                </a:cubicBezTo>
                <a:cubicBezTo>
                  <a:pt x="135" y="11"/>
                  <a:pt x="214" y="0"/>
                  <a:pt x="301" y="35"/>
                </a:cubicBezTo>
              </a:path>
            </a:pathLst>
          </a:custGeom>
          <a:noFill/>
          <a:ln w="30163"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55" name="Freeform 624"/>
          <p:cNvSpPr>
            <a:spLocks/>
          </p:cNvSpPr>
          <p:nvPr userDrawn="1"/>
        </p:nvSpPr>
        <p:spPr bwMode="auto">
          <a:xfrm>
            <a:off x="8338867" y="1805746"/>
            <a:ext cx="344181" cy="351235"/>
          </a:xfrm>
          <a:custGeom>
            <a:avLst/>
            <a:gdLst/>
            <a:ahLst/>
            <a:cxnLst>
              <a:cxn ang="0">
                <a:pos x="198" y="5"/>
              </a:cxn>
              <a:cxn ang="0">
                <a:pos x="186" y="41"/>
              </a:cxn>
              <a:cxn ang="0">
                <a:pos x="145" y="74"/>
              </a:cxn>
              <a:cxn ang="0">
                <a:pos x="112" y="60"/>
              </a:cxn>
              <a:cxn ang="0">
                <a:pos x="80" y="70"/>
              </a:cxn>
              <a:cxn ang="0">
                <a:pos x="79" y="108"/>
              </a:cxn>
              <a:cxn ang="0">
                <a:pos x="61" y="93"/>
              </a:cxn>
              <a:cxn ang="0">
                <a:pos x="1" y="110"/>
              </a:cxn>
              <a:cxn ang="0">
                <a:pos x="22" y="165"/>
              </a:cxn>
              <a:cxn ang="0">
                <a:pos x="96" y="286"/>
              </a:cxn>
              <a:cxn ang="0">
                <a:pos x="79" y="344"/>
              </a:cxn>
              <a:cxn ang="0">
                <a:pos x="247" y="406"/>
              </a:cxn>
              <a:cxn ang="0">
                <a:pos x="258" y="390"/>
              </a:cxn>
              <a:cxn ang="0">
                <a:pos x="284" y="355"/>
              </a:cxn>
              <a:cxn ang="0">
                <a:pos x="355" y="372"/>
              </a:cxn>
              <a:cxn ang="0">
                <a:pos x="400" y="318"/>
              </a:cxn>
              <a:cxn ang="0">
                <a:pos x="363" y="228"/>
              </a:cxn>
              <a:cxn ang="0">
                <a:pos x="345" y="259"/>
              </a:cxn>
              <a:cxn ang="0">
                <a:pos x="346" y="349"/>
              </a:cxn>
              <a:cxn ang="0">
                <a:pos x="282" y="330"/>
              </a:cxn>
              <a:cxn ang="0">
                <a:pos x="232" y="380"/>
              </a:cxn>
              <a:cxn ang="0">
                <a:pos x="105" y="348"/>
              </a:cxn>
              <a:cxn ang="0">
                <a:pos x="123" y="263"/>
              </a:cxn>
              <a:cxn ang="0">
                <a:pos x="28" y="141"/>
              </a:cxn>
              <a:cxn ang="0">
                <a:pos x="56" y="119"/>
              </a:cxn>
              <a:cxn ang="0">
                <a:pos x="80" y="133"/>
              </a:cxn>
              <a:cxn ang="0">
                <a:pos x="123" y="117"/>
              </a:cxn>
              <a:cxn ang="0">
                <a:pos x="119" y="105"/>
              </a:cxn>
              <a:cxn ang="0">
                <a:pos x="128" y="94"/>
              </a:cxn>
              <a:cxn ang="0">
                <a:pos x="167" y="87"/>
              </a:cxn>
              <a:cxn ang="0">
                <a:pos x="211" y="42"/>
              </a:cxn>
              <a:cxn ang="0">
                <a:pos x="211" y="32"/>
              </a:cxn>
              <a:cxn ang="0">
                <a:pos x="221" y="25"/>
              </a:cxn>
              <a:cxn ang="0">
                <a:pos x="368" y="157"/>
              </a:cxn>
              <a:cxn ang="0">
                <a:pos x="320" y="228"/>
              </a:cxn>
              <a:cxn ang="0">
                <a:pos x="333" y="241"/>
              </a:cxn>
              <a:cxn ang="0">
                <a:pos x="386" y="178"/>
              </a:cxn>
              <a:cxn ang="0">
                <a:pos x="403" y="103"/>
              </a:cxn>
              <a:cxn ang="0">
                <a:pos x="393" y="87"/>
              </a:cxn>
              <a:cxn ang="0">
                <a:pos x="225" y="0"/>
              </a:cxn>
            </a:cxnLst>
            <a:rect l="0" t="0" r="r" b="b"/>
            <a:pathLst>
              <a:path w="406" h="414">
                <a:moveTo>
                  <a:pt x="225" y="0"/>
                </a:moveTo>
                <a:cubicBezTo>
                  <a:pt x="222" y="0"/>
                  <a:pt x="207" y="1"/>
                  <a:pt x="198" y="5"/>
                </a:cubicBezTo>
                <a:cubicBezTo>
                  <a:pt x="184" y="10"/>
                  <a:pt x="185" y="24"/>
                  <a:pt x="186" y="33"/>
                </a:cubicBezTo>
                <a:cubicBezTo>
                  <a:pt x="186" y="36"/>
                  <a:pt x="186" y="38"/>
                  <a:pt x="186" y="41"/>
                </a:cubicBezTo>
                <a:cubicBezTo>
                  <a:pt x="185" y="44"/>
                  <a:pt x="179" y="52"/>
                  <a:pt x="172" y="52"/>
                </a:cubicBezTo>
                <a:cubicBezTo>
                  <a:pt x="156" y="51"/>
                  <a:pt x="149" y="65"/>
                  <a:pt x="145" y="74"/>
                </a:cubicBezTo>
                <a:cubicBezTo>
                  <a:pt x="143" y="73"/>
                  <a:pt x="141" y="72"/>
                  <a:pt x="138" y="71"/>
                </a:cubicBezTo>
                <a:cubicBezTo>
                  <a:pt x="130" y="68"/>
                  <a:pt x="120" y="63"/>
                  <a:pt x="112" y="60"/>
                </a:cubicBezTo>
                <a:cubicBezTo>
                  <a:pt x="103" y="57"/>
                  <a:pt x="88" y="51"/>
                  <a:pt x="82" y="63"/>
                </a:cubicBezTo>
                <a:cubicBezTo>
                  <a:pt x="81" y="65"/>
                  <a:pt x="80" y="67"/>
                  <a:pt x="80" y="70"/>
                </a:cubicBezTo>
                <a:cubicBezTo>
                  <a:pt x="80" y="76"/>
                  <a:pt x="84" y="86"/>
                  <a:pt x="93" y="107"/>
                </a:cubicBezTo>
                <a:cubicBezTo>
                  <a:pt x="89" y="108"/>
                  <a:pt x="84" y="108"/>
                  <a:pt x="79" y="108"/>
                </a:cubicBezTo>
                <a:cubicBezTo>
                  <a:pt x="77" y="106"/>
                  <a:pt x="75" y="102"/>
                  <a:pt x="73" y="100"/>
                </a:cubicBezTo>
                <a:cubicBezTo>
                  <a:pt x="72" y="97"/>
                  <a:pt x="68" y="93"/>
                  <a:pt x="61" y="93"/>
                </a:cubicBezTo>
                <a:cubicBezTo>
                  <a:pt x="53" y="93"/>
                  <a:pt x="35" y="97"/>
                  <a:pt x="31" y="98"/>
                </a:cubicBezTo>
                <a:cubicBezTo>
                  <a:pt x="8" y="103"/>
                  <a:pt x="4" y="105"/>
                  <a:pt x="1" y="110"/>
                </a:cubicBezTo>
                <a:cubicBezTo>
                  <a:pt x="0" y="112"/>
                  <a:pt x="0" y="114"/>
                  <a:pt x="0" y="116"/>
                </a:cubicBezTo>
                <a:cubicBezTo>
                  <a:pt x="0" y="130"/>
                  <a:pt x="1" y="163"/>
                  <a:pt x="22" y="165"/>
                </a:cubicBezTo>
                <a:cubicBezTo>
                  <a:pt x="30" y="166"/>
                  <a:pt x="65" y="182"/>
                  <a:pt x="76" y="198"/>
                </a:cubicBezTo>
                <a:cubicBezTo>
                  <a:pt x="90" y="219"/>
                  <a:pt x="103" y="243"/>
                  <a:pt x="96" y="286"/>
                </a:cubicBezTo>
                <a:cubicBezTo>
                  <a:pt x="89" y="329"/>
                  <a:pt x="79" y="344"/>
                  <a:pt x="78" y="344"/>
                </a:cubicBezTo>
                <a:cubicBezTo>
                  <a:pt x="79" y="344"/>
                  <a:pt x="79" y="344"/>
                  <a:pt x="79" y="344"/>
                </a:cubicBezTo>
                <a:cubicBezTo>
                  <a:pt x="74" y="349"/>
                  <a:pt x="75" y="357"/>
                  <a:pt x="81" y="361"/>
                </a:cubicBezTo>
                <a:cubicBezTo>
                  <a:pt x="83" y="363"/>
                  <a:pt x="148" y="414"/>
                  <a:pt x="247" y="406"/>
                </a:cubicBezTo>
                <a:cubicBezTo>
                  <a:pt x="251" y="405"/>
                  <a:pt x="254" y="403"/>
                  <a:pt x="256" y="400"/>
                </a:cubicBezTo>
                <a:cubicBezTo>
                  <a:pt x="259" y="397"/>
                  <a:pt x="259" y="393"/>
                  <a:pt x="258" y="390"/>
                </a:cubicBezTo>
                <a:cubicBezTo>
                  <a:pt x="257" y="386"/>
                  <a:pt x="255" y="373"/>
                  <a:pt x="261" y="365"/>
                </a:cubicBezTo>
                <a:cubicBezTo>
                  <a:pt x="265" y="359"/>
                  <a:pt x="273" y="356"/>
                  <a:pt x="284" y="355"/>
                </a:cubicBezTo>
                <a:cubicBezTo>
                  <a:pt x="307" y="353"/>
                  <a:pt x="314" y="359"/>
                  <a:pt x="321" y="365"/>
                </a:cubicBezTo>
                <a:cubicBezTo>
                  <a:pt x="328" y="371"/>
                  <a:pt x="338" y="379"/>
                  <a:pt x="355" y="372"/>
                </a:cubicBezTo>
                <a:cubicBezTo>
                  <a:pt x="382" y="362"/>
                  <a:pt x="402" y="336"/>
                  <a:pt x="402" y="335"/>
                </a:cubicBezTo>
                <a:cubicBezTo>
                  <a:pt x="406" y="330"/>
                  <a:pt x="405" y="322"/>
                  <a:pt x="400" y="318"/>
                </a:cubicBezTo>
                <a:cubicBezTo>
                  <a:pt x="399" y="317"/>
                  <a:pt x="362" y="287"/>
                  <a:pt x="372" y="243"/>
                </a:cubicBezTo>
                <a:cubicBezTo>
                  <a:pt x="374" y="236"/>
                  <a:pt x="370" y="230"/>
                  <a:pt x="363" y="228"/>
                </a:cubicBezTo>
                <a:cubicBezTo>
                  <a:pt x="357" y="226"/>
                  <a:pt x="350" y="230"/>
                  <a:pt x="348" y="237"/>
                </a:cubicBezTo>
                <a:cubicBezTo>
                  <a:pt x="346" y="245"/>
                  <a:pt x="345" y="252"/>
                  <a:pt x="345" y="259"/>
                </a:cubicBezTo>
                <a:cubicBezTo>
                  <a:pt x="345" y="292"/>
                  <a:pt x="363" y="316"/>
                  <a:pt x="375" y="328"/>
                </a:cubicBezTo>
                <a:cubicBezTo>
                  <a:pt x="368" y="335"/>
                  <a:pt x="358" y="344"/>
                  <a:pt x="346" y="349"/>
                </a:cubicBezTo>
                <a:cubicBezTo>
                  <a:pt x="342" y="351"/>
                  <a:pt x="342" y="351"/>
                  <a:pt x="337" y="346"/>
                </a:cubicBezTo>
                <a:cubicBezTo>
                  <a:pt x="328" y="339"/>
                  <a:pt x="315" y="328"/>
                  <a:pt x="282" y="330"/>
                </a:cubicBezTo>
                <a:cubicBezTo>
                  <a:pt x="263" y="331"/>
                  <a:pt x="249" y="338"/>
                  <a:pt x="241" y="350"/>
                </a:cubicBezTo>
                <a:cubicBezTo>
                  <a:pt x="234" y="360"/>
                  <a:pt x="232" y="371"/>
                  <a:pt x="232" y="380"/>
                </a:cubicBezTo>
                <a:cubicBezTo>
                  <a:pt x="232" y="380"/>
                  <a:pt x="232" y="381"/>
                  <a:pt x="232" y="381"/>
                </a:cubicBezTo>
                <a:cubicBezTo>
                  <a:pt x="169" y="383"/>
                  <a:pt x="123" y="359"/>
                  <a:pt x="105" y="348"/>
                </a:cubicBezTo>
                <a:cubicBezTo>
                  <a:pt x="109" y="337"/>
                  <a:pt x="116" y="319"/>
                  <a:pt x="121" y="290"/>
                </a:cubicBezTo>
                <a:cubicBezTo>
                  <a:pt x="122" y="280"/>
                  <a:pt x="123" y="272"/>
                  <a:pt x="123" y="263"/>
                </a:cubicBezTo>
                <a:cubicBezTo>
                  <a:pt x="123" y="223"/>
                  <a:pt x="106" y="199"/>
                  <a:pt x="96" y="184"/>
                </a:cubicBezTo>
                <a:cubicBezTo>
                  <a:pt x="82" y="163"/>
                  <a:pt x="45" y="145"/>
                  <a:pt x="28" y="141"/>
                </a:cubicBezTo>
                <a:cubicBezTo>
                  <a:pt x="27" y="138"/>
                  <a:pt x="26" y="132"/>
                  <a:pt x="25" y="125"/>
                </a:cubicBezTo>
                <a:cubicBezTo>
                  <a:pt x="33" y="123"/>
                  <a:pt x="48" y="120"/>
                  <a:pt x="56" y="119"/>
                </a:cubicBezTo>
                <a:cubicBezTo>
                  <a:pt x="62" y="129"/>
                  <a:pt x="67" y="135"/>
                  <a:pt x="75" y="134"/>
                </a:cubicBezTo>
                <a:cubicBezTo>
                  <a:pt x="76" y="134"/>
                  <a:pt x="80" y="133"/>
                  <a:pt x="80" y="133"/>
                </a:cubicBezTo>
                <a:cubicBezTo>
                  <a:pt x="110" y="131"/>
                  <a:pt x="116" y="130"/>
                  <a:pt x="121" y="124"/>
                </a:cubicBezTo>
                <a:cubicBezTo>
                  <a:pt x="122" y="122"/>
                  <a:pt x="123" y="119"/>
                  <a:pt x="123" y="117"/>
                </a:cubicBezTo>
                <a:cubicBezTo>
                  <a:pt x="123" y="115"/>
                  <a:pt x="123" y="114"/>
                  <a:pt x="122" y="112"/>
                </a:cubicBezTo>
                <a:cubicBezTo>
                  <a:pt x="119" y="105"/>
                  <a:pt x="119" y="105"/>
                  <a:pt x="119" y="105"/>
                </a:cubicBezTo>
                <a:cubicBezTo>
                  <a:pt x="116" y="98"/>
                  <a:pt x="113" y="92"/>
                  <a:pt x="111" y="87"/>
                </a:cubicBezTo>
                <a:cubicBezTo>
                  <a:pt x="117" y="89"/>
                  <a:pt x="124" y="92"/>
                  <a:pt x="128" y="94"/>
                </a:cubicBezTo>
                <a:cubicBezTo>
                  <a:pt x="145" y="101"/>
                  <a:pt x="147" y="103"/>
                  <a:pt x="152" y="102"/>
                </a:cubicBezTo>
                <a:cubicBezTo>
                  <a:pt x="161" y="102"/>
                  <a:pt x="164" y="94"/>
                  <a:pt x="167" y="87"/>
                </a:cubicBezTo>
                <a:cubicBezTo>
                  <a:pt x="168" y="85"/>
                  <a:pt x="170" y="79"/>
                  <a:pt x="172" y="77"/>
                </a:cubicBezTo>
                <a:cubicBezTo>
                  <a:pt x="192" y="77"/>
                  <a:pt x="209" y="59"/>
                  <a:pt x="211" y="42"/>
                </a:cubicBezTo>
                <a:cubicBezTo>
                  <a:pt x="211" y="41"/>
                  <a:pt x="211" y="40"/>
                  <a:pt x="211" y="38"/>
                </a:cubicBezTo>
                <a:cubicBezTo>
                  <a:pt x="211" y="36"/>
                  <a:pt x="211" y="34"/>
                  <a:pt x="211" y="32"/>
                </a:cubicBezTo>
                <a:cubicBezTo>
                  <a:pt x="210" y="30"/>
                  <a:pt x="210" y="28"/>
                  <a:pt x="210" y="27"/>
                </a:cubicBezTo>
                <a:cubicBezTo>
                  <a:pt x="213" y="26"/>
                  <a:pt x="217" y="26"/>
                  <a:pt x="221" y="25"/>
                </a:cubicBezTo>
                <a:cubicBezTo>
                  <a:pt x="237" y="40"/>
                  <a:pt x="296" y="90"/>
                  <a:pt x="375" y="109"/>
                </a:cubicBezTo>
                <a:cubicBezTo>
                  <a:pt x="372" y="121"/>
                  <a:pt x="368" y="140"/>
                  <a:pt x="368" y="157"/>
                </a:cubicBezTo>
                <a:cubicBezTo>
                  <a:pt x="368" y="157"/>
                  <a:pt x="368" y="158"/>
                  <a:pt x="368" y="159"/>
                </a:cubicBezTo>
                <a:cubicBezTo>
                  <a:pt x="353" y="167"/>
                  <a:pt x="321" y="190"/>
                  <a:pt x="320" y="228"/>
                </a:cubicBezTo>
                <a:cubicBezTo>
                  <a:pt x="320" y="228"/>
                  <a:pt x="320" y="228"/>
                  <a:pt x="320" y="228"/>
                </a:cubicBezTo>
                <a:cubicBezTo>
                  <a:pt x="320" y="235"/>
                  <a:pt x="326" y="241"/>
                  <a:pt x="333" y="241"/>
                </a:cubicBezTo>
                <a:cubicBezTo>
                  <a:pt x="339" y="241"/>
                  <a:pt x="345" y="235"/>
                  <a:pt x="345" y="228"/>
                </a:cubicBezTo>
                <a:cubicBezTo>
                  <a:pt x="345" y="195"/>
                  <a:pt x="386" y="178"/>
                  <a:pt x="386" y="178"/>
                </a:cubicBezTo>
                <a:cubicBezTo>
                  <a:pt x="391" y="175"/>
                  <a:pt x="394" y="170"/>
                  <a:pt x="394" y="164"/>
                </a:cubicBezTo>
                <a:cubicBezTo>
                  <a:pt x="391" y="146"/>
                  <a:pt x="399" y="114"/>
                  <a:pt x="403" y="103"/>
                </a:cubicBezTo>
                <a:cubicBezTo>
                  <a:pt x="404" y="100"/>
                  <a:pt x="403" y="96"/>
                  <a:pt x="402" y="93"/>
                </a:cubicBezTo>
                <a:cubicBezTo>
                  <a:pt x="400" y="90"/>
                  <a:pt x="397" y="88"/>
                  <a:pt x="393" y="87"/>
                </a:cubicBezTo>
                <a:cubicBezTo>
                  <a:pt x="303" y="70"/>
                  <a:pt x="235" y="4"/>
                  <a:pt x="235" y="4"/>
                </a:cubicBezTo>
                <a:cubicBezTo>
                  <a:pt x="232" y="1"/>
                  <a:pt x="229" y="0"/>
                  <a:pt x="225" y="0"/>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56" name="Freeform 664"/>
          <p:cNvSpPr>
            <a:spLocks noEditPoints="1"/>
          </p:cNvSpPr>
          <p:nvPr userDrawn="1"/>
        </p:nvSpPr>
        <p:spPr bwMode="auto">
          <a:xfrm>
            <a:off x="8318622" y="903984"/>
            <a:ext cx="384672" cy="325041"/>
          </a:xfrm>
          <a:custGeom>
            <a:avLst/>
            <a:gdLst/>
            <a:ahLst/>
            <a:cxnLst>
              <a:cxn ang="0">
                <a:pos x="443" y="0"/>
              </a:cxn>
              <a:cxn ang="0">
                <a:pos x="217" y="90"/>
              </a:cxn>
              <a:cxn ang="0">
                <a:pos x="215" y="97"/>
              </a:cxn>
              <a:cxn ang="0">
                <a:pos x="215" y="336"/>
              </a:cxn>
              <a:cxn ang="0">
                <a:pos x="27" y="275"/>
              </a:cxn>
              <a:cxn ang="0">
                <a:pos x="27" y="28"/>
              </a:cxn>
              <a:cxn ang="0">
                <a:pos x="191" y="77"/>
              </a:cxn>
              <a:cxn ang="0">
                <a:pos x="210" y="75"/>
              </a:cxn>
              <a:cxn ang="0">
                <a:pos x="207" y="56"/>
              </a:cxn>
              <a:cxn ang="0">
                <a:pos x="14" y="0"/>
              </a:cxn>
              <a:cxn ang="0">
                <a:pos x="4" y="4"/>
              </a:cxn>
              <a:cxn ang="0">
                <a:pos x="0" y="14"/>
              </a:cxn>
              <a:cxn ang="0">
                <a:pos x="0" y="287"/>
              </a:cxn>
              <a:cxn ang="0">
                <a:pos x="13" y="301"/>
              </a:cxn>
              <a:cxn ang="0">
                <a:pos x="217" y="378"/>
              </a:cxn>
              <a:cxn ang="0">
                <a:pos x="218" y="379"/>
              </a:cxn>
              <a:cxn ang="0">
                <a:pos x="219" y="381"/>
              </a:cxn>
              <a:cxn ang="0">
                <a:pos x="220" y="382"/>
              </a:cxn>
              <a:cxn ang="0">
                <a:pos x="221" y="382"/>
              </a:cxn>
              <a:cxn ang="0">
                <a:pos x="222" y="383"/>
              </a:cxn>
              <a:cxn ang="0">
                <a:pos x="224" y="384"/>
              </a:cxn>
              <a:cxn ang="0">
                <a:pos x="225" y="384"/>
              </a:cxn>
              <a:cxn ang="0">
                <a:pos x="228" y="384"/>
              </a:cxn>
              <a:cxn ang="0">
                <a:pos x="228" y="384"/>
              </a:cxn>
              <a:cxn ang="0">
                <a:pos x="228" y="384"/>
              </a:cxn>
              <a:cxn ang="0">
                <a:pos x="232" y="384"/>
              </a:cxn>
              <a:cxn ang="0">
                <a:pos x="232" y="384"/>
              </a:cxn>
              <a:cxn ang="0">
                <a:pos x="234" y="383"/>
              </a:cxn>
              <a:cxn ang="0">
                <a:pos x="235" y="383"/>
              </a:cxn>
              <a:cxn ang="0">
                <a:pos x="237" y="381"/>
              </a:cxn>
              <a:cxn ang="0">
                <a:pos x="237" y="381"/>
              </a:cxn>
              <a:cxn ang="0">
                <a:pos x="239" y="379"/>
              </a:cxn>
              <a:cxn ang="0">
                <a:pos x="240" y="378"/>
              </a:cxn>
              <a:cxn ang="0">
                <a:pos x="443" y="301"/>
              </a:cxn>
              <a:cxn ang="0">
                <a:pos x="456" y="287"/>
              </a:cxn>
              <a:cxn ang="0">
                <a:pos x="456" y="14"/>
              </a:cxn>
              <a:cxn ang="0">
                <a:pos x="452" y="4"/>
              </a:cxn>
              <a:cxn ang="0">
                <a:pos x="443" y="0"/>
              </a:cxn>
              <a:cxn ang="0">
                <a:pos x="430" y="28"/>
              </a:cxn>
              <a:cxn ang="0">
                <a:pos x="430" y="275"/>
              </a:cxn>
              <a:cxn ang="0">
                <a:pos x="242" y="336"/>
              </a:cxn>
              <a:cxn ang="0">
                <a:pos x="242" y="102"/>
              </a:cxn>
              <a:cxn ang="0">
                <a:pos x="430" y="28"/>
              </a:cxn>
            </a:cxnLst>
            <a:rect l="0" t="0" r="r" b="b"/>
            <a:pathLst>
              <a:path w="456" h="384">
                <a:moveTo>
                  <a:pt x="443" y="0"/>
                </a:moveTo>
                <a:cubicBezTo>
                  <a:pt x="436" y="0"/>
                  <a:pt x="273" y="5"/>
                  <a:pt x="217" y="90"/>
                </a:cubicBezTo>
                <a:cubicBezTo>
                  <a:pt x="216" y="92"/>
                  <a:pt x="215" y="95"/>
                  <a:pt x="215" y="97"/>
                </a:cubicBezTo>
                <a:cubicBezTo>
                  <a:pt x="215" y="97"/>
                  <a:pt x="215" y="283"/>
                  <a:pt x="215" y="336"/>
                </a:cubicBezTo>
                <a:cubicBezTo>
                  <a:pt x="159" y="288"/>
                  <a:pt x="62" y="277"/>
                  <a:pt x="27" y="275"/>
                </a:cubicBezTo>
                <a:cubicBezTo>
                  <a:pt x="27" y="253"/>
                  <a:pt x="27" y="52"/>
                  <a:pt x="27" y="28"/>
                </a:cubicBezTo>
                <a:cubicBezTo>
                  <a:pt x="59" y="30"/>
                  <a:pt x="141" y="40"/>
                  <a:pt x="191" y="77"/>
                </a:cubicBezTo>
                <a:cubicBezTo>
                  <a:pt x="197" y="82"/>
                  <a:pt x="205" y="81"/>
                  <a:pt x="210" y="75"/>
                </a:cubicBezTo>
                <a:cubicBezTo>
                  <a:pt x="214" y="69"/>
                  <a:pt x="213" y="61"/>
                  <a:pt x="207" y="56"/>
                </a:cubicBezTo>
                <a:cubicBezTo>
                  <a:pt x="137" y="3"/>
                  <a:pt x="19" y="0"/>
                  <a:pt x="14" y="0"/>
                </a:cubicBezTo>
                <a:cubicBezTo>
                  <a:pt x="10" y="0"/>
                  <a:pt x="7" y="1"/>
                  <a:pt x="4" y="4"/>
                </a:cubicBezTo>
                <a:cubicBezTo>
                  <a:pt x="2" y="6"/>
                  <a:pt x="0" y="10"/>
                  <a:pt x="0" y="14"/>
                </a:cubicBezTo>
                <a:cubicBezTo>
                  <a:pt x="0" y="287"/>
                  <a:pt x="0" y="287"/>
                  <a:pt x="0" y="287"/>
                </a:cubicBezTo>
                <a:cubicBezTo>
                  <a:pt x="0" y="294"/>
                  <a:pt x="6" y="300"/>
                  <a:pt x="13" y="301"/>
                </a:cubicBezTo>
                <a:cubicBezTo>
                  <a:pt x="15" y="301"/>
                  <a:pt x="169" y="305"/>
                  <a:pt x="217" y="378"/>
                </a:cubicBezTo>
                <a:cubicBezTo>
                  <a:pt x="217" y="379"/>
                  <a:pt x="218" y="379"/>
                  <a:pt x="218" y="379"/>
                </a:cubicBezTo>
                <a:cubicBezTo>
                  <a:pt x="218" y="380"/>
                  <a:pt x="219" y="380"/>
                  <a:pt x="219" y="381"/>
                </a:cubicBezTo>
                <a:cubicBezTo>
                  <a:pt x="219" y="381"/>
                  <a:pt x="220" y="381"/>
                  <a:pt x="220" y="382"/>
                </a:cubicBezTo>
                <a:cubicBezTo>
                  <a:pt x="221" y="382"/>
                  <a:pt x="221" y="382"/>
                  <a:pt x="221" y="382"/>
                </a:cubicBezTo>
                <a:cubicBezTo>
                  <a:pt x="221" y="382"/>
                  <a:pt x="221" y="382"/>
                  <a:pt x="222" y="383"/>
                </a:cubicBezTo>
                <a:cubicBezTo>
                  <a:pt x="222" y="383"/>
                  <a:pt x="223" y="383"/>
                  <a:pt x="224" y="384"/>
                </a:cubicBezTo>
                <a:cubicBezTo>
                  <a:pt x="224" y="384"/>
                  <a:pt x="224" y="384"/>
                  <a:pt x="225" y="384"/>
                </a:cubicBezTo>
                <a:cubicBezTo>
                  <a:pt x="226" y="384"/>
                  <a:pt x="227" y="384"/>
                  <a:pt x="228" y="384"/>
                </a:cubicBezTo>
                <a:cubicBezTo>
                  <a:pt x="228" y="384"/>
                  <a:pt x="228" y="384"/>
                  <a:pt x="228" y="384"/>
                </a:cubicBezTo>
                <a:cubicBezTo>
                  <a:pt x="228" y="384"/>
                  <a:pt x="228" y="384"/>
                  <a:pt x="228" y="384"/>
                </a:cubicBezTo>
                <a:cubicBezTo>
                  <a:pt x="230" y="384"/>
                  <a:pt x="231" y="384"/>
                  <a:pt x="232" y="384"/>
                </a:cubicBezTo>
                <a:cubicBezTo>
                  <a:pt x="232" y="384"/>
                  <a:pt x="232" y="384"/>
                  <a:pt x="232" y="384"/>
                </a:cubicBezTo>
                <a:cubicBezTo>
                  <a:pt x="233" y="384"/>
                  <a:pt x="234" y="383"/>
                  <a:pt x="234" y="383"/>
                </a:cubicBezTo>
                <a:cubicBezTo>
                  <a:pt x="235" y="383"/>
                  <a:pt x="235" y="383"/>
                  <a:pt x="235" y="383"/>
                </a:cubicBezTo>
                <a:cubicBezTo>
                  <a:pt x="236" y="382"/>
                  <a:pt x="236" y="382"/>
                  <a:pt x="237" y="381"/>
                </a:cubicBezTo>
                <a:cubicBezTo>
                  <a:pt x="237" y="381"/>
                  <a:pt x="237" y="381"/>
                  <a:pt x="237" y="381"/>
                </a:cubicBezTo>
                <a:cubicBezTo>
                  <a:pt x="238" y="380"/>
                  <a:pt x="239" y="379"/>
                  <a:pt x="239" y="379"/>
                </a:cubicBezTo>
                <a:cubicBezTo>
                  <a:pt x="239" y="379"/>
                  <a:pt x="239" y="378"/>
                  <a:pt x="240" y="378"/>
                </a:cubicBezTo>
                <a:cubicBezTo>
                  <a:pt x="287" y="305"/>
                  <a:pt x="442" y="301"/>
                  <a:pt x="443" y="301"/>
                </a:cubicBezTo>
                <a:cubicBezTo>
                  <a:pt x="450" y="300"/>
                  <a:pt x="456" y="294"/>
                  <a:pt x="456" y="287"/>
                </a:cubicBezTo>
                <a:cubicBezTo>
                  <a:pt x="456" y="14"/>
                  <a:pt x="456" y="14"/>
                  <a:pt x="456" y="14"/>
                </a:cubicBezTo>
                <a:cubicBezTo>
                  <a:pt x="456" y="10"/>
                  <a:pt x="455" y="6"/>
                  <a:pt x="452" y="4"/>
                </a:cubicBezTo>
                <a:cubicBezTo>
                  <a:pt x="450" y="1"/>
                  <a:pt x="446" y="0"/>
                  <a:pt x="443" y="0"/>
                </a:cubicBezTo>
                <a:close/>
                <a:moveTo>
                  <a:pt x="430" y="28"/>
                </a:moveTo>
                <a:cubicBezTo>
                  <a:pt x="430" y="52"/>
                  <a:pt x="430" y="253"/>
                  <a:pt x="430" y="275"/>
                </a:cubicBezTo>
                <a:cubicBezTo>
                  <a:pt x="395" y="277"/>
                  <a:pt x="298" y="288"/>
                  <a:pt x="242" y="336"/>
                </a:cubicBezTo>
                <a:cubicBezTo>
                  <a:pt x="242" y="284"/>
                  <a:pt x="242" y="109"/>
                  <a:pt x="242" y="102"/>
                </a:cubicBezTo>
                <a:cubicBezTo>
                  <a:pt x="283" y="44"/>
                  <a:pt x="391" y="30"/>
                  <a:pt x="430" y="2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57" name="Freeform 668"/>
          <p:cNvSpPr>
            <a:spLocks/>
          </p:cNvSpPr>
          <p:nvPr userDrawn="1"/>
        </p:nvSpPr>
        <p:spPr bwMode="auto">
          <a:xfrm>
            <a:off x="8371619" y="1361409"/>
            <a:ext cx="278679" cy="283369"/>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33" name="Freeform 9"/>
          <p:cNvSpPr>
            <a:spLocks/>
          </p:cNvSpPr>
          <p:nvPr userDrawn="1"/>
        </p:nvSpPr>
        <p:spPr bwMode="auto">
          <a:xfrm>
            <a:off x="335845" y="4393429"/>
            <a:ext cx="52312" cy="248567"/>
          </a:xfrm>
          <a:custGeom>
            <a:avLst/>
            <a:gdLst/>
            <a:ahLst/>
            <a:cxnLst>
              <a:cxn ang="0">
                <a:pos x="59" y="400"/>
              </a:cxn>
              <a:cxn ang="0">
                <a:pos x="50" y="380"/>
              </a:cxn>
              <a:cxn ang="0">
                <a:pos x="50" y="247"/>
              </a:cxn>
              <a:cxn ang="0">
                <a:pos x="34" y="213"/>
              </a:cxn>
              <a:cxn ang="0">
                <a:pos x="50" y="180"/>
              </a:cxn>
              <a:cxn ang="0">
                <a:pos x="50" y="46"/>
              </a:cxn>
              <a:cxn ang="0">
                <a:pos x="59" y="26"/>
              </a:cxn>
              <a:cxn ang="0">
                <a:pos x="72" y="13"/>
              </a:cxn>
              <a:cxn ang="0">
                <a:pos x="59" y="0"/>
              </a:cxn>
              <a:cxn ang="0">
                <a:pos x="23" y="46"/>
              </a:cxn>
              <a:cxn ang="0">
                <a:pos x="23" y="180"/>
              </a:cxn>
              <a:cxn ang="0">
                <a:pos x="6" y="202"/>
              </a:cxn>
              <a:cxn ang="0">
                <a:pos x="0" y="213"/>
              </a:cxn>
              <a:cxn ang="0">
                <a:pos x="6" y="224"/>
              </a:cxn>
              <a:cxn ang="0">
                <a:pos x="23" y="247"/>
              </a:cxn>
              <a:cxn ang="0">
                <a:pos x="23" y="380"/>
              </a:cxn>
              <a:cxn ang="0">
                <a:pos x="59" y="427"/>
              </a:cxn>
              <a:cxn ang="0">
                <a:pos x="72" y="414"/>
              </a:cxn>
              <a:cxn ang="0">
                <a:pos x="59" y="400"/>
              </a:cxn>
            </a:cxnLst>
            <a:rect l="0" t="0" r="r" b="b"/>
            <a:pathLst>
              <a:path w="72" h="427">
                <a:moveTo>
                  <a:pt x="59" y="400"/>
                </a:moveTo>
                <a:cubicBezTo>
                  <a:pt x="56" y="400"/>
                  <a:pt x="50" y="393"/>
                  <a:pt x="50" y="380"/>
                </a:cubicBezTo>
                <a:cubicBezTo>
                  <a:pt x="50" y="247"/>
                  <a:pt x="50" y="247"/>
                  <a:pt x="50" y="247"/>
                </a:cubicBezTo>
                <a:cubicBezTo>
                  <a:pt x="50" y="233"/>
                  <a:pt x="42" y="221"/>
                  <a:pt x="34" y="213"/>
                </a:cubicBezTo>
                <a:cubicBezTo>
                  <a:pt x="42" y="205"/>
                  <a:pt x="50" y="194"/>
                  <a:pt x="50" y="180"/>
                </a:cubicBezTo>
                <a:cubicBezTo>
                  <a:pt x="50" y="46"/>
                  <a:pt x="50" y="46"/>
                  <a:pt x="50" y="46"/>
                </a:cubicBezTo>
                <a:cubicBezTo>
                  <a:pt x="50" y="34"/>
                  <a:pt x="56" y="26"/>
                  <a:pt x="59" y="26"/>
                </a:cubicBezTo>
                <a:cubicBezTo>
                  <a:pt x="66" y="26"/>
                  <a:pt x="72" y="20"/>
                  <a:pt x="72" y="13"/>
                </a:cubicBezTo>
                <a:cubicBezTo>
                  <a:pt x="72" y="6"/>
                  <a:pt x="66" y="0"/>
                  <a:pt x="59" y="0"/>
                </a:cubicBezTo>
                <a:cubicBezTo>
                  <a:pt x="39" y="0"/>
                  <a:pt x="23" y="20"/>
                  <a:pt x="23" y="46"/>
                </a:cubicBezTo>
                <a:cubicBezTo>
                  <a:pt x="23" y="180"/>
                  <a:pt x="23" y="180"/>
                  <a:pt x="23" y="180"/>
                </a:cubicBezTo>
                <a:cubicBezTo>
                  <a:pt x="23" y="188"/>
                  <a:pt x="12" y="199"/>
                  <a:pt x="6" y="202"/>
                </a:cubicBezTo>
                <a:cubicBezTo>
                  <a:pt x="3" y="205"/>
                  <a:pt x="0" y="209"/>
                  <a:pt x="0" y="213"/>
                </a:cubicBezTo>
                <a:cubicBezTo>
                  <a:pt x="0" y="218"/>
                  <a:pt x="3" y="222"/>
                  <a:pt x="6" y="224"/>
                </a:cubicBezTo>
                <a:cubicBezTo>
                  <a:pt x="12" y="228"/>
                  <a:pt x="23" y="238"/>
                  <a:pt x="23" y="247"/>
                </a:cubicBezTo>
                <a:cubicBezTo>
                  <a:pt x="23" y="380"/>
                  <a:pt x="23" y="380"/>
                  <a:pt x="23" y="380"/>
                </a:cubicBezTo>
                <a:cubicBezTo>
                  <a:pt x="23" y="407"/>
                  <a:pt x="39" y="427"/>
                  <a:pt x="59" y="427"/>
                </a:cubicBezTo>
                <a:cubicBezTo>
                  <a:pt x="66" y="427"/>
                  <a:pt x="72" y="421"/>
                  <a:pt x="72" y="414"/>
                </a:cubicBezTo>
                <a:cubicBezTo>
                  <a:pt x="72" y="406"/>
                  <a:pt x="66" y="400"/>
                  <a:pt x="59" y="40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37" name="Freeform 13"/>
          <p:cNvSpPr>
            <a:spLocks/>
          </p:cNvSpPr>
          <p:nvPr userDrawn="1"/>
        </p:nvSpPr>
        <p:spPr bwMode="auto">
          <a:xfrm>
            <a:off x="458930" y="4393429"/>
            <a:ext cx="54363" cy="248567"/>
          </a:xfrm>
          <a:custGeom>
            <a:avLst/>
            <a:gdLst/>
            <a:ahLst/>
            <a:cxnLst>
              <a:cxn ang="0">
                <a:pos x="72" y="214"/>
              </a:cxn>
              <a:cxn ang="0">
                <a:pos x="66" y="202"/>
              </a:cxn>
              <a:cxn ang="0">
                <a:pos x="50" y="180"/>
              </a:cxn>
              <a:cxn ang="0">
                <a:pos x="50" y="46"/>
              </a:cxn>
              <a:cxn ang="0">
                <a:pos x="14" y="0"/>
              </a:cxn>
              <a:cxn ang="0">
                <a:pos x="0" y="13"/>
              </a:cxn>
              <a:cxn ang="0">
                <a:pos x="14" y="26"/>
              </a:cxn>
              <a:cxn ang="0">
                <a:pos x="23" y="46"/>
              </a:cxn>
              <a:cxn ang="0">
                <a:pos x="23" y="180"/>
              </a:cxn>
              <a:cxn ang="0">
                <a:pos x="39" y="213"/>
              </a:cxn>
              <a:cxn ang="0">
                <a:pos x="23" y="247"/>
              </a:cxn>
              <a:cxn ang="0">
                <a:pos x="23" y="380"/>
              </a:cxn>
              <a:cxn ang="0">
                <a:pos x="14" y="400"/>
              </a:cxn>
              <a:cxn ang="0">
                <a:pos x="0" y="414"/>
              </a:cxn>
              <a:cxn ang="0">
                <a:pos x="14" y="427"/>
              </a:cxn>
              <a:cxn ang="0">
                <a:pos x="50" y="380"/>
              </a:cxn>
              <a:cxn ang="0">
                <a:pos x="50" y="247"/>
              </a:cxn>
              <a:cxn ang="0">
                <a:pos x="66" y="224"/>
              </a:cxn>
              <a:cxn ang="0">
                <a:pos x="65" y="225"/>
              </a:cxn>
              <a:cxn ang="0">
                <a:pos x="72" y="214"/>
              </a:cxn>
            </a:cxnLst>
            <a:rect l="0" t="0" r="r" b="b"/>
            <a:pathLst>
              <a:path w="73" h="427">
                <a:moveTo>
                  <a:pt x="72" y="214"/>
                </a:moveTo>
                <a:cubicBezTo>
                  <a:pt x="73" y="209"/>
                  <a:pt x="70" y="205"/>
                  <a:pt x="66" y="202"/>
                </a:cubicBezTo>
                <a:cubicBezTo>
                  <a:pt x="61" y="199"/>
                  <a:pt x="50" y="188"/>
                  <a:pt x="50" y="180"/>
                </a:cubicBezTo>
                <a:cubicBezTo>
                  <a:pt x="50" y="46"/>
                  <a:pt x="50" y="46"/>
                  <a:pt x="50" y="46"/>
                </a:cubicBezTo>
                <a:cubicBezTo>
                  <a:pt x="50" y="20"/>
                  <a:pt x="34" y="0"/>
                  <a:pt x="14" y="0"/>
                </a:cubicBezTo>
                <a:cubicBezTo>
                  <a:pt x="6" y="0"/>
                  <a:pt x="0" y="6"/>
                  <a:pt x="0" y="13"/>
                </a:cubicBezTo>
                <a:cubicBezTo>
                  <a:pt x="0" y="20"/>
                  <a:pt x="6" y="26"/>
                  <a:pt x="14" y="26"/>
                </a:cubicBezTo>
                <a:cubicBezTo>
                  <a:pt x="17" y="26"/>
                  <a:pt x="23" y="34"/>
                  <a:pt x="23" y="46"/>
                </a:cubicBezTo>
                <a:cubicBezTo>
                  <a:pt x="23" y="180"/>
                  <a:pt x="23" y="180"/>
                  <a:pt x="23" y="180"/>
                </a:cubicBezTo>
                <a:cubicBezTo>
                  <a:pt x="23" y="194"/>
                  <a:pt x="31" y="205"/>
                  <a:pt x="39" y="213"/>
                </a:cubicBezTo>
                <a:cubicBezTo>
                  <a:pt x="31" y="221"/>
                  <a:pt x="23" y="233"/>
                  <a:pt x="23" y="247"/>
                </a:cubicBezTo>
                <a:cubicBezTo>
                  <a:pt x="23" y="380"/>
                  <a:pt x="23" y="380"/>
                  <a:pt x="23" y="380"/>
                </a:cubicBezTo>
                <a:cubicBezTo>
                  <a:pt x="23" y="393"/>
                  <a:pt x="17" y="400"/>
                  <a:pt x="14" y="400"/>
                </a:cubicBezTo>
                <a:cubicBezTo>
                  <a:pt x="6" y="400"/>
                  <a:pt x="0" y="406"/>
                  <a:pt x="0" y="414"/>
                </a:cubicBezTo>
                <a:cubicBezTo>
                  <a:pt x="0" y="421"/>
                  <a:pt x="6" y="427"/>
                  <a:pt x="14" y="427"/>
                </a:cubicBezTo>
                <a:cubicBezTo>
                  <a:pt x="34" y="427"/>
                  <a:pt x="50" y="407"/>
                  <a:pt x="50" y="380"/>
                </a:cubicBezTo>
                <a:cubicBezTo>
                  <a:pt x="50" y="247"/>
                  <a:pt x="50" y="247"/>
                  <a:pt x="50" y="247"/>
                </a:cubicBezTo>
                <a:cubicBezTo>
                  <a:pt x="50" y="238"/>
                  <a:pt x="61" y="228"/>
                  <a:pt x="66" y="224"/>
                </a:cubicBezTo>
                <a:cubicBezTo>
                  <a:pt x="66" y="225"/>
                  <a:pt x="65" y="225"/>
                  <a:pt x="65" y="225"/>
                </a:cubicBezTo>
                <a:cubicBezTo>
                  <a:pt x="69" y="223"/>
                  <a:pt x="72" y="219"/>
                  <a:pt x="72" y="21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41" name="Freeform 17"/>
          <p:cNvSpPr>
            <a:spLocks noEditPoints="1"/>
          </p:cNvSpPr>
          <p:nvPr userDrawn="1"/>
        </p:nvSpPr>
        <p:spPr bwMode="auto">
          <a:xfrm>
            <a:off x="665733" y="4518423"/>
            <a:ext cx="131003" cy="69056"/>
          </a:xfrm>
          <a:custGeom>
            <a:avLst/>
            <a:gdLst/>
            <a:ahLst/>
            <a:cxnLst>
              <a:cxn ang="0">
                <a:pos x="149" y="6"/>
              </a:cxn>
              <a:cxn ang="0">
                <a:pos x="149" y="6"/>
              </a:cxn>
              <a:cxn ang="0">
                <a:pos x="149" y="6"/>
              </a:cxn>
              <a:cxn ang="0">
                <a:pos x="152" y="60"/>
              </a:cxn>
              <a:cxn ang="0">
                <a:pos x="153" y="53"/>
              </a:cxn>
              <a:cxn ang="0">
                <a:pos x="153" y="23"/>
              </a:cxn>
              <a:cxn ang="0">
                <a:pos x="153" y="14"/>
              </a:cxn>
              <a:cxn ang="0">
                <a:pos x="149" y="6"/>
              </a:cxn>
              <a:cxn ang="0">
                <a:pos x="140" y="2"/>
              </a:cxn>
              <a:cxn ang="0">
                <a:pos x="132" y="2"/>
              </a:cxn>
              <a:cxn ang="0">
                <a:pos x="103" y="3"/>
              </a:cxn>
              <a:cxn ang="0">
                <a:pos x="96" y="4"/>
              </a:cxn>
              <a:cxn ang="0">
                <a:pos x="88" y="16"/>
              </a:cxn>
              <a:cxn ang="0">
                <a:pos x="102" y="25"/>
              </a:cxn>
              <a:cxn ang="0">
                <a:pos x="114" y="24"/>
              </a:cxn>
              <a:cxn ang="0">
                <a:pos x="98" y="39"/>
              </a:cxn>
              <a:cxn ang="0">
                <a:pos x="77" y="48"/>
              </a:cxn>
              <a:cxn ang="0">
                <a:pos x="28" y="12"/>
              </a:cxn>
              <a:cxn ang="0">
                <a:pos x="12" y="1"/>
              </a:cxn>
              <a:cxn ang="0">
                <a:pos x="1" y="17"/>
              </a:cxn>
              <a:cxn ang="0">
                <a:pos x="82" y="75"/>
              </a:cxn>
              <a:cxn ang="0">
                <a:pos x="112" y="62"/>
              </a:cxn>
              <a:cxn ang="0">
                <a:pos x="132" y="43"/>
              </a:cxn>
              <a:cxn ang="0">
                <a:pos x="131" y="54"/>
              </a:cxn>
              <a:cxn ang="0">
                <a:pos x="140" y="68"/>
              </a:cxn>
              <a:cxn ang="0">
                <a:pos x="152" y="60"/>
              </a:cxn>
            </a:cxnLst>
            <a:rect l="0" t="0" r="r" b="b"/>
            <a:pathLst>
              <a:path w="154" h="81">
                <a:moveTo>
                  <a:pt x="149" y="6"/>
                </a:moveTo>
                <a:cubicBezTo>
                  <a:pt x="149" y="6"/>
                  <a:pt x="149" y="6"/>
                  <a:pt x="149" y="6"/>
                </a:cubicBezTo>
                <a:cubicBezTo>
                  <a:pt x="149" y="6"/>
                  <a:pt x="149" y="6"/>
                  <a:pt x="149" y="6"/>
                </a:cubicBezTo>
                <a:close/>
                <a:moveTo>
                  <a:pt x="152" y="60"/>
                </a:moveTo>
                <a:cubicBezTo>
                  <a:pt x="153" y="53"/>
                  <a:pt x="153" y="53"/>
                  <a:pt x="153" y="53"/>
                </a:cubicBezTo>
                <a:cubicBezTo>
                  <a:pt x="153" y="23"/>
                  <a:pt x="153" y="23"/>
                  <a:pt x="153" y="23"/>
                </a:cubicBezTo>
                <a:cubicBezTo>
                  <a:pt x="154" y="19"/>
                  <a:pt x="154" y="17"/>
                  <a:pt x="153" y="14"/>
                </a:cubicBezTo>
                <a:cubicBezTo>
                  <a:pt x="153" y="12"/>
                  <a:pt x="151" y="9"/>
                  <a:pt x="149" y="6"/>
                </a:cubicBezTo>
                <a:cubicBezTo>
                  <a:pt x="146" y="3"/>
                  <a:pt x="143" y="2"/>
                  <a:pt x="140" y="2"/>
                </a:cubicBezTo>
                <a:cubicBezTo>
                  <a:pt x="138" y="1"/>
                  <a:pt x="135" y="1"/>
                  <a:pt x="132" y="2"/>
                </a:cubicBezTo>
                <a:cubicBezTo>
                  <a:pt x="103" y="3"/>
                  <a:pt x="103" y="3"/>
                  <a:pt x="103" y="3"/>
                </a:cubicBezTo>
                <a:cubicBezTo>
                  <a:pt x="96" y="4"/>
                  <a:pt x="96" y="4"/>
                  <a:pt x="96" y="4"/>
                </a:cubicBezTo>
                <a:cubicBezTo>
                  <a:pt x="96" y="4"/>
                  <a:pt x="86" y="4"/>
                  <a:pt x="88" y="16"/>
                </a:cubicBezTo>
                <a:cubicBezTo>
                  <a:pt x="89" y="24"/>
                  <a:pt x="94" y="26"/>
                  <a:pt x="102" y="25"/>
                </a:cubicBezTo>
                <a:cubicBezTo>
                  <a:pt x="105" y="25"/>
                  <a:pt x="109" y="25"/>
                  <a:pt x="114" y="24"/>
                </a:cubicBezTo>
                <a:cubicBezTo>
                  <a:pt x="107" y="32"/>
                  <a:pt x="98" y="39"/>
                  <a:pt x="98" y="39"/>
                </a:cubicBezTo>
                <a:cubicBezTo>
                  <a:pt x="92" y="44"/>
                  <a:pt x="85" y="47"/>
                  <a:pt x="77" y="48"/>
                </a:cubicBezTo>
                <a:cubicBezTo>
                  <a:pt x="54" y="52"/>
                  <a:pt x="32" y="36"/>
                  <a:pt x="28" y="12"/>
                </a:cubicBezTo>
                <a:cubicBezTo>
                  <a:pt x="26" y="5"/>
                  <a:pt x="20" y="0"/>
                  <a:pt x="12" y="1"/>
                </a:cubicBezTo>
                <a:cubicBezTo>
                  <a:pt x="5" y="3"/>
                  <a:pt x="0" y="9"/>
                  <a:pt x="1" y="17"/>
                </a:cubicBezTo>
                <a:cubicBezTo>
                  <a:pt x="7" y="55"/>
                  <a:pt x="44" y="81"/>
                  <a:pt x="82" y="75"/>
                </a:cubicBezTo>
                <a:cubicBezTo>
                  <a:pt x="93" y="73"/>
                  <a:pt x="103" y="68"/>
                  <a:pt x="112" y="62"/>
                </a:cubicBezTo>
                <a:cubicBezTo>
                  <a:pt x="112" y="62"/>
                  <a:pt x="124" y="53"/>
                  <a:pt x="132" y="43"/>
                </a:cubicBezTo>
                <a:cubicBezTo>
                  <a:pt x="132" y="47"/>
                  <a:pt x="131" y="50"/>
                  <a:pt x="131" y="54"/>
                </a:cubicBezTo>
                <a:cubicBezTo>
                  <a:pt x="130" y="62"/>
                  <a:pt x="132" y="67"/>
                  <a:pt x="140" y="68"/>
                </a:cubicBezTo>
                <a:cubicBezTo>
                  <a:pt x="152" y="69"/>
                  <a:pt x="152" y="60"/>
                  <a:pt x="152" y="60"/>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45" name="Freeform 21"/>
          <p:cNvSpPr>
            <a:spLocks noEditPoints="1"/>
          </p:cNvSpPr>
          <p:nvPr userDrawn="1"/>
        </p:nvSpPr>
        <p:spPr bwMode="auto">
          <a:xfrm>
            <a:off x="932503" y="4502945"/>
            <a:ext cx="120284" cy="88106"/>
          </a:xfrm>
          <a:custGeom>
            <a:avLst/>
            <a:gdLst/>
            <a:ahLst/>
            <a:cxnLst>
              <a:cxn ang="0">
                <a:pos x="132" y="35"/>
              </a:cxn>
              <a:cxn ang="0">
                <a:pos x="107" y="12"/>
              </a:cxn>
              <a:cxn ang="0">
                <a:pos x="102" y="8"/>
              </a:cxn>
              <a:cxn ang="0">
                <a:pos x="86" y="11"/>
              </a:cxn>
              <a:cxn ang="0">
                <a:pos x="90" y="29"/>
              </a:cxn>
              <a:cxn ang="0">
                <a:pos x="100" y="38"/>
              </a:cxn>
              <a:cxn ang="0">
                <a:pos x="14" y="38"/>
              </a:cxn>
              <a:cxn ang="0">
                <a:pos x="0" y="51"/>
              </a:cxn>
              <a:cxn ang="0">
                <a:pos x="0" y="53"/>
              </a:cxn>
              <a:cxn ang="0">
                <a:pos x="14" y="65"/>
              </a:cxn>
              <a:cxn ang="0">
                <a:pos x="100" y="65"/>
              </a:cxn>
              <a:cxn ang="0">
                <a:pos x="90" y="74"/>
              </a:cxn>
              <a:cxn ang="0">
                <a:pos x="86" y="92"/>
              </a:cxn>
              <a:cxn ang="0">
                <a:pos x="102" y="95"/>
              </a:cxn>
              <a:cxn ang="0">
                <a:pos x="108" y="90"/>
              </a:cxn>
              <a:cxn ang="0">
                <a:pos x="132" y="68"/>
              </a:cxn>
              <a:cxn ang="0">
                <a:pos x="138" y="62"/>
              </a:cxn>
              <a:cxn ang="0">
                <a:pos x="141" y="52"/>
              </a:cxn>
              <a:cxn ang="0">
                <a:pos x="138" y="42"/>
              </a:cxn>
              <a:cxn ang="0">
                <a:pos x="132" y="35"/>
              </a:cxn>
              <a:cxn ang="0">
                <a:pos x="141" y="52"/>
              </a:cxn>
              <a:cxn ang="0">
                <a:pos x="141" y="52"/>
              </a:cxn>
              <a:cxn ang="0">
                <a:pos x="141" y="52"/>
              </a:cxn>
              <a:cxn ang="0">
                <a:pos x="141" y="52"/>
              </a:cxn>
            </a:cxnLst>
            <a:rect l="0" t="0" r="r" b="b"/>
            <a:pathLst>
              <a:path w="141" h="103">
                <a:moveTo>
                  <a:pt x="132" y="35"/>
                </a:moveTo>
                <a:cubicBezTo>
                  <a:pt x="107" y="12"/>
                  <a:pt x="107" y="12"/>
                  <a:pt x="107" y="12"/>
                </a:cubicBezTo>
                <a:cubicBezTo>
                  <a:pt x="102" y="8"/>
                  <a:pt x="102" y="8"/>
                  <a:pt x="102" y="8"/>
                </a:cubicBezTo>
                <a:cubicBezTo>
                  <a:pt x="102" y="8"/>
                  <a:pt x="94" y="0"/>
                  <a:pt x="86" y="11"/>
                </a:cubicBezTo>
                <a:cubicBezTo>
                  <a:pt x="80" y="18"/>
                  <a:pt x="83" y="23"/>
                  <a:pt x="90" y="29"/>
                </a:cubicBezTo>
                <a:cubicBezTo>
                  <a:pt x="92" y="31"/>
                  <a:pt x="96" y="35"/>
                  <a:pt x="100" y="38"/>
                </a:cubicBezTo>
                <a:cubicBezTo>
                  <a:pt x="14" y="38"/>
                  <a:pt x="14" y="38"/>
                  <a:pt x="14" y="38"/>
                </a:cubicBezTo>
                <a:cubicBezTo>
                  <a:pt x="4" y="38"/>
                  <a:pt x="0" y="43"/>
                  <a:pt x="0" y="51"/>
                </a:cubicBezTo>
                <a:cubicBezTo>
                  <a:pt x="0" y="53"/>
                  <a:pt x="0" y="53"/>
                  <a:pt x="0" y="53"/>
                </a:cubicBezTo>
                <a:cubicBezTo>
                  <a:pt x="0" y="60"/>
                  <a:pt x="4" y="65"/>
                  <a:pt x="14" y="65"/>
                </a:cubicBezTo>
                <a:cubicBezTo>
                  <a:pt x="100" y="65"/>
                  <a:pt x="100" y="65"/>
                  <a:pt x="100" y="65"/>
                </a:cubicBezTo>
                <a:cubicBezTo>
                  <a:pt x="96" y="68"/>
                  <a:pt x="93" y="71"/>
                  <a:pt x="90" y="74"/>
                </a:cubicBezTo>
                <a:cubicBezTo>
                  <a:pt x="83" y="80"/>
                  <a:pt x="81" y="85"/>
                  <a:pt x="86" y="92"/>
                </a:cubicBezTo>
                <a:cubicBezTo>
                  <a:pt x="94" y="103"/>
                  <a:pt x="102" y="95"/>
                  <a:pt x="102" y="95"/>
                </a:cubicBezTo>
                <a:cubicBezTo>
                  <a:pt x="108" y="90"/>
                  <a:pt x="108" y="90"/>
                  <a:pt x="108" y="90"/>
                </a:cubicBezTo>
                <a:cubicBezTo>
                  <a:pt x="132" y="68"/>
                  <a:pt x="132" y="68"/>
                  <a:pt x="132" y="68"/>
                </a:cubicBezTo>
                <a:cubicBezTo>
                  <a:pt x="135" y="66"/>
                  <a:pt x="137" y="64"/>
                  <a:pt x="138" y="62"/>
                </a:cubicBezTo>
                <a:cubicBezTo>
                  <a:pt x="140" y="59"/>
                  <a:pt x="141" y="56"/>
                  <a:pt x="141" y="52"/>
                </a:cubicBezTo>
                <a:cubicBezTo>
                  <a:pt x="141" y="48"/>
                  <a:pt x="140" y="44"/>
                  <a:pt x="138" y="42"/>
                </a:cubicBezTo>
                <a:cubicBezTo>
                  <a:pt x="137" y="39"/>
                  <a:pt x="135" y="38"/>
                  <a:pt x="132" y="35"/>
                </a:cubicBezTo>
                <a:close/>
                <a:moveTo>
                  <a:pt x="141" y="52"/>
                </a:moveTo>
                <a:cubicBezTo>
                  <a:pt x="141" y="52"/>
                  <a:pt x="141" y="52"/>
                  <a:pt x="141" y="52"/>
                </a:cubicBezTo>
                <a:cubicBezTo>
                  <a:pt x="141" y="52"/>
                  <a:pt x="141" y="52"/>
                  <a:pt x="141" y="52"/>
                </a:cubicBezTo>
                <a:cubicBezTo>
                  <a:pt x="141" y="52"/>
                  <a:pt x="141" y="52"/>
                  <a:pt x="141" y="5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49" name="Freeform 25"/>
          <p:cNvSpPr>
            <a:spLocks/>
          </p:cNvSpPr>
          <p:nvPr userDrawn="1"/>
        </p:nvSpPr>
        <p:spPr bwMode="auto">
          <a:xfrm>
            <a:off x="1184981" y="4496991"/>
            <a:ext cx="128621" cy="110728"/>
          </a:xfrm>
          <a:custGeom>
            <a:avLst/>
            <a:gdLst/>
            <a:ahLst/>
            <a:cxnLst>
              <a:cxn ang="0">
                <a:pos x="143" y="34"/>
              </a:cxn>
              <a:cxn ang="0">
                <a:pos x="138" y="30"/>
              </a:cxn>
              <a:cxn ang="0">
                <a:pos x="118" y="8"/>
              </a:cxn>
              <a:cxn ang="0">
                <a:pos x="112" y="2"/>
              </a:cxn>
              <a:cxn ang="0">
                <a:pos x="103" y="0"/>
              </a:cxn>
              <a:cxn ang="0">
                <a:pos x="94" y="2"/>
              </a:cxn>
              <a:cxn ang="0">
                <a:pos x="88" y="8"/>
              </a:cxn>
              <a:cxn ang="0">
                <a:pos x="69" y="30"/>
              </a:cxn>
              <a:cxn ang="0">
                <a:pos x="64" y="35"/>
              </a:cxn>
              <a:cxn ang="0">
                <a:pos x="67" y="49"/>
              </a:cxn>
              <a:cxn ang="0">
                <a:pos x="84" y="45"/>
              </a:cxn>
              <a:cxn ang="0">
                <a:pos x="91" y="37"/>
              </a:cxn>
              <a:cxn ang="0">
                <a:pos x="90" y="58"/>
              </a:cxn>
              <a:cxn ang="0">
                <a:pos x="82" y="79"/>
              </a:cxn>
              <a:cxn ang="0">
                <a:pos x="22" y="89"/>
              </a:cxn>
              <a:cxn ang="0">
                <a:pos x="4" y="92"/>
              </a:cxn>
              <a:cxn ang="0">
                <a:pos x="7" y="110"/>
              </a:cxn>
              <a:cxn ang="0">
                <a:pos x="104" y="94"/>
              </a:cxn>
              <a:cxn ang="0">
                <a:pos x="116" y="64"/>
              </a:cxn>
              <a:cxn ang="0">
                <a:pos x="117" y="37"/>
              </a:cxn>
              <a:cxn ang="0">
                <a:pos x="124" y="45"/>
              </a:cxn>
              <a:cxn ang="0">
                <a:pos x="140" y="49"/>
              </a:cxn>
              <a:cxn ang="0">
                <a:pos x="143" y="34"/>
              </a:cxn>
            </a:cxnLst>
            <a:rect l="0" t="0" r="r" b="b"/>
            <a:pathLst>
              <a:path w="150" h="132">
                <a:moveTo>
                  <a:pt x="143" y="34"/>
                </a:moveTo>
                <a:cubicBezTo>
                  <a:pt x="138" y="30"/>
                  <a:pt x="138" y="30"/>
                  <a:pt x="138" y="30"/>
                </a:cubicBezTo>
                <a:cubicBezTo>
                  <a:pt x="118" y="8"/>
                  <a:pt x="118" y="8"/>
                  <a:pt x="118" y="8"/>
                </a:cubicBezTo>
                <a:cubicBezTo>
                  <a:pt x="116" y="5"/>
                  <a:pt x="114" y="3"/>
                  <a:pt x="112" y="2"/>
                </a:cubicBezTo>
                <a:cubicBezTo>
                  <a:pt x="110" y="0"/>
                  <a:pt x="107" y="0"/>
                  <a:pt x="103" y="0"/>
                </a:cubicBezTo>
                <a:cubicBezTo>
                  <a:pt x="99" y="0"/>
                  <a:pt x="96" y="0"/>
                  <a:pt x="94" y="2"/>
                </a:cubicBezTo>
                <a:cubicBezTo>
                  <a:pt x="92" y="4"/>
                  <a:pt x="90" y="6"/>
                  <a:pt x="88" y="8"/>
                </a:cubicBezTo>
                <a:cubicBezTo>
                  <a:pt x="69" y="30"/>
                  <a:pt x="69" y="30"/>
                  <a:pt x="69" y="30"/>
                </a:cubicBezTo>
                <a:cubicBezTo>
                  <a:pt x="64" y="35"/>
                  <a:pt x="64" y="35"/>
                  <a:pt x="64" y="35"/>
                </a:cubicBezTo>
                <a:cubicBezTo>
                  <a:pt x="64" y="35"/>
                  <a:pt x="58" y="42"/>
                  <a:pt x="67" y="49"/>
                </a:cubicBezTo>
                <a:cubicBezTo>
                  <a:pt x="74" y="54"/>
                  <a:pt x="78" y="52"/>
                  <a:pt x="84" y="45"/>
                </a:cubicBezTo>
                <a:cubicBezTo>
                  <a:pt x="86" y="43"/>
                  <a:pt x="88" y="40"/>
                  <a:pt x="91" y="37"/>
                </a:cubicBezTo>
                <a:cubicBezTo>
                  <a:pt x="91" y="47"/>
                  <a:pt x="90" y="58"/>
                  <a:pt x="90" y="58"/>
                </a:cubicBezTo>
                <a:cubicBezTo>
                  <a:pt x="89" y="65"/>
                  <a:pt x="87" y="72"/>
                  <a:pt x="82" y="79"/>
                </a:cubicBezTo>
                <a:cubicBezTo>
                  <a:pt x="69" y="98"/>
                  <a:pt x="42" y="102"/>
                  <a:pt x="22" y="89"/>
                </a:cubicBezTo>
                <a:cubicBezTo>
                  <a:pt x="17" y="84"/>
                  <a:pt x="8" y="86"/>
                  <a:pt x="4" y="92"/>
                </a:cubicBezTo>
                <a:cubicBezTo>
                  <a:pt x="0" y="98"/>
                  <a:pt x="1" y="106"/>
                  <a:pt x="7" y="110"/>
                </a:cubicBezTo>
                <a:cubicBezTo>
                  <a:pt x="38" y="132"/>
                  <a:pt x="82" y="125"/>
                  <a:pt x="104" y="94"/>
                </a:cubicBezTo>
                <a:cubicBezTo>
                  <a:pt x="111" y="85"/>
                  <a:pt x="115" y="75"/>
                  <a:pt x="116" y="64"/>
                </a:cubicBezTo>
                <a:cubicBezTo>
                  <a:pt x="116" y="64"/>
                  <a:pt x="118" y="49"/>
                  <a:pt x="117" y="37"/>
                </a:cubicBezTo>
                <a:cubicBezTo>
                  <a:pt x="119" y="40"/>
                  <a:pt x="121" y="42"/>
                  <a:pt x="124" y="45"/>
                </a:cubicBezTo>
                <a:cubicBezTo>
                  <a:pt x="129" y="52"/>
                  <a:pt x="134" y="54"/>
                  <a:pt x="140" y="49"/>
                </a:cubicBezTo>
                <a:cubicBezTo>
                  <a:pt x="150" y="42"/>
                  <a:pt x="143" y="34"/>
                  <a:pt x="143" y="3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53" name="Freeform 29"/>
          <p:cNvSpPr>
            <a:spLocks/>
          </p:cNvSpPr>
          <p:nvPr userDrawn="1"/>
        </p:nvSpPr>
        <p:spPr bwMode="auto">
          <a:xfrm>
            <a:off x="1441032" y="4487466"/>
            <a:ext cx="128621" cy="113110"/>
          </a:xfrm>
          <a:custGeom>
            <a:avLst/>
            <a:gdLst/>
            <a:ahLst/>
            <a:cxnLst>
              <a:cxn ang="0">
                <a:pos x="140" y="84"/>
              </a:cxn>
              <a:cxn ang="0">
                <a:pos x="124" y="87"/>
              </a:cxn>
              <a:cxn ang="0">
                <a:pos x="117" y="96"/>
              </a:cxn>
              <a:cxn ang="0">
                <a:pos x="116" y="68"/>
              </a:cxn>
              <a:cxn ang="0">
                <a:pos x="104" y="38"/>
              </a:cxn>
              <a:cxn ang="0">
                <a:pos x="7" y="23"/>
              </a:cxn>
              <a:cxn ang="0">
                <a:pos x="4" y="41"/>
              </a:cxn>
              <a:cxn ang="0">
                <a:pos x="22" y="44"/>
              </a:cxn>
              <a:cxn ang="0">
                <a:pos x="82" y="54"/>
              </a:cxn>
              <a:cxn ang="0">
                <a:pos x="90" y="75"/>
              </a:cxn>
              <a:cxn ang="0">
                <a:pos x="91" y="96"/>
              </a:cxn>
              <a:cxn ang="0">
                <a:pos x="84" y="87"/>
              </a:cxn>
              <a:cxn ang="0">
                <a:pos x="67" y="84"/>
              </a:cxn>
              <a:cxn ang="0">
                <a:pos x="64" y="98"/>
              </a:cxn>
              <a:cxn ang="0">
                <a:pos x="69" y="103"/>
              </a:cxn>
              <a:cxn ang="0">
                <a:pos x="88" y="125"/>
              </a:cxn>
              <a:cxn ang="0">
                <a:pos x="94" y="131"/>
              </a:cxn>
              <a:cxn ang="0">
                <a:pos x="103" y="133"/>
              </a:cxn>
              <a:cxn ang="0">
                <a:pos x="112" y="131"/>
              </a:cxn>
              <a:cxn ang="0">
                <a:pos x="118" y="125"/>
              </a:cxn>
              <a:cxn ang="0">
                <a:pos x="138" y="103"/>
              </a:cxn>
              <a:cxn ang="0">
                <a:pos x="143" y="98"/>
              </a:cxn>
              <a:cxn ang="0">
                <a:pos x="140" y="84"/>
              </a:cxn>
            </a:cxnLst>
            <a:rect l="0" t="0" r="r" b="b"/>
            <a:pathLst>
              <a:path w="150" h="133">
                <a:moveTo>
                  <a:pt x="140" y="84"/>
                </a:moveTo>
                <a:cubicBezTo>
                  <a:pt x="134" y="79"/>
                  <a:pt x="129" y="81"/>
                  <a:pt x="124" y="87"/>
                </a:cubicBezTo>
                <a:cubicBezTo>
                  <a:pt x="121" y="90"/>
                  <a:pt x="119" y="93"/>
                  <a:pt x="117" y="96"/>
                </a:cubicBezTo>
                <a:cubicBezTo>
                  <a:pt x="118" y="83"/>
                  <a:pt x="116" y="68"/>
                  <a:pt x="116" y="68"/>
                </a:cubicBezTo>
                <a:cubicBezTo>
                  <a:pt x="115" y="58"/>
                  <a:pt x="111" y="48"/>
                  <a:pt x="104" y="38"/>
                </a:cubicBezTo>
                <a:cubicBezTo>
                  <a:pt x="82" y="7"/>
                  <a:pt x="38" y="0"/>
                  <a:pt x="7" y="23"/>
                </a:cubicBezTo>
                <a:cubicBezTo>
                  <a:pt x="1" y="27"/>
                  <a:pt x="0" y="35"/>
                  <a:pt x="4" y="41"/>
                </a:cubicBezTo>
                <a:cubicBezTo>
                  <a:pt x="8" y="47"/>
                  <a:pt x="17" y="48"/>
                  <a:pt x="22" y="44"/>
                </a:cubicBezTo>
                <a:cubicBezTo>
                  <a:pt x="42" y="30"/>
                  <a:pt x="69" y="35"/>
                  <a:pt x="82" y="54"/>
                </a:cubicBezTo>
                <a:cubicBezTo>
                  <a:pt x="87" y="60"/>
                  <a:pt x="89" y="67"/>
                  <a:pt x="90" y="75"/>
                </a:cubicBezTo>
                <a:cubicBezTo>
                  <a:pt x="90" y="75"/>
                  <a:pt x="91" y="86"/>
                  <a:pt x="91" y="96"/>
                </a:cubicBezTo>
                <a:cubicBezTo>
                  <a:pt x="88" y="93"/>
                  <a:pt x="86" y="90"/>
                  <a:pt x="84" y="87"/>
                </a:cubicBezTo>
                <a:cubicBezTo>
                  <a:pt x="78" y="81"/>
                  <a:pt x="74" y="79"/>
                  <a:pt x="67" y="84"/>
                </a:cubicBezTo>
                <a:cubicBezTo>
                  <a:pt x="58" y="91"/>
                  <a:pt x="64" y="98"/>
                  <a:pt x="64" y="98"/>
                </a:cubicBezTo>
                <a:cubicBezTo>
                  <a:pt x="69" y="103"/>
                  <a:pt x="69" y="103"/>
                  <a:pt x="69" y="103"/>
                </a:cubicBezTo>
                <a:cubicBezTo>
                  <a:pt x="88" y="125"/>
                  <a:pt x="88" y="125"/>
                  <a:pt x="88" y="125"/>
                </a:cubicBezTo>
                <a:cubicBezTo>
                  <a:pt x="90" y="127"/>
                  <a:pt x="92" y="129"/>
                  <a:pt x="94" y="131"/>
                </a:cubicBezTo>
                <a:cubicBezTo>
                  <a:pt x="96" y="132"/>
                  <a:pt x="99" y="133"/>
                  <a:pt x="103" y="133"/>
                </a:cubicBezTo>
                <a:cubicBezTo>
                  <a:pt x="107" y="133"/>
                  <a:pt x="110" y="132"/>
                  <a:pt x="112" y="131"/>
                </a:cubicBezTo>
                <a:cubicBezTo>
                  <a:pt x="114" y="129"/>
                  <a:pt x="116" y="127"/>
                  <a:pt x="118" y="125"/>
                </a:cubicBezTo>
                <a:cubicBezTo>
                  <a:pt x="138" y="103"/>
                  <a:pt x="138" y="103"/>
                  <a:pt x="138" y="103"/>
                </a:cubicBezTo>
                <a:cubicBezTo>
                  <a:pt x="143" y="98"/>
                  <a:pt x="143" y="98"/>
                  <a:pt x="143" y="98"/>
                </a:cubicBezTo>
                <a:cubicBezTo>
                  <a:pt x="143" y="98"/>
                  <a:pt x="150" y="91"/>
                  <a:pt x="140" y="8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grpSp>
        <p:nvGrpSpPr>
          <p:cNvPr id="83" name="Group 32"/>
          <p:cNvGrpSpPr>
            <a:grpSpLocks noChangeAspect="1"/>
          </p:cNvGrpSpPr>
          <p:nvPr userDrawn="1"/>
        </p:nvGrpSpPr>
        <p:grpSpPr bwMode="auto">
          <a:xfrm>
            <a:off x="1697083" y="4511282"/>
            <a:ext cx="107184" cy="72629"/>
            <a:chOff x="1425" y="3789"/>
            <a:chExt cx="90" cy="61"/>
          </a:xfrm>
          <a:solidFill>
            <a:srgbClr val="009530"/>
          </a:solidFill>
        </p:grpSpPr>
        <p:sp>
          <p:nvSpPr>
            <p:cNvPr id="1057" name="Freeform 33"/>
            <p:cNvSpPr>
              <a:spLocks/>
            </p:cNvSpPr>
            <p:nvPr userDrawn="1"/>
          </p:nvSpPr>
          <p:spPr bwMode="auto">
            <a:xfrm>
              <a:off x="1425" y="3789"/>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8" name="Freeform 34"/>
            <p:cNvSpPr>
              <a:spLocks/>
            </p:cNvSpPr>
            <p:nvPr userDrawn="1"/>
          </p:nvSpPr>
          <p:spPr bwMode="auto">
            <a:xfrm>
              <a:off x="1425" y="3830"/>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62" name="Freeform 38"/>
          <p:cNvSpPr>
            <a:spLocks/>
          </p:cNvSpPr>
          <p:nvPr userDrawn="1"/>
        </p:nvSpPr>
        <p:spPr bwMode="auto">
          <a:xfrm>
            <a:off x="1938842" y="4536281"/>
            <a:ext cx="105994" cy="23813"/>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3"/>
                  <a:pt x="0" y="15"/>
                </a:cubicBezTo>
                <a:cubicBezTo>
                  <a:pt x="0" y="13"/>
                  <a:pt x="0" y="13"/>
                  <a:pt x="0" y="13"/>
                </a:cubicBezTo>
                <a:cubicBezTo>
                  <a:pt x="0" y="6"/>
                  <a:pt x="5" y="0"/>
                  <a:pt x="16" y="0"/>
                </a:cubicBezTo>
                <a:cubicBezTo>
                  <a:pt x="49" y="0"/>
                  <a:pt x="49" y="0"/>
                  <a:pt x="49" y="0"/>
                </a:cubicBezTo>
                <a:cubicBezTo>
                  <a:pt x="78" y="0"/>
                  <a:pt x="78" y="0"/>
                  <a:pt x="78" y="0"/>
                </a:cubicBezTo>
                <a:cubicBezTo>
                  <a:pt x="111" y="0"/>
                  <a:pt x="111" y="0"/>
                  <a:pt x="111" y="0"/>
                </a:cubicBezTo>
                <a:cubicBezTo>
                  <a:pt x="122" y="0"/>
                  <a:pt x="126" y="6"/>
                  <a:pt x="126" y="13"/>
                </a:cubicBezTo>
                <a:cubicBezTo>
                  <a:pt x="126" y="15"/>
                  <a:pt x="126" y="15"/>
                  <a:pt x="126" y="15"/>
                </a:cubicBezTo>
                <a:cubicBezTo>
                  <a:pt x="126" y="23"/>
                  <a:pt x="122" y="28"/>
                  <a:pt x="111" y="28"/>
                </a:cubicBezTo>
                <a:cubicBezTo>
                  <a:pt x="78" y="28"/>
                  <a:pt x="78" y="28"/>
                  <a:pt x="78" y="28"/>
                </a:cubicBezTo>
                <a:lnTo>
                  <a:pt x="49" y="28"/>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66" name="Freeform 42"/>
          <p:cNvSpPr>
            <a:spLocks/>
          </p:cNvSpPr>
          <p:nvPr userDrawn="1"/>
        </p:nvSpPr>
        <p:spPr bwMode="auto">
          <a:xfrm>
            <a:off x="2177030" y="4494610"/>
            <a:ext cx="107184" cy="108347"/>
          </a:xfrm>
          <a:custGeom>
            <a:avLst/>
            <a:gdLst/>
            <a:ahLst/>
            <a:cxnLst>
              <a:cxn ang="0">
                <a:pos x="16" y="76"/>
              </a:cxn>
              <a:cxn ang="0">
                <a:pos x="0" y="63"/>
              </a:cxn>
              <a:cxn ang="0">
                <a:pos x="0" y="61"/>
              </a:cxn>
              <a:cxn ang="0">
                <a:pos x="16" y="49"/>
              </a:cxn>
              <a:cxn ang="0">
                <a:pos x="49" y="49"/>
              </a:cxn>
              <a:cxn ang="0">
                <a:pos x="49" y="15"/>
              </a:cxn>
              <a:cxn ang="0">
                <a:pos x="62" y="0"/>
              </a:cxn>
              <a:cxn ang="0">
                <a:pos x="65" y="0"/>
              </a:cxn>
              <a:cxn ang="0">
                <a:pos x="78" y="15"/>
              </a:cxn>
              <a:cxn ang="0">
                <a:pos x="78" y="49"/>
              </a:cxn>
              <a:cxn ang="0">
                <a:pos x="111" y="49"/>
              </a:cxn>
              <a:cxn ang="0">
                <a:pos x="126" y="61"/>
              </a:cxn>
              <a:cxn ang="0">
                <a:pos x="126" y="63"/>
              </a:cxn>
              <a:cxn ang="0">
                <a:pos x="111" y="76"/>
              </a:cxn>
              <a:cxn ang="0">
                <a:pos x="78" y="76"/>
              </a:cxn>
              <a:cxn ang="0">
                <a:pos x="78" y="112"/>
              </a:cxn>
              <a:cxn ang="0">
                <a:pos x="65" y="127"/>
              </a:cxn>
              <a:cxn ang="0">
                <a:pos x="62" y="127"/>
              </a:cxn>
              <a:cxn ang="0">
                <a:pos x="49" y="112"/>
              </a:cxn>
              <a:cxn ang="0">
                <a:pos x="49" y="76"/>
              </a:cxn>
              <a:cxn ang="0">
                <a:pos x="16" y="76"/>
              </a:cxn>
            </a:cxnLst>
            <a:rect l="0" t="0" r="r" b="b"/>
            <a:pathLst>
              <a:path w="126" h="127">
                <a:moveTo>
                  <a:pt x="16" y="76"/>
                </a:moveTo>
                <a:cubicBezTo>
                  <a:pt x="5" y="76"/>
                  <a:pt x="0" y="71"/>
                  <a:pt x="0" y="63"/>
                </a:cubicBezTo>
                <a:cubicBezTo>
                  <a:pt x="0" y="61"/>
                  <a:pt x="0" y="61"/>
                  <a:pt x="0" y="61"/>
                </a:cubicBezTo>
                <a:cubicBezTo>
                  <a:pt x="0" y="54"/>
                  <a:pt x="5" y="49"/>
                  <a:pt x="16" y="49"/>
                </a:cubicBezTo>
                <a:cubicBezTo>
                  <a:pt x="49" y="49"/>
                  <a:pt x="49" y="49"/>
                  <a:pt x="49" y="49"/>
                </a:cubicBezTo>
                <a:cubicBezTo>
                  <a:pt x="49" y="15"/>
                  <a:pt x="49" y="15"/>
                  <a:pt x="49" y="15"/>
                </a:cubicBezTo>
                <a:cubicBezTo>
                  <a:pt x="49" y="4"/>
                  <a:pt x="54" y="0"/>
                  <a:pt x="62" y="0"/>
                </a:cubicBezTo>
                <a:cubicBezTo>
                  <a:pt x="65" y="0"/>
                  <a:pt x="65" y="0"/>
                  <a:pt x="65" y="0"/>
                </a:cubicBezTo>
                <a:cubicBezTo>
                  <a:pt x="72" y="0"/>
                  <a:pt x="78" y="4"/>
                  <a:pt x="78" y="15"/>
                </a:cubicBezTo>
                <a:cubicBezTo>
                  <a:pt x="78" y="49"/>
                  <a:pt x="78" y="49"/>
                  <a:pt x="78" y="49"/>
                </a:cubicBezTo>
                <a:cubicBezTo>
                  <a:pt x="111" y="49"/>
                  <a:pt x="111" y="49"/>
                  <a:pt x="111" y="49"/>
                </a:cubicBezTo>
                <a:cubicBezTo>
                  <a:pt x="122" y="49"/>
                  <a:pt x="126" y="54"/>
                  <a:pt x="126" y="61"/>
                </a:cubicBezTo>
                <a:cubicBezTo>
                  <a:pt x="126" y="63"/>
                  <a:pt x="126" y="63"/>
                  <a:pt x="126" y="63"/>
                </a:cubicBezTo>
                <a:cubicBezTo>
                  <a:pt x="126" y="71"/>
                  <a:pt x="122" y="76"/>
                  <a:pt x="111" y="76"/>
                </a:cubicBezTo>
                <a:cubicBezTo>
                  <a:pt x="78" y="76"/>
                  <a:pt x="78" y="76"/>
                  <a:pt x="78" y="76"/>
                </a:cubicBezTo>
                <a:cubicBezTo>
                  <a:pt x="78" y="112"/>
                  <a:pt x="78" y="112"/>
                  <a:pt x="78" y="112"/>
                </a:cubicBezTo>
                <a:cubicBezTo>
                  <a:pt x="78" y="122"/>
                  <a:pt x="72" y="127"/>
                  <a:pt x="65" y="127"/>
                </a:cubicBezTo>
                <a:cubicBezTo>
                  <a:pt x="62" y="127"/>
                  <a:pt x="62" y="127"/>
                  <a:pt x="62" y="127"/>
                </a:cubicBezTo>
                <a:cubicBezTo>
                  <a:pt x="54" y="127"/>
                  <a:pt x="49" y="122"/>
                  <a:pt x="49" y="112"/>
                </a:cubicBezTo>
                <a:cubicBezTo>
                  <a:pt x="49" y="76"/>
                  <a:pt x="49" y="76"/>
                  <a:pt x="49" y="76"/>
                </a:cubicBezTo>
                <a:lnTo>
                  <a:pt x="16" y="76"/>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grpSp>
        <p:nvGrpSpPr>
          <p:cNvPr id="84" name="Group 45"/>
          <p:cNvGrpSpPr>
            <a:grpSpLocks noChangeAspect="1"/>
          </p:cNvGrpSpPr>
          <p:nvPr userDrawn="1"/>
        </p:nvGrpSpPr>
        <p:grpSpPr bwMode="auto">
          <a:xfrm>
            <a:off x="2417598" y="4499370"/>
            <a:ext cx="101229" cy="98822"/>
            <a:chOff x="2030" y="3779"/>
            <a:chExt cx="85" cy="83"/>
          </a:xfrm>
          <a:solidFill>
            <a:srgbClr val="009530"/>
          </a:solidFill>
        </p:grpSpPr>
        <p:sp>
          <p:nvSpPr>
            <p:cNvPr id="1070" name="Freeform 46"/>
            <p:cNvSpPr>
              <a:spLocks noEditPoints="1"/>
            </p:cNvSpPr>
            <p:nvPr userDrawn="1"/>
          </p:nvSpPr>
          <p:spPr bwMode="auto">
            <a:xfrm>
              <a:off x="2030" y="3780"/>
              <a:ext cx="85" cy="82"/>
            </a:xfrm>
            <a:custGeom>
              <a:avLst/>
              <a:gdLst/>
              <a:ahLst/>
              <a:cxnLst>
                <a:cxn ang="0">
                  <a:pos x="28" y="54"/>
                </a:cxn>
                <a:cxn ang="0">
                  <a:pos x="16" y="52"/>
                </a:cxn>
                <a:cxn ang="0">
                  <a:pos x="7" y="46"/>
                </a:cxn>
                <a:cxn ang="0">
                  <a:pos x="2" y="38"/>
                </a:cxn>
                <a:cxn ang="0">
                  <a:pos x="0" y="27"/>
                </a:cxn>
                <a:cxn ang="0">
                  <a:pos x="0" y="26"/>
                </a:cxn>
                <a:cxn ang="0">
                  <a:pos x="2" y="15"/>
                </a:cxn>
                <a:cxn ang="0">
                  <a:pos x="8" y="7"/>
                </a:cxn>
                <a:cxn ang="0">
                  <a:pos x="16" y="2"/>
                </a:cxn>
                <a:cxn ang="0">
                  <a:pos x="28" y="0"/>
                </a:cxn>
                <a:cxn ang="0">
                  <a:pos x="39" y="2"/>
                </a:cxn>
                <a:cxn ang="0">
                  <a:pos x="48" y="7"/>
                </a:cxn>
                <a:cxn ang="0">
                  <a:pos x="53" y="15"/>
                </a:cxn>
                <a:cxn ang="0">
                  <a:pos x="55" y="26"/>
                </a:cxn>
                <a:cxn ang="0">
                  <a:pos x="55" y="27"/>
                </a:cxn>
                <a:cxn ang="0">
                  <a:pos x="53" y="38"/>
                </a:cxn>
                <a:cxn ang="0">
                  <a:pos x="48" y="46"/>
                </a:cxn>
                <a:cxn ang="0">
                  <a:pos x="39" y="52"/>
                </a:cxn>
                <a:cxn ang="0">
                  <a:pos x="28" y="54"/>
                </a:cxn>
                <a:cxn ang="0">
                  <a:pos x="28" y="41"/>
                </a:cxn>
                <a:cxn ang="0">
                  <a:pos x="36" y="37"/>
                </a:cxn>
                <a:cxn ang="0">
                  <a:pos x="39" y="28"/>
                </a:cxn>
                <a:cxn ang="0">
                  <a:pos x="39" y="25"/>
                </a:cxn>
                <a:cxn ang="0">
                  <a:pos x="36" y="16"/>
                </a:cxn>
                <a:cxn ang="0">
                  <a:pos x="28" y="13"/>
                </a:cxn>
                <a:cxn ang="0">
                  <a:pos x="19" y="16"/>
                </a:cxn>
                <a:cxn ang="0">
                  <a:pos x="16" y="25"/>
                </a:cxn>
                <a:cxn ang="0">
                  <a:pos x="16" y="28"/>
                </a:cxn>
                <a:cxn ang="0">
                  <a:pos x="20" y="37"/>
                </a:cxn>
                <a:cxn ang="0">
                  <a:pos x="28" y="41"/>
                </a:cxn>
                <a:cxn ang="0">
                  <a:pos x="91" y="113"/>
                </a:cxn>
                <a:cxn ang="0">
                  <a:pos x="80" y="111"/>
                </a:cxn>
                <a:cxn ang="0">
                  <a:pos x="71" y="106"/>
                </a:cxn>
                <a:cxn ang="0">
                  <a:pos x="65" y="97"/>
                </a:cxn>
                <a:cxn ang="0">
                  <a:pos x="63" y="87"/>
                </a:cxn>
                <a:cxn ang="0">
                  <a:pos x="63" y="85"/>
                </a:cxn>
                <a:cxn ang="0">
                  <a:pos x="65" y="75"/>
                </a:cxn>
                <a:cxn ang="0">
                  <a:pos x="71" y="66"/>
                </a:cxn>
                <a:cxn ang="0">
                  <a:pos x="80" y="61"/>
                </a:cxn>
                <a:cxn ang="0">
                  <a:pos x="91" y="59"/>
                </a:cxn>
                <a:cxn ang="0">
                  <a:pos x="102" y="61"/>
                </a:cxn>
                <a:cxn ang="0">
                  <a:pos x="111" y="66"/>
                </a:cxn>
                <a:cxn ang="0">
                  <a:pos x="117" y="75"/>
                </a:cxn>
                <a:cxn ang="0">
                  <a:pos x="119" y="85"/>
                </a:cxn>
                <a:cxn ang="0">
                  <a:pos x="119" y="87"/>
                </a:cxn>
                <a:cxn ang="0">
                  <a:pos x="117" y="97"/>
                </a:cxn>
                <a:cxn ang="0">
                  <a:pos x="111" y="106"/>
                </a:cxn>
                <a:cxn ang="0">
                  <a:pos x="102" y="111"/>
                </a:cxn>
                <a:cxn ang="0">
                  <a:pos x="91" y="113"/>
                </a:cxn>
                <a:cxn ang="0">
                  <a:pos x="91" y="100"/>
                </a:cxn>
                <a:cxn ang="0">
                  <a:pos x="99" y="96"/>
                </a:cxn>
                <a:cxn ang="0">
                  <a:pos x="102" y="87"/>
                </a:cxn>
                <a:cxn ang="0">
                  <a:pos x="102" y="85"/>
                </a:cxn>
                <a:cxn ang="0">
                  <a:pos x="99" y="75"/>
                </a:cxn>
                <a:cxn ang="0">
                  <a:pos x="91" y="72"/>
                </a:cxn>
                <a:cxn ang="0">
                  <a:pos x="83" y="75"/>
                </a:cxn>
                <a:cxn ang="0">
                  <a:pos x="80" y="85"/>
                </a:cxn>
                <a:cxn ang="0">
                  <a:pos x="80" y="87"/>
                </a:cxn>
                <a:cxn ang="0">
                  <a:pos x="83" y="96"/>
                </a:cxn>
                <a:cxn ang="0">
                  <a:pos x="91" y="100"/>
                </a:cxn>
              </a:cxnLst>
              <a:rect l="0" t="0" r="r" b="b"/>
              <a:pathLst>
                <a:path w="119" h="113">
                  <a:moveTo>
                    <a:pt x="28" y="54"/>
                  </a:moveTo>
                  <a:cubicBezTo>
                    <a:pt x="23" y="54"/>
                    <a:pt x="20" y="53"/>
                    <a:pt x="16" y="52"/>
                  </a:cubicBezTo>
                  <a:cubicBezTo>
                    <a:pt x="13" y="50"/>
                    <a:pt x="10" y="49"/>
                    <a:pt x="7" y="46"/>
                  </a:cubicBezTo>
                  <a:cubicBezTo>
                    <a:pt x="5" y="44"/>
                    <a:pt x="3" y="41"/>
                    <a:pt x="2" y="38"/>
                  </a:cubicBezTo>
                  <a:cubicBezTo>
                    <a:pt x="0" y="35"/>
                    <a:pt x="0" y="31"/>
                    <a:pt x="0" y="27"/>
                  </a:cubicBezTo>
                  <a:cubicBezTo>
                    <a:pt x="0" y="26"/>
                    <a:pt x="0" y="26"/>
                    <a:pt x="0" y="26"/>
                  </a:cubicBezTo>
                  <a:cubicBezTo>
                    <a:pt x="0" y="22"/>
                    <a:pt x="0" y="19"/>
                    <a:pt x="2" y="15"/>
                  </a:cubicBezTo>
                  <a:cubicBezTo>
                    <a:pt x="3" y="12"/>
                    <a:pt x="5" y="9"/>
                    <a:pt x="8" y="7"/>
                  </a:cubicBezTo>
                  <a:cubicBezTo>
                    <a:pt x="10" y="5"/>
                    <a:pt x="13" y="3"/>
                    <a:pt x="16" y="2"/>
                  </a:cubicBezTo>
                  <a:cubicBezTo>
                    <a:pt x="20" y="0"/>
                    <a:pt x="24" y="0"/>
                    <a:pt x="28" y="0"/>
                  </a:cubicBezTo>
                  <a:cubicBezTo>
                    <a:pt x="32" y="0"/>
                    <a:pt x="36" y="0"/>
                    <a:pt x="39" y="2"/>
                  </a:cubicBezTo>
                  <a:cubicBezTo>
                    <a:pt x="42" y="3"/>
                    <a:pt x="45" y="5"/>
                    <a:pt x="48" y="7"/>
                  </a:cubicBezTo>
                  <a:cubicBezTo>
                    <a:pt x="50" y="9"/>
                    <a:pt x="52" y="12"/>
                    <a:pt x="53" y="15"/>
                  </a:cubicBezTo>
                  <a:cubicBezTo>
                    <a:pt x="55" y="19"/>
                    <a:pt x="55" y="22"/>
                    <a:pt x="55" y="26"/>
                  </a:cubicBezTo>
                  <a:cubicBezTo>
                    <a:pt x="55" y="27"/>
                    <a:pt x="55" y="27"/>
                    <a:pt x="55" y="27"/>
                  </a:cubicBezTo>
                  <a:cubicBezTo>
                    <a:pt x="55" y="31"/>
                    <a:pt x="55" y="35"/>
                    <a:pt x="53" y="38"/>
                  </a:cubicBezTo>
                  <a:cubicBezTo>
                    <a:pt x="52" y="41"/>
                    <a:pt x="50" y="44"/>
                    <a:pt x="48" y="46"/>
                  </a:cubicBezTo>
                  <a:cubicBezTo>
                    <a:pt x="45" y="49"/>
                    <a:pt x="42" y="50"/>
                    <a:pt x="39" y="52"/>
                  </a:cubicBezTo>
                  <a:cubicBezTo>
                    <a:pt x="35" y="53"/>
                    <a:pt x="32" y="54"/>
                    <a:pt x="28" y="54"/>
                  </a:cubicBezTo>
                  <a:close/>
                  <a:moveTo>
                    <a:pt x="28" y="41"/>
                  </a:moveTo>
                  <a:cubicBezTo>
                    <a:pt x="31" y="41"/>
                    <a:pt x="34" y="39"/>
                    <a:pt x="36" y="37"/>
                  </a:cubicBezTo>
                  <a:cubicBezTo>
                    <a:pt x="38" y="35"/>
                    <a:pt x="39" y="32"/>
                    <a:pt x="39" y="28"/>
                  </a:cubicBezTo>
                  <a:cubicBezTo>
                    <a:pt x="39" y="25"/>
                    <a:pt x="39" y="25"/>
                    <a:pt x="39" y="25"/>
                  </a:cubicBezTo>
                  <a:cubicBezTo>
                    <a:pt x="39" y="21"/>
                    <a:pt x="38" y="18"/>
                    <a:pt x="36" y="16"/>
                  </a:cubicBezTo>
                  <a:cubicBezTo>
                    <a:pt x="34" y="14"/>
                    <a:pt x="31" y="13"/>
                    <a:pt x="28" y="13"/>
                  </a:cubicBezTo>
                  <a:cubicBezTo>
                    <a:pt x="24" y="13"/>
                    <a:pt x="22" y="14"/>
                    <a:pt x="19" y="16"/>
                  </a:cubicBezTo>
                  <a:cubicBezTo>
                    <a:pt x="17" y="18"/>
                    <a:pt x="16" y="21"/>
                    <a:pt x="16" y="25"/>
                  </a:cubicBezTo>
                  <a:cubicBezTo>
                    <a:pt x="16" y="28"/>
                    <a:pt x="16" y="28"/>
                    <a:pt x="16" y="28"/>
                  </a:cubicBezTo>
                  <a:cubicBezTo>
                    <a:pt x="16" y="32"/>
                    <a:pt x="17" y="35"/>
                    <a:pt x="20" y="37"/>
                  </a:cubicBezTo>
                  <a:cubicBezTo>
                    <a:pt x="22" y="39"/>
                    <a:pt x="24" y="41"/>
                    <a:pt x="28" y="41"/>
                  </a:cubicBezTo>
                  <a:close/>
                  <a:moveTo>
                    <a:pt x="91" y="113"/>
                  </a:moveTo>
                  <a:cubicBezTo>
                    <a:pt x="87" y="113"/>
                    <a:pt x="83" y="112"/>
                    <a:pt x="80" y="111"/>
                  </a:cubicBezTo>
                  <a:cubicBezTo>
                    <a:pt x="76" y="110"/>
                    <a:pt x="73" y="108"/>
                    <a:pt x="71" y="106"/>
                  </a:cubicBezTo>
                  <a:cubicBezTo>
                    <a:pt x="69" y="103"/>
                    <a:pt x="67" y="101"/>
                    <a:pt x="65" y="97"/>
                  </a:cubicBezTo>
                  <a:cubicBezTo>
                    <a:pt x="64" y="94"/>
                    <a:pt x="63" y="91"/>
                    <a:pt x="63" y="87"/>
                  </a:cubicBezTo>
                  <a:cubicBezTo>
                    <a:pt x="63" y="85"/>
                    <a:pt x="63" y="85"/>
                    <a:pt x="63" y="85"/>
                  </a:cubicBezTo>
                  <a:cubicBezTo>
                    <a:pt x="63" y="82"/>
                    <a:pt x="64" y="78"/>
                    <a:pt x="65" y="75"/>
                  </a:cubicBezTo>
                  <a:cubicBezTo>
                    <a:pt x="67" y="72"/>
                    <a:pt x="69" y="69"/>
                    <a:pt x="71" y="66"/>
                  </a:cubicBezTo>
                  <a:cubicBezTo>
                    <a:pt x="74" y="64"/>
                    <a:pt x="77" y="62"/>
                    <a:pt x="80" y="61"/>
                  </a:cubicBezTo>
                  <a:cubicBezTo>
                    <a:pt x="83" y="60"/>
                    <a:pt x="87" y="59"/>
                    <a:pt x="91" y="59"/>
                  </a:cubicBezTo>
                  <a:cubicBezTo>
                    <a:pt x="95" y="59"/>
                    <a:pt x="99" y="60"/>
                    <a:pt x="102" y="61"/>
                  </a:cubicBezTo>
                  <a:cubicBezTo>
                    <a:pt x="106" y="62"/>
                    <a:pt x="109" y="64"/>
                    <a:pt x="111" y="66"/>
                  </a:cubicBezTo>
                  <a:cubicBezTo>
                    <a:pt x="114" y="69"/>
                    <a:pt x="116" y="71"/>
                    <a:pt x="117" y="75"/>
                  </a:cubicBezTo>
                  <a:cubicBezTo>
                    <a:pt x="118" y="78"/>
                    <a:pt x="119" y="81"/>
                    <a:pt x="119" y="85"/>
                  </a:cubicBezTo>
                  <a:cubicBezTo>
                    <a:pt x="119" y="87"/>
                    <a:pt x="119" y="87"/>
                    <a:pt x="119" y="87"/>
                  </a:cubicBezTo>
                  <a:cubicBezTo>
                    <a:pt x="119" y="90"/>
                    <a:pt x="118" y="94"/>
                    <a:pt x="117" y="97"/>
                  </a:cubicBezTo>
                  <a:cubicBezTo>
                    <a:pt x="116" y="100"/>
                    <a:pt x="114" y="103"/>
                    <a:pt x="111" y="106"/>
                  </a:cubicBezTo>
                  <a:cubicBezTo>
                    <a:pt x="109" y="108"/>
                    <a:pt x="106" y="110"/>
                    <a:pt x="102" y="111"/>
                  </a:cubicBezTo>
                  <a:cubicBezTo>
                    <a:pt x="99" y="112"/>
                    <a:pt x="95" y="113"/>
                    <a:pt x="91" y="113"/>
                  </a:cubicBezTo>
                  <a:close/>
                  <a:moveTo>
                    <a:pt x="91" y="100"/>
                  </a:moveTo>
                  <a:cubicBezTo>
                    <a:pt x="94" y="100"/>
                    <a:pt x="97" y="99"/>
                    <a:pt x="99" y="96"/>
                  </a:cubicBezTo>
                  <a:cubicBezTo>
                    <a:pt x="101" y="94"/>
                    <a:pt x="102" y="91"/>
                    <a:pt x="102" y="87"/>
                  </a:cubicBezTo>
                  <a:cubicBezTo>
                    <a:pt x="102" y="85"/>
                    <a:pt x="102" y="85"/>
                    <a:pt x="102" y="85"/>
                  </a:cubicBezTo>
                  <a:cubicBezTo>
                    <a:pt x="102" y="81"/>
                    <a:pt x="101" y="78"/>
                    <a:pt x="99" y="75"/>
                  </a:cubicBezTo>
                  <a:cubicBezTo>
                    <a:pt x="97" y="73"/>
                    <a:pt x="94" y="72"/>
                    <a:pt x="91" y="72"/>
                  </a:cubicBezTo>
                  <a:cubicBezTo>
                    <a:pt x="88" y="72"/>
                    <a:pt x="85" y="73"/>
                    <a:pt x="83" y="75"/>
                  </a:cubicBezTo>
                  <a:cubicBezTo>
                    <a:pt x="81" y="78"/>
                    <a:pt x="80" y="81"/>
                    <a:pt x="80" y="85"/>
                  </a:cubicBezTo>
                  <a:cubicBezTo>
                    <a:pt x="80" y="87"/>
                    <a:pt x="80" y="87"/>
                    <a:pt x="80" y="87"/>
                  </a:cubicBezTo>
                  <a:cubicBezTo>
                    <a:pt x="80" y="91"/>
                    <a:pt x="81" y="94"/>
                    <a:pt x="83" y="96"/>
                  </a:cubicBezTo>
                  <a:cubicBezTo>
                    <a:pt x="85" y="99"/>
                    <a:pt x="88" y="100"/>
                    <a:pt x="91"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1" name="Freeform 47"/>
            <p:cNvSpPr>
              <a:spLocks/>
            </p:cNvSpPr>
            <p:nvPr userDrawn="1"/>
          </p:nvSpPr>
          <p:spPr bwMode="auto">
            <a:xfrm>
              <a:off x="2036" y="3779"/>
              <a:ext cx="74" cy="83"/>
            </a:xfrm>
            <a:custGeom>
              <a:avLst/>
              <a:gdLst/>
              <a:ahLst/>
              <a:cxnLst>
                <a:cxn ang="0">
                  <a:pos x="35" y="90"/>
                </a:cxn>
                <a:cxn ang="0">
                  <a:pos x="17" y="111"/>
                </a:cxn>
                <a:cxn ang="0">
                  <a:pos x="10" y="116"/>
                </a:cxn>
                <a:cxn ang="0">
                  <a:pos x="4" y="113"/>
                </a:cxn>
                <a:cxn ang="0">
                  <a:pos x="3" y="113"/>
                </a:cxn>
                <a:cxn ang="0">
                  <a:pos x="0" y="107"/>
                </a:cxn>
                <a:cxn ang="0">
                  <a:pos x="4" y="99"/>
                </a:cxn>
                <a:cxn ang="0">
                  <a:pos x="16" y="85"/>
                </a:cxn>
                <a:cxn ang="0">
                  <a:pos x="19" y="82"/>
                </a:cxn>
                <a:cxn ang="0">
                  <a:pos x="66" y="29"/>
                </a:cxn>
                <a:cxn ang="0">
                  <a:pos x="67" y="27"/>
                </a:cxn>
                <a:cxn ang="0">
                  <a:pos x="86" y="5"/>
                </a:cxn>
                <a:cxn ang="0">
                  <a:pos x="99" y="3"/>
                </a:cxn>
                <a:cxn ang="0">
                  <a:pos x="100" y="4"/>
                </a:cxn>
                <a:cxn ang="0">
                  <a:pos x="100" y="17"/>
                </a:cxn>
                <a:cxn ang="0">
                  <a:pos x="80" y="39"/>
                </a:cxn>
                <a:cxn ang="0">
                  <a:pos x="76" y="44"/>
                </a:cxn>
                <a:cxn ang="0">
                  <a:pos x="35" y="91"/>
                </a:cxn>
              </a:cxnLst>
              <a:rect l="0" t="0" r="r" b="b"/>
              <a:pathLst>
                <a:path w="104" h="116">
                  <a:moveTo>
                    <a:pt x="35" y="90"/>
                  </a:moveTo>
                  <a:cubicBezTo>
                    <a:pt x="17" y="111"/>
                    <a:pt x="17" y="111"/>
                    <a:pt x="17" y="111"/>
                  </a:cubicBezTo>
                  <a:cubicBezTo>
                    <a:pt x="15" y="114"/>
                    <a:pt x="12" y="115"/>
                    <a:pt x="10" y="116"/>
                  </a:cubicBezTo>
                  <a:cubicBezTo>
                    <a:pt x="8" y="116"/>
                    <a:pt x="6" y="115"/>
                    <a:pt x="4" y="113"/>
                  </a:cubicBezTo>
                  <a:cubicBezTo>
                    <a:pt x="3" y="113"/>
                    <a:pt x="3" y="113"/>
                    <a:pt x="3" y="113"/>
                  </a:cubicBezTo>
                  <a:cubicBezTo>
                    <a:pt x="1" y="111"/>
                    <a:pt x="0" y="109"/>
                    <a:pt x="0" y="107"/>
                  </a:cubicBezTo>
                  <a:cubicBezTo>
                    <a:pt x="0" y="105"/>
                    <a:pt x="1" y="102"/>
                    <a:pt x="4" y="99"/>
                  </a:cubicBezTo>
                  <a:cubicBezTo>
                    <a:pt x="16" y="85"/>
                    <a:pt x="16" y="85"/>
                    <a:pt x="16" y="85"/>
                  </a:cubicBezTo>
                  <a:cubicBezTo>
                    <a:pt x="16" y="85"/>
                    <a:pt x="16" y="85"/>
                    <a:pt x="19" y="82"/>
                  </a:cubicBezTo>
                  <a:cubicBezTo>
                    <a:pt x="66" y="29"/>
                    <a:pt x="66" y="29"/>
                    <a:pt x="66" y="29"/>
                  </a:cubicBezTo>
                  <a:cubicBezTo>
                    <a:pt x="68" y="26"/>
                    <a:pt x="67" y="27"/>
                    <a:pt x="67" y="27"/>
                  </a:cubicBezTo>
                  <a:cubicBezTo>
                    <a:pt x="86" y="5"/>
                    <a:pt x="86" y="5"/>
                    <a:pt x="86" y="5"/>
                  </a:cubicBezTo>
                  <a:cubicBezTo>
                    <a:pt x="91" y="0"/>
                    <a:pt x="95" y="0"/>
                    <a:pt x="99" y="3"/>
                  </a:cubicBezTo>
                  <a:cubicBezTo>
                    <a:pt x="100" y="4"/>
                    <a:pt x="100" y="4"/>
                    <a:pt x="100" y="4"/>
                  </a:cubicBezTo>
                  <a:cubicBezTo>
                    <a:pt x="104" y="7"/>
                    <a:pt x="104" y="11"/>
                    <a:pt x="100" y="17"/>
                  </a:cubicBezTo>
                  <a:cubicBezTo>
                    <a:pt x="80" y="39"/>
                    <a:pt x="80" y="39"/>
                    <a:pt x="80" y="39"/>
                  </a:cubicBezTo>
                  <a:cubicBezTo>
                    <a:pt x="76" y="44"/>
                    <a:pt x="76" y="44"/>
                    <a:pt x="76" y="44"/>
                  </a:cubicBezTo>
                  <a:cubicBezTo>
                    <a:pt x="35" y="91"/>
                    <a:pt x="35" y="91"/>
                    <a:pt x="35" y="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5" name="Group 50"/>
          <p:cNvGrpSpPr>
            <a:grpSpLocks noChangeAspect="1"/>
          </p:cNvGrpSpPr>
          <p:nvPr userDrawn="1"/>
        </p:nvGrpSpPr>
        <p:grpSpPr bwMode="auto">
          <a:xfrm>
            <a:off x="2652205" y="4495802"/>
            <a:ext cx="102420" cy="105966"/>
            <a:chOff x="2227" y="3776"/>
            <a:chExt cx="86" cy="89"/>
          </a:xfrm>
          <a:solidFill>
            <a:srgbClr val="009530"/>
          </a:solidFill>
        </p:grpSpPr>
        <p:sp>
          <p:nvSpPr>
            <p:cNvPr id="1075" name="Freeform 51"/>
            <p:cNvSpPr>
              <a:spLocks/>
            </p:cNvSpPr>
            <p:nvPr userDrawn="1"/>
          </p:nvSpPr>
          <p:spPr bwMode="auto">
            <a:xfrm>
              <a:off x="2227" y="3811"/>
              <a:ext cx="86" cy="19"/>
            </a:xfrm>
            <a:custGeom>
              <a:avLst/>
              <a:gdLst/>
              <a:ahLst/>
              <a:cxnLst>
                <a:cxn ang="0">
                  <a:pos x="46" y="26"/>
                </a:cxn>
                <a:cxn ang="0">
                  <a:pos x="15" y="26"/>
                </a:cxn>
                <a:cxn ang="0">
                  <a:pos x="0" y="14"/>
                </a:cxn>
                <a:cxn ang="0">
                  <a:pos x="0" y="12"/>
                </a:cxn>
                <a:cxn ang="0">
                  <a:pos x="15" y="0"/>
                </a:cxn>
                <a:cxn ang="0">
                  <a:pos x="46" y="0"/>
                </a:cxn>
                <a:cxn ang="0">
                  <a:pos x="74" y="0"/>
                </a:cxn>
                <a:cxn ang="0">
                  <a:pos x="106" y="0"/>
                </a:cxn>
                <a:cxn ang="0">
                  <a:pos x="121" y="12"/>
                </a:cxn>
                <a:cxn ang="0">
                  <a:pos x="121" y="14"/>
                </a:cxn>
                <a:cxn ang="0">
                  <a:pos x="106" y="26"/>
                </a:cxn>
                <a:cxn ang="0">
                  <a:pos x="74" y="26"/>
                </a:cxn>
                <a:cxn ang="0">
                  <a:pos x="46" y="26"/>
                </a:cxn>
              </a:cxnLst>
              <a:rect l="0" t="0" r="r" b="b"/>
              <a:pathLst>
                <a:path w="121" h="26">
                  <a:moveTo>
                    <a:pt x="46" y="26"/>
                  </a:moveTo>
                  <a:cubicBezTo>
                    <a:pt x="15" y="26"/>
                    <a:pt x="15" y="26"/>
                    <a:pt x="15" y="26"/>
                  </a:cubicBezTo>
                  <a:cubicBezTo>
                    <a:pt x="5" y="26"/>
                    <a:pt x="0" y="21"/>
                    <a:pt x="0" y="14"/>
                  </a:cubicBezTo>
                  <a:cubicBezTo>
                    <a:pt x="0" y="12"/>
                    <a:pt x="0" y="12"/>
                    <a:pt x="0" y="12"/>
                  </a:cubicBezTo>
                  <a:cubicBezTo>
                    <a:pt x="0" y="5"/>
                    <a:pt x="5" y="0"/>
                    <a:pt x="15" y="0"/>
                  </a:cubicBezTo>
                  <a:cubicBezTo>
                    <a:pt x="46" y="0"/>
                    <a:pt x="46" y="0"/>
                    <a:pt x="46" y="0"/>
                  </a:cubicBezTo>
                  <a:cubicBezTo>
                    <a:pt x="74" y="0"/>
                    <a:pt x="74" y="0"/>
                    <a:pt x="74" y="0"/>
                  </a:cubicBezTo>
                  <a:cubicBezTo>
                    <a:pt x="106" y="0"/>
                    <a:pt x="106" y="0"/>
                    <a:pt x="106" y="0"/>
                  </a:cubicBezTo>
                  <a:cubicBezTo>
                    <a:pt x="116" y="0"/>
                    <a:pt x="121" y="5"/>
                    <a:pt x="121" y="12"/>
                  </a:cubicBezTo>
                  <a:cubicBezTo>
                    <a:pt x="121" y="14"/>
                    <a:pt x="121" y="14"/>
                    <a:pt x="121" y="14"/>
                  </a:cubicBezTo>
                  <a:cubicBezTo>
                    <a:pt x="121" y="21"/>
                    <a:pt x="116" y="26"/>
                    <a:pt x="106" y="26"/>
                  </a:cubicBezTo>
                  <a:cubicBezTo>
                    <a:pt x="74" y="26"/>
                    <a:pt x="74" y="26"/>
                    <a:pt x="74" y="26"/>
                  </a:cubicBezTo>
                  <a:lnTo>
                    <a:pt x="46"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6" name="Oval 52"/>
            <p:cNvSpPr>
              <a:spLocks noChangeArrowheads="1"/>
            </p:cNvSpPr>
            <p:nvPr userDrawn="1"/>
          </p:nvSpPr>
          <p:spPr bwMode="auto">
            <a:xfrm>
              <a:off x="2260" y="3776"/>
              <a:ext cx="21" cy="2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7" name="Oval 53"/>
            <p:cNvSpPr>
              <a:spLocks noChangeArrowheads="1"/>
            </p:cNvSpPr>
            <p:nvPr userDrawn="1"/>
          </p:nvSpPr>
          <p:spPr bwMode="auto">
            <a:xfrm>
              <a:off x="2260" y="3845"/>
              <a:ext cx="21" cy="2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81" name="Freeform 57"/>
          <p:cNvSpPr>
            <a:spLocks/>
          </p:cNvSpPr>
          <p:nvPr userDrawn="1"/>
        </p:nvSpPr>
        <p:spPr bwMode="auto">
          <a:xfrm>
            <a:off x="2892782" y="4496991"/>
            <a:ext cx="82174" cy="103584"/>
          </a:xfrm>
          <a:custGeom>
            <a:avLst/>
            <a:gdLst/>
            <a:ahLst/>
            <a:cxnLst>
              <a:cxn ang="0">
                <a:pos x="11" y="73"/>
              </a:cxn>
              <a:cxn ang="0">
                <a:pos x="4" y="70"/>
              </a:cxn>
              <a:cxn ang="0">
                <a:pos x="1" y="65"/>
              </a:cxn>
              <a:cxn ang="0">
                <a:pos x="1" y="63"/>
              </a:cxn>
              <a:cxn ang="0">
                <a:pos x="4" y="58"/>
              </a:cxn>
              <a:cxn ang="0">
                <a:pos x="11" y="55"/>
              </a:cxn>
              <a:cxn ang="0">
                <a:pos x="29" y="55"/>
              </a:cxn>
              <a:cxn ang="0">
                <a:pos x="24" y="49"/>
              </a:cxn>
              <a:cxn ang="0">
                <a:pos x="20" y="41"/>
              </a:cxn>
              <a:cxn ang="0">
                <a:pos x="14" y="34"/>
              </a:cxn>
              <a:cxn ang="0">
                <a:pos x="0" y="12"/>
              </a:cxn>
              <a:cxn ang="0">
                <a:pos x="1" y="9"/>
              </a:cxn>
              <a:cxn ang="0">
                <a:pos x="3" y="6"/>
              </a:cxn>
              <a:cxn ang="0">
                <a:pos x="8" y="2"/>
              </a:cxn>
              <a:cxn ang="0">
                <a:pos x="16" y="1"/>
              </a:cxn>
              <a:cxn ang="0">
                <a:pos x="23" y="3"/>
              </a:cxn>
              <a:cxn ang="0">
                <a:pos x="28" y="10"/>
              </a:cxn>
              <a:cxn ang="0">
                <a:pos x="49" y="48"/>
              </a:cxn>
              <a:cxn ang="0">
                <a:pos x="69" y="10"/>
              </a:cxn>
              <a:cxn ang="0">
                <a:pos x="75" y="3"/>
              </a:cxn>
              <a:cxn ang="0">
                <a:pos x="82" y="0"/>
              </a:cxn>
              <a:cxn ang="0">
                <a:pos x="89" y="2"/>
              </a:cxn>
              <a:cxn ang="0">
                <a:pos x="94" y="6"/>
              </a:cxn>
              <a:cxn ang="0">
                <a:pos x="96" y="9"/>
              </a:cxn>
              <a:cxn ang="0">
                <a:pos x="96" y="12"/>
              </a:cxn>
              <a:cxn ang="0">
                <a:pos x="68" y="55"/>
              </a:cxn>
              <a:cxn ang="0">
                <a:pos x="86" y="55"/>
              </a:cxn>
              <a:cxn ang="0">
                <a:pos x="93" y="58"/>
              </a:cxn>
              <a:cxn ang="0">
                <a:pos x="95" y="63"/>
              </a:cxn>
              <a:cxn ang="0">
                <a:pos x="95" y="65"/>
              </a:cxn>
              <a:cxn ang="0">
                <a:pos x="93" y="70"/>
              </a:cxn>
              <a:cxn ang="0">
                <a:pos x="86" y="73"/>
              </a:cxn>
              <a:cxn ang="0">
                <a:pos x="60" y="73"/>
              </a:cxn>
              <a:cxn ang="0">
                <a:pos x="60" y="82"/>
              </a:cxn>
              <a:cxn ang="0">
                <a:pos x="86" y="82"/>
              </a:cxn>
              <a:cxn ang="0">
                <a:pos x="93" y="84"/>
              </a:cxn>
              <a:cxn ang="0">
                <a:pos x="95" y="90"/>
              </a:cxn>
              <a:cxn ang="0">
                <a:pos x="95" y="92"/>
              </a:cxn>
              <a:cxn ang="0">
                <a:pos x="93" y="97"/>
              </a:cxn>
              <a:cxn ang="0">
                <a:pos x="86" y="100"/>
              </a:cxn>
              <a:cxn ang="0">
                <a:pos x="60" y="100"/>
              </a:cxn>
              <a:cxn ang="0">
                <a:pos x="60" y="108"/>
              </a:cxn>
              <a:cxn ang="0">
                <a:pos x="58" y="117"/>
              </a:cxn>
              <a:cxn ang="0">
                <a:pos x="50" y="120"/>
              </a:cxn>
              <a:cxn ang="0">
                <a:pos x="47" y="120"/>
              </a:cxn>
              <a:cxn ang="0">
                <a:pos x="39" y="117"/>
              </a:cxn>
              <a:cxn ang="0">
                <a:pos x="37" y="108"/>
              </a:cxn>
              <a:cxn ang="0">
                <a:pos x="37" y="100"/>
              </a:cxn>
              <a:cxn ang="0">
                <a:pos x="11" y="100"/>
              </a:cxn>
              <a:cxn ang="0">
                <a:pos x="4" y="97"/>
              </a:cxn>
              <a:cxn ang="0">
                <a:pos x="1" y="92"/>
              </a:cxn>
              <a:cxn ang="0">
                <a:pos x="1" y="90"/>
              </a:cxn>
              <a:cxn ang="0">
                <a:pos x="4" y="84"/>
              </a:cxn>
              <a:cxn ang="0">
                <a:pos x="11" y="82"/>
              </a:cxn>
              <a:cxn ang="0">
                <a:pos x="37" y="82"/>
              </a:cxn>
              <a:cxn ang="0">
                <a:pos x="37" y="73"/>
              </a:cxn>
              <a:cxn ang="0">
                <a:pos x="11" y="73"/>
              </a:cxn>
            </a:cxnLst>
            <a:rect l="0" t="0" r="r" b="b"/>
            <a:pathLst>
              <a:path w="97" h="120">
                <a:moveTo>
                  <a:pt x="11" y="73"/>
                </a:moveTo>
                <a:cubicBezTo>
                  <a:pt x="8" y="73"/>
                  <a:pt x="5" y="72"/>
                  <a:pt x="4" y="70"/>
                </a:cubicBezTo>
                <a:cubicBezTo>
                  <a:pt x="2" y="69"/>
                  <a:pt x="1" y="67"/>
                  <a:pt x="1" y="65"/>
                </a:cubicBezTo>
                <a:cubicBezTo>
                  <a:pt x="1" y="63"/>
                  <a:pt x="1" y="63"/>
                  <a:pt x="1" y="63"/>
                </a:cubicBezTo>
                <a:cubicBezTo>
                  <a:pt x="1" y="61"/>
                  <a:pt x="2" y="59"/>
                  <a:pt x="4" y="58"/>
                </a:cubicBezTo>
                <a:cubicBezTo>
                  <a:pt x="5" y="56"/>
                  <a:pt x="8" y="55"/>
                  <a:pt x="11" y="55"/>
                </a:cubicBezTo>
                <a:cubicBezTo>
                  <a:pt x="29" y="55"/>
                  <a:pt x="29" y="55"/>
                  <a:pt x="29" y="55"/>
                </a:cubicBezTo>
                <a:cubicBezTo>
                  <a:pt x="27" y="53"/>
                  <a:pt x="26" y="51"/>
                  <a:pt x="24" y="49"/>
                </a:cubicBezTo>
                <a:cubicBezTo>
                  <a:pt x="23" y="46"/>
                  <a:pt x="21" y="44"/>
                  <a:pt x="20" y="41"/>
                </a:cubicBezTo>
                <a:cubicBezTo>
                  <a:pt x="18" y="39"/>
                  <a:pt x="16" y="36"/>
                  <a:pt x="14" y="34"/>
                </a:cubicBezTo>
                <a:cubicBezTo>
                  <a:pt x="0" y="12"/>
                  <a:pt x="0" y="12"/>
                  <a:pt x="0" y="12"/>
                </a:cubicBezTo>
                <a:cubicBezTo>
                  <a:pt x="0" y="11"/>
                  <a:pt x="0" y="11"/>
                  <a:pt x="1" y="9"/>
                </a:cubicBezTo>
                <a:cubicBezTo>
                  <a:pt x="1" y="8"/>
                  <a:pt x="2" y="7"/>
                  <a:pt x="3" y="6"/>
                </a:cubicBezTo>
                <a:cubicBezTo>
                  <a:pt x="4" y="4"/>
                  <a:pt x="6" y="3"/>
                  <a:pt x="8" y="2"/>
                </a:cubicBezTo>
                <a:cubicBezTo>
                  <a:pt x="10" y="1"/>
                  <a:pt x="13" y="1"/>
                  <a:pt x="16" y="1"/>
                </a:cubicBezTo>
                <a:cubicBezTo>
                  <a:pt x="18" y="1"/>
                  <a:pt x="21" y="1"/>
                  <a:pt x="23" y="3"/>
                </a:cubicBezTo>
                <a:cubicBezTo>
                  <a:pt x="25" y="4"/>
                  <a:pt x="27" y="7"/>
                  <a:pt x="28" y="10"/>
                </a:cubicBezTo>
                <a:cubicBezTo>
                  <a:pt x="49" y="48"/>
                  <a:pt x="49" y="48"/>
                  <a:pt x="49" y="48"/>
                </a:cubicBezTo>
                <a:cubicBezTo>
                  <a:pt x="69" y="10"/>
                  <a:pt x="69" y="10"/>
                  <a:pt x="69" y="10"/>
                </a:cubicBezTo>
                <a:cubicBezTo>
                  <a:pt x="71" y="6"/>
                  <a:pt x="73" y="4"/>
                  <a:pt x="75" y="3"/>
                </a:cubicBezTo>
                <a:cubicBezTo>
                  <a:pt x="77" y="1"/>
                  <a:pt x="80" y="0"/>
                  <a:pt x="82" y="0"/>
                </a:cubicBezTo>
                <a:cubicBezTo>
                  <a:pt x="85" y="0"/>
                  <a:pt x="87" y="1"/>
                  <a:pt x="89" y="2"/>
                </a:cubicBezTo>
                <a:cubicBezTo>
                  <a:pt x="91" y="3"/>
                  <a:pt x="93" y="4"/>
                  <a:pt x="94" y="6"/>
                </a:cubicBezTo>
                <a:cubicBezTo>
                  <a:pt x="95" y="7"/>
                  <a:pt x="96" y="8"/>
                  <a:pt x="96" y="9"/>
                </a:cubicBezTo>
                <a:cubicBezTo>
                  <a:pt x="97" y="11"/>
                  <a:pt x="97" y="11"/>
                  <a:pt x="96" y="12"/>
                </a:cubicBezTo>
                <a:cubicBezTo>
                  <a:pt x="68" y="55"/>
                  <a:pt x="68" y="55"/>
                  <a:pt x="68" y="55"/>
                </a:cubicBezTo>
                <a:cubicBezTo>
                  <a:pt x="86" y="55"/>
                  <a:pt x="86" y="55"/>
                  <a:pt x="86" y="55"/>
                </a:cubicBezTo>
                <a:cubicBezTo>
                  <a:pt x="89" y="55"/>
                  <a:pt x="92" y="56"/>
                  <a:pt x="93" y="58"/>
                </a:cubicBezTo>
                <a:cubicBezTo>
                  <a:pt x="95" y="59"/>
                  <a:pt x="95" y="61"/>
                  <a:pt x="95" y="63"/>
                </a:cubicBezTo>
                <a:cubicBezTo>
                  <a:pt x="95" y="65"/>
                  <a:pt x="95" y="65"/>
                  <a:pt x="95" y="65"/>
                </a:cubicBezTo>
                <a:cubicBezTo>
                  <a:pt x="95" y="67"/>
                  <a:pt x="95" y="69"/>
                  <a:pt x="93" y="70"/>
                </a:cubicBezTo>
                <a:cubicBezTo>
                  <a:pt x="92" y="72"/>
                  <a:pt x="89" y="73"/>
                  <a:pt x="86" y="73"/>
                </a:cubicBezTo>
                <a:cubicBezTo>
                  <a:pt x="60" y="73"/>
                  <a:pt x="60" y="73"/>
                  <a:pt x="60" y="73"/>
                </a:cubicBezTo>
                <a:cubicBezTo>
                  <a:pt x="60" y="82"/>
                  <a:pt x="60" y="82"/>
                  <a:pt x="60" y="82"/>
                </a:cubicBezTo>
                <a:cubicBezTo>
                  <a:pt x="86" y="82"/>
                  <a:pt x="86" y="82"/>
                  <a:pt x="86" y="82"/>
                </a:cubicBezTo>
                <a:cubicBezTo>
                  <a:pt x="89" y="82"/>
                  <a:pt x="92" y="83"/>
                  <a:pt x="93" y="84"/>
                </a:cubicBezTo>
                <a:cubicBezTo>
                  <a:pt x="95" y="86"/>
                  <a:pt x="95" y="88"/>
                  <a:pt x="95" y="90"/>
                </a:cubicBezTo>
                <a:cubicBezTo>
                  <a:pt x="95" y="92"/>
                  <a:pt x="95" y="92"/>
                  <a:pt x="95" y="92"/>
                </a:cubicBezTo>
                <a:cubicBezTo>
                  <a:pt x="95" y="94"/>
                  <a:pt x="95" y="96"/>
                  <a:pt x="93" y="97"/>
                </a:cubicBezTo>
                <a:cubicBezTo>
                  <a:pt x="92" y="99"/>
                  <a:pt x="89" y="100"/>
                  <a:pt x="86" y="100"/>
                </a:cubicBezTo>
                <a:cubicBezTo>
                  <a:pt x="60" y="100"/>
                  <a:pt x="60" y="100"/>
                  <a:pt x="60" y="100"/>
                </a:cubicBezTo>
                <a:cubicBezTo>
                  <a:pt x="60" y="108"/>
                  <a:pt x="60" y="108"/>
                  <a:pt x="60" y="108"/>
                </a:cubicBezTo>
                <a:cubicBezTo>
                  <a:pt x="60" y="112"/>
                  <a:pt x="59" y="115"/>
                  <a:pt x="58" y="117"/>
                </a:cubicBezTo>
                <a:cubicBezTo>
                  <a:pt x="56" y="119"/>
                  <a:pt x="53" y="120"/>
                  <a:pt x="50" y="120"/>
                </a:cubicBezTo>
                <a:cubicBezTo>
                  <a:pt x="47" y="120"/>
                  <a:pt x="47" y="120"/>
                  <a:pt x="47" y="120"/>
                </a:cubicBezTo>
                <a:cubicBezTo>
                  <a:pt x="43" y="120"/>
                  <a:pt x="40" y="119"/>
                  <a:pt x="39" y="117"/>
                </a:cubicBezTo>
                <a:cubicBezTo>
                  <a:pt x="37" y="115"/>
                  <a:pt x="37" y="112"/>
                  <a:pt x="37" y="108"/>
                </a:cubicBezTo>
                <a:cubicBezTo>
                  <a:pt x="37" y="100"/>
                  <a:pt x="37" y="100"/>
                  <a:pt x="37" y="100"/>
                </a:cubicBezTo>
                <a:cubicBezTo>
                  <a:pt x="11" y="100"/>
                  <a:pt x="11" y="100"/>
                  <a:pt x="11" y="100"/>
                </a:cubicBezTo>
                <a:cubicBezTo>
                  <a:pt x="8" y="100"/>
                  <a:pt x="5" y="99"/>
                  <a:pt x="4" y="97"/>
                </a:cubicBezTo>
                <a:cubicBezTo>
                  <a:pt x="2" y="96"/>
                  <a:pt x="1" y="94"/>
                  <a:pt x="1" y="92"/>
                </a:cubicBezTo>
                <a:cubicBezTo>
                  <a:pt x="1" y="90"/>
                  <a:pt x="1" y="90"/>
                  <a:pt x="1" y="90"/>
                </a:cubicBezTo>
                <a:cubicBezTo>
                  <a:pt x="1" y="88"/>
                  <a:pt x="2" y="86"/>
                  <a:pt x="4" y="84"/>
                </a:cubicBezTo>
                <a:cubicBezTo>
                  <a:pt x="5" y="83"/>
                  <a:pt x="8" y="82"/>
                  <a:pt x="11" y="82"/>
                </a:cubicBezTo>
                <a:cubicBezTo>
                  <a:pt x="37" y="82"/>
                  <a:pt x="37" y="82"/>
                  <a:pt x="37" y="82"/>
                </a:cubicBezTo>
                <a:cubicBezTo>
                  <a:pt x="37" y="73"/>
                  <a:pt x="37" y="73"/>
                  <a:pt x="37" y="73"/>
                </a:cubicBezTo>
                <a:lnTo>
                  <a:pt x="11" y="73"/>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85" name="Freeform 61"/>
          <p:cNvSpPr>
            <a:spLocks/>
          </p:cNvSpPr>
          <p:nvPr userDrawn="1"/>
        </p:nvSpPr>
        <p:spPr bwMode="auto">
          <a:xfrm>
            <a:off x="3121442" y="4500563"/>
            <a:ext cx="75029" cy="97631"/>
          </a:xfrm>
          <a:custGeom>
            <a:avLst/>
            <a:gdLst/>
            <a:ahLst/>
            <a:cxnLst>
              <a:cxn ang="0">
                <a:pos x="66" y="52"/>
              </a:cxn>
              <a:cxn ang="0">
                <a:pos x="81" y="63"/>
              </a:cxn>
              <a:cxn ang="0">
                <a:pos x="87" y="80"/>
              </a:cxn>
              <a:cxn ang="0">
                <a:pos x="75" y="104"/>
              </a:cxn>
              <a:cxn ang="0">
                <a:pos x="42" y="113"/>
              </a:cxn>
              <a:cxn ang="0">
                <a:pos x="24" y="111"/>
              </a:cxn>
              <a:cxn ang="0">
                <a:pos x="11" y="105"/>
              </a:cxn>
              <a:cxn ang="0">
                <a:pos x="3" y="97"/>
              </a:cxn>
              <a:cxn ang="0">
                <a:pos x="0" y="88"/>
              </a:cxn>
              <a:cxn ang="0">
                <a:pos x="2" y="81"/>
              </a:cxn>
              <a:cxn ang="0">
                <a:pos x="7" y="77"/>
              </a:cxn>
              <a:cxn ang="0">
                <a:pos x="12" y="76"/>
              </a:cxn>
              <a:cxn ang="0">
                <a:pos x="15" y="76"/>
              </a:cxn>
              <a:cxn ang="0">
                <a:pos x="24" y="89"/>
              </a:cxn>
              <a:cxn ang="0">
                <a:pos x="41" y="94"/>
              </a:cxn>
              <a:cxn ang="0">
                <a:pos x="57" y="90"/>
              </a:cxn>
              <a:cxn ang="0">
                <a:pos x="63" y="78"/>
              </a:cxn>
              <a:cxn ang="0">
                <a:pos x="44" y="63"/>
              </a:cxn>
              <a:cxn ang="0">
                <a:pos x="38" y="63"/>
              </a:cxn>
              <a:cxn ang="0">
                <a:pos x="29" y="61"/>
              </a:cxn>
              <a:cxn ang="0">
                <a:pos x="26" y="55"/>
              </a:cxn>
              <a:cxn ang="0">
                <a:pos x="26" y="54"/>
              </a:cxn>
              <a:cxn ang="0">
                <a:pos x="38" y="45"/>
              </a:cxn>
              <a:cxn ang="0">
                <a:pos x="46" y="45"/>
              </a:cxn>
              <a:cxn ang="0">
                <a:pos x="57" y="42"/>
              </a:cxn>
              <a:cxn ang="0">
                <a:pos x="61" y="33"/>
              </a:cxn>
              <a:cxn ang="0">
                <a:pos x="56" y="22"/>
              </a:cxn>
              <a:cxn ang="0">
                <a:pos x="41" y="19"/>
              </a:cxn>
              <a:cxn ang="0">
                <a:pos x="32" y="20"/>
              </a:cxn>
              <a:cxn ang="0">
                <a:pos x="25" y="24"/>
              </a:cxn>
              <a:cxn ang="0">
                <a:pos x="20" y="28"/>
              </a:cxn>
              <a:cxn ang="0">
                <a:pos x="17" y="34"/>
              </a:cxn>
              <a:cxn ang="0">
                <a:pos x="15" y="35"/>
              </a:cxn>
              <a:cxn ang="0">
                <a:pos x="10" y="33"/>
              </a:cxn>
              <a:cxn ang="0">
                <a:pos x="5" y="30"/>
              </a:cxn>
              <a:cxn ang="0">
                <a:pos x="3" y="23"/>
              </a:cxn>
              <a:cxn ang="0">
                <a:pos x="5" y="14"/>
              </a:cxn>
              <a:cxn ang="0">
                <a:pos x="13" y="7"/>
              </a:cxn>
              <a:cxn ang="0">
                <a:pos x="25" y="2"/>
              </a:cxn>
              <a:cxn ang="0">
                <a:pos x="42" y="0"/>
              </a:cxn>
              <a:cxn ang="0">
                <a:pos x="74" y="7"/>
              </a:cxn>
              <a:cxn ang="0">
                <a:pos x="85" y="29"/>
              </a:cxn>
              <a:cxn ang="0">
                <a:pos x="66" y="52"/>
              </a:cxn>
            </a:cxnLst>
            <a:rect l="0" t="0" r="r" b="b"/>
            <a:pathLst>
              <a:path w="87" h="113">
                <a:moveTo>
                  <a:pt x="66" y="52"/>
                </a:moveTo>
                <a:cubicBezTo>
                  <a:pt x="73" y="54"/>
                  <a:pt x="78" y="58"/>
                  <a:pt x="81" y="63"/>
                </a:cubicBezTo>
                <a:cubicBezTo>
                  <a:pt x="85" y="68"/>
                  <a:pt x="87" y="73"/>
                  <a:pt x="87" y="80"/>
                </a:cubicBezTo>
                <a:cubicBezTo>
                  <a:pt x="87" y="90"/>
                  <a:pt x="83" y="99"/>
                  <a:pt x="75" y="104"/>
                </a:cubicBezTo>
                <a:cubicBezTo>
                  <a:pt x="67" y="110"/>
                  <a:pt x="56" y="113"/>
                  <a:pt x="42" y="113"/>
                </a:cubicBezTo>
                <a:cubicBezTo>
                  <a:pt x="35" y="113"/>
                  <a:pt x="29" y="112"/>
                  <a:pt x="24" y="111"/>
                </a:cubicBezTo>
                <a:cubicBezTo>
                  <a:pt x="19" y="109"/>
                  <a:pt x="14" y="107"/>
                  <a:pt x="11" y="105"/>
                </a:cubicBezTo>
                <a:cubicBezTo>
                  <a:pt x="7" y="103"/>
                  <a:pt x="5" y="100"/>
                  <a:pt x="3" y="97"/>
                </a:cubicBezTo>
                <a:cubicBezTo>
                  <a:pt x="1" y="94"/>
                  <a:pt x="0" y="91"/>
                  <a:pt x="0" y="88"/>
                </a:cubicBezTo>
                <a:cubicBezTo>
                  <a:pt x="0" y="85"/>
                  <a:pt x="1" y="83"/>
                  <a:pt x="2" y="81"/>
                </a:cubicBezTo>
                <a:cubicBezTo>
                  <a:pt x="4" y="79"/>
                  <a:pt x="5" y="78"/>
                  <a:pt x="7" y="77"/>
                </a:cubicBezTo>
                <a:cubicBezTo>
                  <a:pt x="9" y="77"/>
                  <a:pt x="11" y="76"/>
                  <a:pt x="12" y="76"/>
                </a:cubicBezTo>
                <a:cubicBezTo>
                  <a:pt x="14" y="76"/>
                  <a:pt x="15" y="76"/>
                  <a:pt x="15" y="76"/>
                </a:cubicBezTo>
                <a:cubicBezTo>
                  <a:pt x="16" y="82"/>
                  <a:pt x="20" y="86"/>
                  <a:pt x="24" y="89"/>
                </a:cubicBezTo>
                <a:cubicBezTo>
                  <a:pt x="29" y="92"/>
                  <a:pt x="35" y="94"/>
                  <a:pt x="41" y="94"/>
                </a:cubicBezTo>
                <a:cubicBezTo>
                  <a:pt x="48" y="94"/>
                  <a:pt x="53" y="92"/>
                  <a:pt x="57" y="90"/>
                </a:cubicBezTo>
                <a:cubicBezTo>
                  <a:pt x="61" y="87"/>
                  <a:pt x="63" y="83"/>
                  <a:pt x="63" y="78"/>
                </a:cubicBezTo>
                <a:cubicBezTo>
                  <a:pt x="63" y="68"/>
                  <a:pt x="57" y="63"/>
                  <a:pt x="44" y="63"/>
                </a:cubicBezTo>
                <a:cubicBezTo>
                  <a:pt x="38" y="63"/>
                  <a:pt x="38" y="63"/>
                  <a:pt x="38" y="63"/>
                </a:cubicBezTo>
                <a:cubicBezTo>
                  <a:pt x="34" y="63"/>
                  <a:pt x="31" y="63"/>
                  <a:pt x="29" y="61"/>
                </a:cubicBezTo>
                <a:cubicBezTo>
                  <a:pt x="27" y="60"/>
                  <a:pt x="26" y="58"/>
                  <a:pt x="26" y="55"/>
                </a:cubicBezTo>
                <a:cubicBezTo>
                  <a:pt x="26" y="54"/>
                  <a:pt x="26" y="54"/>
                  <a:pt x="26" y="54"/>
                </a:cubicBezTo>
                <a:cubicBezTo>
                  <a:pt x="26" y="48"/>
                  <a:pt x="30" y="45"/>
                  <a:pt x="38" y="45"/>
                </a:cubicBezTo>
                <a:cubicBezTo>
                  <a:pt x="46" y="45"/>
                  <a:pt x="46" y="45"/>
                  <a:pt x="46" y="45"/>
                </a:cubicBezTo>
                <a:cubicBezTo>
                  <a:pt x="51" y="45"/>
                  <a:pt x="55" y="44"/>
                  <a:pt x="57" y="42"/>
                </a:cubicBezTo>
                <a:cubicBezTo>
                  <a:pt x="60" y="40"/>
                  <a:pt x="61" y="36"/>
                  <a:pt x="61" y="33"/>
                </a:cubicBezTo>
                <a:cubicBezTo>
                  <a:pt x="61" y="28"/>
                  <a:pt x="59" y="25"/>
                  <a:pt x="56" y="22"/>
                </a:cubicBezTo>
                <a:cubicBezTo>
                  <a:pt x="52" y="20"/>
                  <a:pt x="48" y="19"/>
                  <a:pt x="41" y="19"/>
                </a:cubicBezTo>
                <a:cubicBezTo>
                  <a:pt x="38" y="19"/>
                  <a:pt x="35" y="19"/>
                  <a:pt x="32" y="20"/>
                </a:cubicBezTo>
                <a:cubicBezTo>
                  <a:pt x="29" y="21"/>
                  <a:pt x="27" y="22"/>
                  <a:pt x="25" y="24"/>
                </a:cubicBezTo>
                <a:cubicBezTo>
                  <a:pt x="23" y="25"/>
                  <a:pt x="21" y="27"/>
                  <a:pt x="20" y="28"/>
                </a:cubicBezTo>
                <a:cubicBezTo>
                  <a:pt x="19" y="30"/>
                  <a:pt x="18" y="32"/>
                  <a:pt x="17" y="34"/>
                </a:cubicBezTo>
                <a:cubicBezTo>
                  <a:pt x="17" y="35"/>
                  <a:pt x="16" y="35"/>
                  <a:pt x="15" y="35"/>
                </a:cubicBezTo>
                <a:cubicBezTo>
                  <a:pt x="13" y="35"/>
                  <a:pt x="11" y="34"/>
                  <a:pt x="10" y="33"/>
                </a:cubicBezTo>
                <a:cubicBezTo>
                  <a:pt x="8" y="33"/>
                  <a:pt x="6" y="32"/>
                  <a:pt x="5" y="30"/>
                </a:cubicBezTo>
                <a:cubicBezTo>
                  <a:pt x="3" y="28"/>
                  <a:pt x="3" y="26"/>
                  <a:pt x="3" y="23"/>
                </a:cubicBezTo>
                <a:cubicBezTo>
                  <a:pt x="3" y="20"/>
                  <a:pt x="4" y="17"/>
                  <a:pt x="5" y="14"/>
                </a:cubicBezTo>
                <a:cubicBezTo>
                  <a:pt x="7" y="12"/>
                  <a:pt x="10" y="9"/>
                  <a:pt x="13" y="7"/>
                </a:cubicBezTo>
                <a:cubicBezTo>
                  <a:pt x="17" y="5"/>
                  <a:pt x="21" y="3"/>
                  <a:pt x="25" y="2"/>
                </a:cubicBezTo>
                <a:cubicBezTo>
                  <a:pt x="30" y="0"/>
                  <a:pt x="36" y="0"/>
                  <a:pt x="42" y="0"/>
                </a:cubicBezTo>
                <a:cubicBezTo>
                  <a:pt x="56" y="0"/>
                  <a:pt x="66" y="2"/>
                  <a:pt x="74" y="7"/>
                </a:cubicBezTo>
                <a:cubicBezTo>
                  <a:pt x="81" y="12"/>
                  <a:pt x="85" y="20"/>
                  <a:pt x="85" y="29"/>
                </a:cubicBezTo>
                <a:cubicBezTo>
                  <a:pt x="85" y="41"/>
                  <a:pt x="78" y="48"/>
                  <a:pt x="66" y="5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89" name="Freeform 65"/>
          <p:cNvSpPr>
            <a:spLocks noEditPoints="1"/>
          </p:cNvSpPr>
          <p:nvPr userDrawn="1"/>
        </p:nvSpPr>
        <p:spPr bwMode="auto">
          <a:xfrm>
            <a:off x="3342955" y="4501754"/>
            <a:ext cx="82175" cy="95250"/>
          </a:xfrm>
          <a:custGeom>
            <a:avLst/>
            <a:gdLst/>
            <a:ahLst/>
            <a:cxnLst>
              <a:cxn ang="0">
                <a:pos x="86" y="64"/>
              </a:cxn>
              <a:cxn ang="0">
                <a:pos x="94" y="66"/>
              </a:cxn>
              <a:cxn ang="0">
                <a:pos x="96" y="73"/>
              </a:cxn>
              <a:cxn ang="0">
                <a:pos x="96" y="74"/>
              </a:cxn>
              <a:cxn ang="0">
                <a:pos x="94" y="81"/>
              </a:cxn>
              <a:cxn ang="0">
                <a:pos x="86" y="83"/>
              </a:cxn>
              <a:cxn ang="0">
                <a:pos x="77" y="83"/>
              </a:cxn>
              <a:cxn ang="0">
                <a:pos x="77" y="100"/>
              </a:cxn>
              <a:cxn ang="0">
                <a:pos x="67" y="111"/>
              </a:cxn>
              <a:cxn ang="0">
                <a:pos x="64" y="111"/>
              </a:cxn>
              <a:cxn ang="0">
                <a:pos x="57" y="108"/>
              </a:cxn>
              <a:cxn ang="0">
                <a:pos x="55" y="100"/>
              </a:cxn>
              <a:cxn ang="0">
                <a:pos x="55" y="83"/>
              </a:cxn>
              <a:cxn ang="0">
                <a:pos x="14" y="83"/>
              </a:cxn>
              <a:cxn ang="0">
                <a:pos x="4" y="80"/>
              </a:cxn>
              <a:cxn ang="0">
                <a:pos x="0" y="73"/>
              </a:cxn>
              <a:cxn ang="0">
                <a:pos x="0" y="68"/>
              </a:cxn>
              <a:cxn ang="0">
                <a:pos x="2" y="62"/>
              </a:cxn>
              <a:cxn ang="0">
                <a:pos x="6" y="55"/>
              </a:cxn>
              <a:cxn ang="0">
                <a:pos x="39" y="9"/>
              </a:cxn>
              <a:cxn ang="0">
                <a:pos x="42" y="4"/>
              </a:cxn>
              <a:cxn ang="0">
                <a:pos x="46" y="2"/>
              </a:cxn>
              <a:cxn ang="0">
                <a:pos x="52" y="0"/>
              </a:cxn>
              <a:cxn ang="0">
                <a:pos x="59" y="0"/>
              </a:cxn>
              <a:cxn ang="0">
                <a:pos x="73" y="3"/>
              </a:cxn>
              <a:cxn ang="0">
                <a:pos x="77" y="16"/>
              </a:cxn>
              <a:cxn ang="0">
                <a:pos x="77" y="64"/>
              </a:cxn>
              <a:cxn ang="0">
                <a:pos x="86" y="64"/>
              </a:cxn>
              <a:cxn ang="0">
                <a:pos x="56" y="65"/>
              </a:cxn>
              <a:cxn ang="0">
                <a:pos x="56" y="18"/>
              </a:cxn>
              <a:cxn ang="0">
                <a:pos x="22" y="65"/>
              </a:cxn>
              <a:cxn ang="0">
                <a:pos x="56" y="65"/>
              </a:cxn>
            </a:cxnLst>
            <a:rect l="0" t="0" r="r" b="b"/>
            <a:pathLst>
              <a:path w="96" h="111">
                <a:moveTo>
                  <a:pt x="86" y="64"/>
                </a:moveTo>
                <a:cubicBezTo>
                  <a:pt x="90" y="64"/>
                  <a:pt x="92" y="65"/>
                  <a:pt x="94" y="66"/>
                </a:cubicBezTo>
                <a:cubicBezTo>
                  <a:pt x="95" y="68"/>
                  <a:pt x="96" y="70"/>
                  <a:pt x="96" y="73"/>
                </a:cubicBezTo>
                <a:cubicBezTo>
                  <a:pt x="96" y="74"/>
                  <a:pt x="96" y="74"/>
                  <a:pt x="96" y="74"/>
                </a:cubicBezTo>
                <a:cubicBezTo>
                  <a:pt x="96" y="77"/>
                  <a:pt x="95" y="80"/>
                  <a:pt x="94" y="81"/>
                </a:cubicBezTo>
                <a:cubicBezTo>
                  <a:pt x="92" y="83"/>
                  <a:pt x="90" y="83"/>
                  <a:pt x="86" y="83"/>
                </a:cubicBezTo>
                <a:cubicBezTo>
                  <a:pt x="77" y="83"/>
                  <a:pt x="77" y="83"/>
                  <a:pt x="77" y="83"/>
                </a:cubicBezTo>
                <a:cubicBezTo>
                  <a:pt x="77" y="100"/>
                  <a:pt x="77" y="100"/>
                  <a:pt x="77" y="100"/>
                </a:cubicBezTo>
                <a:cubicBezTo>
                  <a:pt x="77" y="107"/>
                  <a:pt x="74" y="111"/>
                  <a:pt x="67" y="111"/>
                </a:cubicBezTo>
                <a:cubicBezTo>
                  <a:pt x="64" y="111"/>
                  <a:pt x="64" y="111"/>
                  <a:pt x="64" y="111"/>
                </a:cubicBezTo>
                <a:cubicBezTo>
                  <a:pt x="61" y="111"/>
                  <a:pt x="59" y="110"/>
                  <a:pt x="57" y="108"/>
                </a:cubicBezTo>
                <a:cubicBezTo>
                  <a:pt x="55" y="106"/>
                  <a:pt x="55" y="103"/>
                  <a:pt x="55" y="100"/>
                </a:cubicBezTo>
                <a:cubicBezTo>
                  <a:pt x="55" y="83"/>
                  <a:pt x="55" y="83"/>
                  <a:pt x="55" y="83"/>
                </a:cubicBezTo>
                <a:cubicBezTo>
                  <a:pt x="14" y="83"/>
                  <a:pt x="14" y="83"/>
                  <a:pt x="14" y="83"/>
                </a:cubicBezTo>
                <a:cubicBezTo>
                  <a:pt x="10" y="83"/>
                  <a:pt x="7" y="82"/>
                  <a:pt x="4" y="80"/>
                </a:cubicBezTo>
                <a:cubicBezTo>
                  <a:pt x="2" y="78"/>
                  <a:pt x="0" y="76"/>
                  <a:pt x="0" y="73"/>
                </a:cubicBezTo>
                <a:cubicBezTo>
                  <a:pt x="0" y="68"/>
                  <a:pt x="0" y="68"/>
                  <a:pt x="0" y="68"/>
                </a:cubicBezTo>
                <a:cubicBezTo>
                  <a:pt x="0" y="66"/>
                  <a:pt x="1" y="64"/>
                  <a:pt x="2" y="62"/>
                </a:cubicBezTo>
                <a:cubicBezTo>
                  <a:pt x="2" y="60"/>
                  <a:pt x="4" y="58"/>
                  <a:pt x="6" y="55"/>
                </a:cubicBezTo>
                <a:cubicBezTo>
                  <a:pt x="39" y="9"/>
                  <a:pt x="39" y="9"/>
                  <a:pt x="39" y="9"/>
                </a:cubicBezTo>
                <a:cubicBezTo>
                  <a:pt x="40" y="7"/>
                  <a:pt x="41" y="6"/>
                  <a:pt x="42" y="4"/>
                </a:cubicBezTo>
                <a:cubicBezTo>
                  <a:pt x="44" y="3"/>
                  <a:pt x="45" y="2"/>
                  <a:pt x="46" y="2"/>
                </a:cubicBezTo>
                <a:cubicBezTo>
                  <a:pt x="48" y="1"/>
                  <a:pt x="50" y="0"/>
                  <a:pt x="52" y="0"/>
                </a:cubicBezTo>
                <a:cubicBezTo>
                  <a:pt x="54" y="0"/>
                  <a:pt x="56" y="0"/>
                  <a:pt x="59" y="0"/>
                </a:cubicBezTo>
                <a:cubicBezTo>
                  <a:pt x="66" y="0"/>
                  <a:pt x="70" y="1"/>
                  <a:pt x="73" y="3"/>
                </a:cubicBezTo>
                <a:cubicBezTo>
                  <a:pt x="76" y="6"/>
                  <a:pt x="77" y="10"/>
                  <a:pt x="77" y="16"/>
                </a:cubicBezTo>
                <a:cubicBezTo>
                  <a:pt x="77" y="64"/>
                  <a:pt x="77" y="64"/>
                  <a:pt x="77" y="64"/>
                </a:cubicBezTo>
                <a:lnTo>
                  <a:pt x="86" y="64"/>
                </a:lnTo>
                <a:close/>
                <a:moveTo>
                  <a:pt x="56" y="65"/>
                </a:moveTo>
                <a:cubicBezTo>
                  <a:pt x="56" y="18"/>
                  <a:pt x="56" y="18"/>
                  <a:pt x="56" y="18"/>
                </a:cubicBezTo>
                <a:cubicBezTo>
                  <a:pt x="22" y="65"/>
                  <a:pt x="22" y="65"/>
                  <a:pt x="22" y="65"/>
                </a:cubicBezTo>
                <a:lnTo>
                  <a:pt x="56" y="65"/>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93" name="Freeform 69"/>
          <p:cNvSpPr>
            <a:spLocks/>
          </p:cNvSpPr>
          <p:nvPr userDrawn="1"/>
        </p:nvSpPr>
        <p:spPr bwMode="auto">
          <a:xfrm>
            <a:off x="3573997" y="4501754"/>
            <a:ext cx="72647" cy="95250"/>
          </a:xfrm>
          <a:custGeom>
            <a:avLst/>
            <a:gdLst/>
            <a:ahLst/>
            <a:cxnLst>
              <a:cxn ang="0">
                <a:pos x="34" y="41"/>
              </a:cxn>
              <a:cxn ang="0">
                <a:pos x="45" y="40"/>
              </a:cxn>
              <a:cxn ang="0">
                <a:pos x="61" y="43"/>
              </a:cxn>
              <a:cxn ang="0">
                <a:pos x="74" y="50"/>
              </a:cxn>
              <a:cxn ang="0">
                <a:pos x="82" y="60"/>
              </a:cxn>
              <a:cxn ang="0">
                <a:pos x="85" y="75"/>
              </a:cxn>
              <a:cxn ang="0">
                <a:pos x="82" y="90"/>
              </a:cxn>
              <a:cxn ang="0">
                <a:pos x="73" y="101"/>
              </a:cxn>
              <a:cxn ang="0">
                <a:pos x="59" y="108"/>
              </a:cxn>
              <a:cxn ang="0">
                <a:pos x="40" y="111"/>
              </a:cxn>
              <a:cxn ang="0">
                <a:pos x="23" y="109"/>
              </a:cxn>
              <a:cxn ang="0">
                <a:pos x="11" y="104"/>
              </a:cxn>
              <a:cxn ang="0">
                <a:pos x="3" y="97"/>
              </a:cxn>
              <a:cxn ang="0">
                <a:pos x="0" y="90"/>
              </a:cxn>
              <a:cxn ang="0">
                <a:pos x="1" y="85"/>
              </a:cxn>
              <a:cxn ang="0">
                <a:pos x="5" y="81"/>
              </a:cxn>
              <a:cxn ang="0">
                <a:pos x="8" y="78"/>
              </a:cxn>
              <a:cxn ang="0">
                <a:pos x="10" y="78"/>
              </a:cxn>
              <a:cxn ang="0">
                <a:pos x="23" y="89"/>
              </a:cxn>
              <a:cxn ang="0">
                <a:pos x="40" y="93"/>
              </a:cxn>
              <a:cxn ang="0">
                <a:pos x="57" y="88"/>
              </a:cxn>
              <a:cxn ang="0">
                <a:pos x="63" y="75"/>
              </a:cxn>
              <a:cxn ang="0">
                <a:pos x="57" y="62"/>
              </a:cxn>
              <a:cxn ang="0">
                <a:pos x="41" y="57"/>
              </a:cxn>
              <a:cxn ang="0">
                <a:pos x="28" y="59"/>
              </a:cxn>
              <a:cxn ang="0">
                <a:pos x="18" y="64"/>
              </a:cxn>
              <a:cxn ang="0">
                <a:pos x="7" y="60"/>
              </a:cxn>
              <a:cxn ang="0">
                <a:pos x="4" y="50"/>
              </a:cxn>
              <a:cxn ang="0">
                <a:pos x="4" y="14"/>
              </a:cxn>
              <a:cxn ang="0">
                <a:pos x="7" y="3"/>
              </a:cxn>
              <a:cxn ang="0">
                <a:pos x="16" y="0"/>
              </a:cxn>
              <a:cxn ang="0">
                <a:pos x="69" y="0"/>
              </a:cxn>
              <a:cxn ang="0">
                <a:pos x="80" y="10"/>
              </a:cxn>
              <a:cxn ang="0">
                <a:pos x="80" y="10"/>
              </a:cxn>
              <a:cxn ang="0">
                <a:pos x="69" y="20"/>
              </a:cxn>
              <a:cxn ang="0">
                <a:pos x="25" y="20"/>
              </a:cxn>
              <a:cxn ang="0">
                <a:pos x="25" y="44"/>
              </a:cxn>
              <a:cxn ang="0">
                <a:pos x="34" y="41"/>
              </a:cxn>
            </a:cxnLst>
            <a:rect l="0" t="0" r="r" b="b"/>
            <a:pathLst>
              <a:path w="85" h="111">
                <a:moveTo>
                  <a:pt x="34" y="41"/>
                </a:moveTo>
                <a:cubicBezTo>
                  <a:pt x="37" y="41"/>
                  <a:pt x="41" y="40"/>
                  <a:pt x="45" y="40"/>
                </a:cubicBezTo>
                <a:cubicBezTo>
                  <a:pt x="51" y="40"/>
                  <a:pt x="56" y="41"/>
                  <a:pt x="61" y="43"/>
                </a:cubicBezTo>
                <a:cubicBezTo>
                  <a:pt x="66" y="44"/>
                  <a:pt x="70" y="47"/>
                  <a:pt x="74" y="50"/>
                </a:cubicBezTo>
                <a:cubicBezTo>
                  <a:pt x="77" y="53"/>
                  <a:pt x="80" y="56"/>
                  <a:pt x="82" y="60"/>
                </a:cubicBezTo>
                <a:cubicBezTo>
                  <a:pt x="84" y="65"/>
                  <a:pt x="85" y="69"/>
                  <a:pt x="85" y="75"/>
                </a:cubicBezTo>
                <a:cubicBezTo>
                  <a:pt x="85" y="80"/>
                  <a:pt x="84" y="85"/>
                  <a:pt x="82" y="90"/>
                </a:cubicBezTo>
                <a:cubicBezTo>
                  <a:pt x="80" y="94"/>
                  <a:pt x="77" y="98"/>
                  <a:pt x="73" y="101"/>
                </a:cubicBezTo>
                <a:cubicBezTo>
                  <a:pt x="69" y="104"/>
                  <a:pt x="64" y="107"/>
                  <a:pt x="59" y="108"/>
                </a:cubicBezTo>
                <a:cubicBezTo>
                  <a:pt x="53" y="110"/>
                  <a:pt x="47" y="111"/>
                  <a:pt x="40" y="111"/>
                </a:cubicBezTo>
                <a:cubicBezTo>
                  <a:pt x="34" y="111"/>
                  <a:pt x="28" y="110"/>
                  <a:pt x="23" y="109"/>
                </a:cubicBezTo>
                <a:cubicBezTo>
                  <a:pt x="18" y="108"/>
                  <a:pt x="14" y="106"/>
                  <a:pt x="11" y="104"/>
                </a:cubicBezTo>
                <a:cubicBezTo>
                  <a:pt x="7" y="102"/>
                  <a:pt x="5" y="100"/>
                  <a:pt x="3" y="97"/>
                </a:cubicBezTo>
                <a:cubicBezTo>
                  <a:pt x="1" y="95"/>
                  <a:pt x="0" y="92"/>
                  <a:pt x="0" y="90"/>
                </a:cubicBezTo>
                <a:cubicBezTo>
                  <a:pt x="0" y="88"/>
                  <a:pt x="0" y="86"/>
                  <a:pt x="1" y="85"/>
                </a:cubicBezTo>
                <a:cubicBezTo>
                  <a:pt x="2" y="83"/>
                  <a:pt x="4" y="82"/>
                  <a:pt x="5" y="81"/>
                </a:cubicBezTo>
                <a:cubicBezTo>
                  <a:pt x="6" y="80"/>
                  <a:pt x="7" y="79"/>
                  <a:pt x="8" y="78"/>
                </a:cubicBezTo>
                <a:cubicBezTo>
                  <a:pt x="9" y="78"/>
                  <a:pt x="10" y="78"/>
                  <a:pt x="10" y="78"/>
                </a:cubicBezTo>
                <a:cubicBezTo>
                  <a:pt x="13" y="83"/>
                  <a:pt x="18" y="86"/>
                  <a:pt x="23" y="89"/>
                </a:cubicBezTo>
                <a:cubicBezTo>
                  <a:pt x="28" y="91"/>
                  <a:pt x="34" y="93"/>
                  <a:pt x="40" y="93"/>
                </a:cubicBezTo>
                <a:cubicBezTo>
                  <a:pt x="47" y="93"/>
                  <a:pt x="53" y="91"/>
                  <a:pt x="57" y="88"/>
                </a:cubicBezTo>
                <a:cubicBezTo>
                  <a:pt x="61" y="85"/>
                  <a:pt x="63" y="80"/>
                  <a:pt x="63" y="75"/>
                </a:cubicBezTo>
                <a:cubicBezTo>
                  <a:pt x="63" y="69"/>
                  <a:pt x="61" y="65"/>
                  <a:pt x="57" y="62"/>
                </a:cubicBezTo>
                <a:cubicBezTo>
                  <a:pt x="53" y="59"/>
                  <a:pt x="48" y="57"/>
                  <a:pt x="41" y="57"/>
                </a:cubicBezTo>
                <a:cubicBezTo>
                  <a:pt x="36" y="57"/>
                  <a:pt x="31" y="58"/>
                  <a:pt x="28" y="59"/>
                </a:cubicBezTo>
                <a:cubicBezTo>
                  <a:pt x="24" y="61"/>
                  <a:pt x="21" y="62"/>
                  <a:pt x="18" y="64"/>
                </a:cubicBezTo>
                <a:cubicBezTo>
                  <a:pt x="14" y="64"/>
                  <a:pt x="10" y="63"/>
                  <a:pt x="7" y="60"/>
                </a:cubicBezTo>
                <a:cubicBezTo>
                  <a:pt x="5" y="58"/>
                  <a:pt x="4" y="55"/>
                  <a:pt x="4" y="50"/>
                </a:cubicBezTo>
                <a:cubicBezTo>
                  <a:pt x="4" y="14"/>
                  <a:pt x="4" y="14"/>
                  <a:pt x="4" y="14"/>
                </a:cubicBezTo>
                <a:cubicBezTo>
                  <a:pt x="4" y="9"/>
                  <a:pt x="5" y="6"/>
                  <a:pt x="7" y="3"/>
                </a:cubicBezTo>
                <a:cubicBezTo>
                  <a:pt x="9" y="1"/>
                  <a:pt x="12" y="0"/>
                  <a:pt x="16" y="0"/>
                </a:cubicBezTo>
                <a:cubicBezTo>
                  <a:pt x="69" y="0"/>
                  <a:pt x="69" y="0"/>
                  <a:pt x="69" y="0"/>
                </a:cubicBezTo>
                <a:cubicBezTo>
                  <a:pt x="76" y="0"/>
                  <a:pt x="80" y="3"/>
                  <a:pt x="80" y="10"/>
                </a:cubicBezTo>
                <a:cubicBezTo>
                  <a:pt x="80" y="10"/>
                  <a:pt x="80" y="10"/>
                  <a:pt x="80" y="10"/>
                </a:cubicBezTo>
                <a:cubicBezTo>
                  <a:pt x="80" y="17"/>
                  <a:pt x="76" y="20"/>
                  <a:pt x="69" y="20"/>
                </a:cubicBezTo>
                <a:cubicBezTo>
                  <a:pt x="25" y="20"/>
                  <a:pt x="25" y="20"/>
                  <a:pt x="25" y="20"/>
                </a:cubicBezTo>
                <a:cubicBezTo>
                  <a:pt x="25" y="44"/>
                  <a:pt x="25" y="44"/>
                  <a:pt x="25" y="44"/>
                </a:cubicBezTo>
                <a:cubicBezTo>
                  <a:pt x="28" y="43"/>
                  <a:pt x="31" y="42"/>
                  <a:pt x="34" y="4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97" name="Freeform 73"/>
          <p:cNvSpPr>
            <a:spLocks noEditPoints="1"/>
          </p:cNvSpPr>
          <p:nvPr userDrawn="1"/>
        </p:nvSpPr>
        <p:spPr bwMode="auto">
          <a:xfrm>
            <a:off x="3796701" y="4500563"/>
            <a:ext cx="77411" cy="97631"/>
          </a:xfrm>
          <a:custGeom>
            <a:avLst/>
            <a:gdLst/>
            <a:ahLst/>
            <a:cxnLst>
              <a:cxn ang="0">
                <a:pos x="37" y="45"/>
              </a:cxn>
              <a:cxn ang="0">
                <a:pos x="54" y="41"/>
              </a:cxn>
              <a:cxn ang="0">
                <a:pos x="69" y="44"/>
              </a:cxn>
              <a:cxn ang="0">
                <a:pos x="81" y="50"/>
              </a:cxn>
              <a:cxn ang="0">
                <a:pos x="88" y="60"/>
              </a:cxn>
              <a:cxn ang="0">
                <a:pos x="91" y="74"/>
              </a:cxn>
              <a:cxn ang="0">
                <a:pos x="91" y="75"/>
              </a:cxn>
              <a:cxn ang="0">
                <a:pos x="87" y="90"/>
              </a:cxn>
              <a:cxn ang="0">
                <a:pos x="78" y="102"/>
              </a:cxn>
              <a:cxn ang="0">
                <a:pos x="65" y="110"/>
              </a:cxn>
              <a:cxn ang="0">
                <a:pos x="47" y="113"/>
              </a:cxn>
              <a:cxn ang="0">
                <a:pos x="27" y="109"/>
              </a:cxn>
              <a:cxn ang="0">
                <a:pos x="13" y="99"/>
              </a:cxn>
              <a:cxn ang="0">
                <a:pos x="3" y="83"/>
              </a:cxn>
              <a:cxn ang="0">
                <a:pos x="0" y="62"/>
              </a:cxn>
              <a:cxn ang="0">
                <a:pos x="0" y="52"/>
              </a:cxn>
              <a:cxn ang="0">
                <a:pos x="4" y="30"/>
              </a:cxn>
              <a:cxn ang="0">
                <a:pos x="13" y="14"/>
              </a:cxn>
              <a:cxn ang="0">
                <a:pos x="29" y="3"/>
              </a:cxn>
              <a:cxn ang="0">
                <a:pos x="49" y="0"/>
              </a:cxn>
              <a:cxn ang="0">
                <a:pos x="65" y="1"/>
              </a:cxn>
              <a:cxn ang="0">
                <a:pos x="77" y="6"/>
              </a:cxn>
              <a:cxn ang="0">
                <a:pos x="84" y="13"/>
              </a:cxn>
              <a:cxn ang="0">
                <a:pos x="86" y="21"/>
              </a:cxn>
              <a:cxn ang="0">
                <a:pos x="84" y="27"/>
              </a:cxn>
              <a:cxn ang="0">
                <a:pos x="80" y="30"/>
              </a:cxn>
              <a:cxn ang="0">
                <a:pos x="76" y="32"/>
              </a:cxn>
              <a:cxn ang="0">
                <a:pos x="74" y="32"/>
              </a:cxn>
              <a:cxn ang="0">
                <a:pos x="65" y="23"/>
              </a:cxn>
              <a:cxn ang="0">
                <a:pos x="51" y="19"/>
              </a:cxn>
              <a:cxn ang="0">
                <a:pos x="25" y="51"/>
              </a:cxn>
              <a:cxn ang="0">
                <a:pos x="25" y="52"/>
              </a:cxn>
              <a:cxn ang="0">
                <a:pos x="37" y="45"/>
              </a:cxn>
              <a:cxn ang="0">
                <a:pos x="25" y="68"/>
              </a:cxn>
              <a:cxn ang="0">
                <a:pos x="31" y="87"/>
              </a:cxn>
              <a:cxn ang="0">
                <a:pos x="47" y="94"/>
              </a:cxn>
              <a:cxn ang="0">
                <a:pos x="61" y="89"/>
              </a:cxn>
              <a:cxn ang="0">
                <a:pos x="67" y="77"/>
              </a:cxn>
              <a:cxn ang="0">
                <a:pos x="67" y="76"/>
              </a:cxn>
              <a:cxn ang="0">
                <a:pos x="62" y="63"/>
              </a:cxn>
              <a:cxn ang="0">
                <a:pos x="47" y="59"/>
              </a:cxn>
              <a:cxn ang="0">
                <a:pos x="35" y="61"/>
              </a:cxn>
              <a:cxn ang="0">
                <a:pos x="25" y="68"/>
              </a:cxn>
            </a:cxnLst>
            <a:rect l="0" t="0" r="r" b="b"/>
            <a:pathLst>
              <a:path w="91" h="113">
                <a:moveTo>
                  <a:pt x="37" y="45"/>
                </a:moveTo>
                <a:cubicBezTo>
                  <a:pt x="42" y="43"/>
                  <a:pt x="48" y="41"/>
                  <a:pt x="54" y="41"/>
                </a:cubicBezTo>
                <a:cubicBezTo>
                  <a:pt x="60" y="41"/>
                  <a:pt x="65" y="42"/>
                  <a:pt x="69" y="44"/>
                </a:cubicBezTo>
                <a:cubicBezTo>
                  <a:pt x="73" y="45"/>
                  <a:pt x="77" y="47"/>
                  <a:pt x="81" y="50"/>
                </a:cubicBezTo>
                <a:cubicBezTo>
                  <a:pt x="84" y="53"/>
                  <a:pt x="86" y="56"/>
                  <a:pt x="88" y="60"/>
                </a:cubicBezTo>
                <a:cubicBezTo>
                  <a:pt x="90" y="64"/>
                  <a:pt x="91" y="69"/>
                  <a:pt x="91" y="74"/>
                </a:cubicBezTo>
                <a:cubicBezTo>
                  <a:pt x="91" y="75"/>
                  <a:pt x="91" y="75"/>
                  <a:pt x="91" y="75"/>
                </a:cubicBezTo>
                <a:cubicBezTo>
                  <a:pt x="91" y="81"/>
                  <a:pt x="89" y="86"/>
                  <a:pt x="87" y="90"/>
                </a:cubicBezTo>
                <a:cubicBezTo>
                  <a:pt x="85" y="95"/>
                  <a:pt x="82" y="99"/>
                  <a:pt x="78" y="102"/>
                </a:cubicBezTo>
                <a:cubicBezTo>
                  <a:pt x="75" y="106"/>
                  <a:pt x="70" y="108"/>
                  <a:pt x="65" y="110"/>
                </a:cubicBezTo>
                <a:cubicBezTo>
                  <a:pt x="60" y="112"/>
                  <a:pt x="54" y="113"/>
                  <a:pt x="47" y="113"/>
                </a:cubicBezTo>
                <a:cubicBezTo>
                  <a:pt x="40" y="113"/>
                  <a:pt x="33" y="112"/>
                  <a:pt x="27" y="109"/>
                </a:cubicBezTo>
                <a:cubicBezTo>
                  <a:pt x="22" y="107"/>
                  <a:pt x="17" y="103"/>
                  <a:pt x="13" y="99"/>
                </a:cubicBezTo>
                <a:cubicBezTo>
                  <a:pt x="9" y="94"/>
                  <a:pt x="5" y="89"/>
                  <a:pt x="3" y="83"/>
                </a:cubicBezTo>
                <a:cubicBezTo>
                  <a:pt x="1" y="77"/>
                  <a:pt x="0" y="70"/>
                  <a:pt x="0" y="62"/>
                </a:cubicBezTo>
                <a:cubicBezTo>
                  <a:pt x="0" y="52"/>
                  <a:pt x="0" y="52"/>
                  <a:pt x="0" y="52"/>
                </a:cubicBezTo>
                <a:cubicBezTo>
                  <a:pt x="0" y="44"/>
                  <a:pt x="1" y="37"/>
                  <a:pt x="4" y="30"/>
                </a:cubicBezTo>
                <a:cubicBezTo>
                  <a:pt x="6" y="24"/>
                  <a:pt x="9" y="18"/>
                  <a:pt x="13" y="14"/>
                </a:cubicBezTo>
                <a:cubicBezTo>
                  <a:pt x="18" y="9"/>
                  <a:pt x="23" y="6"/>
                  <a:pt x="29" y="3"/>
                </a:cubicBezTo>
                <a:cubicBezTo>
                  <a:pt x="35" y="1"/>
                  <a:pt x="42" y="0"/>
                  <a:pt x="49" y="0"/>
                </a:cubicBezTo>
                <a:cubicBezTo>
                  <a:pt x="55" y="0"/>
                  <a:pt x="61" y="0"/>
                  <a:pt x="65" y="1"/>
                </a:cubicBezTo>
                <a:cubicBezTo>
                  <a:pt x="70" y="3"/>
                  <a:pt x="74" y="4"/>
                  <a:pt x="77" y="6"/>
                </a:cubicBezTo>
                <a:cubicBezTo>
                  <a:pt x="80" y="8"/>
                  <a:pt x="82" y="10"/>
                  <a:pt x="84" y="13"/>
                </a:cubicBezTo>
                <a:cubicBezTo>
                  <a:pt x="85" y="15"/>
                  <a:pt x="86" y="18"/>
                  <a:pt x="86" y="21"/>
                </a:cubicBezTo>
                <a:cubicBezTo>
                  <a:pt x="86" y="23"/>
                  <a:pt x="86" y="25"/>
                  <a:pt x="84" y="27"/>
                </a:cubicBezTo>
                <a:cubicBezTo>
                  <a:pt x="83" y="28"/>
                  <a:pt x="82" y="29"/>
                  <a:pt x="80" y="30"/>
                </a:cubicBezTo>
                <a:cubicBezTo>
                  <a:pt x="79" y="31"/>
                  <a:pt x="77" y="31"/>
                  <a:pt x="76" y="32"/>
                </a:cubicBezTo>
                <a:cubicBezTo>
                  <a:pt x="75" y="32"/>
                  <a:pt x="74" y="32"/>
                  <a:pt x="74" y="32"/>
                </a:cubicBezTo>
                <a:cubicBezTo>
                  <a:pt x="72" y="28"/>
                  <a:pt x="69" y="26"/>
                  <a:pt x="65" y="23"/>
                </a:cubicBezTo>
                <a:cubicBezTo>
                  <a:pt x="62" y="21"/>
                  <a:pt x="57" y="19"/>
                  <a:pt x="51" y="19"/>
                </a:cubicBezTo>
                <a:cubicBezTo>
                  <a:pt x="33" y="19"/>
                  <a:pt x="25" y="30"/>
                  <a:pt x="25" y="51"/>
                </a:cubicBezTo>
                <a:cubicBezTo>
                  <a:pt x="25" y="52"/>
                  <a:pt x="25" y="52"/>
                  <a:pt x="25" y="52"/>
                </a:cubicBezTo>
                <a:cubicBezTo>
                  <a:pt x="28" y="49"/>
                  <a:pt x="32" y="47"/>
                  <a:pt x="37" y="45"/>
                </a:cubicBezTo>
                <a:close/>
                <a:moveTo>
                  <a:pt x="25" y="68"/>
                </a:moveTo>
                <a:cubicBezTo>
                  <a:pt x="26" y="76"/>
                  <a:pt x="28" y="83"/>
                  <a:pt x="31" y="87"/>
                </a:cubicBezTo>
                <a:cubicBezTo>
                  <a:pt x="35" y="92"/>
                  <a:pt x="40" y="94"/>
                  <a:pt x="47" y="94"/>
                </a:cubicBezTo>
                <a:cubicBezTo>
                  <a:pt x="53" y="94"/>
                  <a:pt x="57" y="93"/>
                  <a:pt x="61" y="89"/>
                </a:cubicBezTo>
                <a:cubicBezTo>
                  <a:pt x="65" y="86"/>
                  <a:pt x="67" y="82"/>
                  <a:pt x="67" y="77"/>
                </a:cubicBezTo>
                <a:cubicBezTo>
                  <a:pt x="67" y="76"/>
                  <a:pt x="67" y="76"/>
                  <a:pt x="67" y="76"/>
                </a:cubicBezTo>
                <a:cubicBezTo>
                  <a:pt x="67" y="70"/>
                  <a:pt x="65" y="66"/>
                  <a:pt x="62" y="63"/>
                </a:cubicBezTo>
                <a:cubicBezTo>
                  <a:pt x="58" y="60"/>
                  <a:pt x="53" y="59"/>
                  <a:pt x="47" y="59"/>
                </a:cubicBezTo>
                <a:cubicBezTo>
                  <a:pt x="43" y="59"/>
                  <a:pt x="39" y="60"/>
                  <a:pt x="35" y="61"/>
                </a:cubicBezTo>
                <a:cubicBezTo>
                  <a:pt x="31" y="63"/>
                  <a:pt x="28" y="65"/>
                  <a:pt x="25" y="6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01" name="Freeform 77"/>
          <p:cNvSpPr>
            <a:spLocks/>
          </p:cNvSpPr>
          <p:nvPr userDrawn="1"/>
        </p:nvSpPr>
        <p:spPr bwMode="auto">
          <a:xfrm>
            <a:off x="4025361" y="4501754"/>
            <a:ext cx="71456" cy="94059"/>
          </a:xfrm>
          <a:custGeom>
            <a:avLst/>
            <a:gdLst/>
            <a:ahLst/>
            <a:cxnLst>
              <a:cxn ang="0">
                <a:pos x="58" y="21"/>
              </a:cxn>
              <a:cxn ang="0">
                <a:pos x="11" y="21"/>
              </a:cxn>
              <a:cxn ang="0">
                <a:pos x="2" y="19"/>
              </a:cxn>
              <a:cxn ang="0">
                <a:pos x="0" y="11"/>
              </a:cxn>
              <a:cxn ang="0">
                <a:pos x="0" y="10"/>
              </a:cxn>
              <a:cxn ang="0">
                <a:pos x="2" y="3"/>
              </a:cxn>
              <a:cxn ang="0">
                <a:pos x="11" y="0"/>
              </a:cxn>
              <a:cxn ang="0">
                <a:pos x="69" y="0"/>
              </a:cxn>
              <a:cxn ang="0">
                <a:pos x="77" y="1"/>
              </a:cxn>
              <a:cxn ang="0">
                <a:pos x="82" y="4"/>
              </a:cxn>
              <a:cxn ang="0">
                <a:pos x="84" y="8"/>
              </a:cxn>
              <a:cxn ang="0">
                <a:pos x="85" y="13"/>
              </a:cxn>
              <a:cxn ang="0">
                <a:pos x="85" y="14"/>
              </a:cxn>
              <a:cxn ang="0">
                <a:pos x="82" y="24"/>
              </a:cxn>
              <a:cxn ang="0">
                <a:pos x="78" y="33"/>
              </a:cxn>
              <a:cxn ang="0">
                <a:pos x="40" y="102"/>
              </a:cxn>
              <a:cxn ang="0">
                <a:pos x="34" y="108"/>
              </a:cxn>
              <a:cxn ang="0">
                <a:pos x="27" y="110"/>
              </a:cxn>
              <a:cxn ang="0">
                <a:pos x="21" y="109"/>
              </a:cxn>
              <a:cxn ang="0">
                <a:pos x="17" y="107"/>
              </a:cxn>
              <a:cxn ang="0">
                <a:pos x="14" y="104"/>
              </a:cxn>
              <a:cxn ang="0">
                <a:pos x="13" y="101"/>
              </a:cxn>
              <a:cxn ang="0">
                <a:pos x="58" y="21"/>
              </a:cxn>
            </a:cxnLst>
            <a:rect l="0" t="0" r="r" b="b"/>
            <a:pathLst>
              <a:path w="85" h="110">
                <a:moveTo>
                  <a:pt x="58" y="21"/>
                </a:moveTo>
                <a:cubicBezTo>
                  <a:pt x="11" y="21"/>
                  <a:pt x="11" y="21"/>
                  <a:pt x="11" y="21"/>
                </a:cubicBezTo>
                <a:cubicBezTo>
                  <a:pt x="7" y="21"/>
                  <a:pt x="4" y="20"/>
                  <a:pt x="2" y="19"/>
                </a:cubicBezTo>
                <a:cubicBezTo>
                  <a:pt x="1" y="17"/>
                  <a:pt x="0" y="15"/>
                  <a:pt x="0" y="11"/>
                </a:cubicBezTo>
                <a:cubicBezTo>
                  <a:pt x="0" y="10"/>
                  <a:pt x="0" y="10"/>
                  <a:pt x="0" y="10"/>
                </a:cubicBezTo>
                <a:cubicBezTo>
                  <a:pt x="0" y="7"/>
                  <a:pt x="1" y="4"/>
                  <a:pt x="2" y="3"/>
                </a:cubicBezTo>
                <a:cubicBezTo>
                  <a:pt x="4" y="1"/>
                  <a:pt x="7" y="0"/>
                  <a:pt x="11" y="0"/>
                </a:cubicBezTo>
                <a:cubicBezTo>
                  <a:pt x="69" y="0"/>
                  <a:pt x="69" y="0"/>
                  <a:pt x="69" y="0"/>
                </a:cubicBezTo>
                <a:cubicBezTo>
                  <a:pt x="72" y="0"/>
                  <a:pt x="75" y="1"/>
                  <a:pt x="77" y="1"/>
                </a:cubicBezTo>
                <a:cubicBezTo>
                  <a:pt x="79" y="2"/>
                  <a:pt x="81" y="3"/>
                  <a:pt x="82" y="4"/>
                </a:cubicBezTo>
                <a:cubicBezTo>
                  <a:pt x="83" y="5"/>
                  <a:pt x="84" y="7"/>
                  <a:pt x="84" y="8"/>
                </a:cubicBezTo>
                <a:cubicBezTo>
                  <a:pt x="85" y="10"/>
                  <a:pt x="85" y="11"/>
                  <a:pt x="85" y="13"/>
                </a:cubicBezTo>
                <a:cubicBezTo>
                  <a:pt x="85" y="14"/>
                  <a:pt x="85" y="14"/>
                  <a:pt x="85" y="14"/>
                </a:cubicBezTo>
                <a:cubicBezTo>
                  <a:pt x="85" y="17"/>
                  <a:pt x="84" y="20"/>
                  <a:pt x="82" y="24"/>
                </a:cubicBezTo>
                <a:cubicBezTo>
                  <a:pt x="81" y="27"/>
                  <a:pt x="79" y="30"/>
                  <a:pt x="78" y="33"/>
                </a:cubicBezTo>
                <a:cubicBezTo>
                  <a:pt x="40" y="102"/>
                  <a:pt x="40" y="102"/>
                  <a:pt x="40" y="102"/>
                </a:cubicBezTo>
                <a:cubicBezTo>
                  <a:pt x="38" y="105"/>
                  <a:pt x="36" y="107"/>
                  <a:pt x="34" y="108"/>
                </a:cubicBezTo>
                <a:cubicBezTo>
                  <a:pt x="31" y="110"/>
                  <a:pt x="29" y="110"/>
                  <a:pt x="27" y="110"/>
                </a:cubicBezTo>
                <a:cubicBezTo>
                  <a:pt x="25" y="110"/>
                  <a:pt x="23" y="110"/>
                  <a:pt x="21" y="109"/>
                </a:cubicBezTo>
                <a:cubicBezTo>
                  <a:pt x="19" y="108"/>
                  <a:pt x="18" y="108"/>
                  <a:pt x="17" y="107"/>
                </a:cubicBezTo>
                <a:cubicBezTo>
                  <a:pt x="15" y="106"/>
                  <a:pt x="14" y="105"/>
                  <a:pt x="14" y="104"/>
                </a:cubicBezTo>
                <a:cubicBezTo>
                  <a:pt x="13" y="103"/>
                  <a:pt x="13" y="102"/>
                  <a:pt x="13" y="101"/>
                </a:cubicBezTo>
                <a:lnTo>
                  <a:pt x="58" y="21"/>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05" name="Freeform 81"/>
          <p:cNvSpPr>
            <a:spLocks noEditPoints="1"/>
          </p:cNvSpPr>
          <p:nvPr userDrawn="1"/>
        </p:nvSpPr>
        <p:spPr bwMode="auto">
          <a:xfrm>
            <a:off x="4248066" y="4500563"/>
            <a:ext cx="77411" cy="97631"/>
          </a:xfrm>
          <a:custGeom>
            <a:avLst/>
            <a:gdLst/>
            <a:ahLst/>
            <a:cxnLst>
              <a:cxn ang="0">
                <a:pos x="22" y="55"/>
              </a:cxn>
              <a:cxn ang="0">
                <a:pos x="8" y="46"/>
              </a:cxn>
              <a:cxn ang="0">
                <a:pos x="3" y="31"/>
              </a:cxn>
              <a:cxn ang="0">
                <a:pos x="6" y="18"/>
              </a:cxn>
              <a:cxn ang="0">
                <a:pos x="15" y="8"/>
              </a:cxn>
              <a:cxn ang="0">
                <a:pos x="28" y="2"/>
              </a:cxn>
              <a:cxn ang="0">
                <a:pos x="46" y="0"/>
              </a:cxn>
              <a:cxn ang="0">
                <a:pos x="63" y="2"/>
              </a:cxn>
              <a:cxn ang="0">
                <a:pos x="76" y="8"/>
              </a:cxn>
              <a:cxn ang="0">
                <a:pos x="84" y="18"/>
              </a:cxn>
              <a:cxn ang="0">
                <a:pos x="87" y="30"/>
              </a:cxn>
              <a:cxn ang="0">
                <a:pos x="83" y="45"/>
              </a:cxn>
              <a:cxn ang="0">
                <a:pos x="69" y="55"/>
              </a:cxn>
              <a:cxn ang="0">
                <a:pos x="85" y="65"/>
              </a:cxn>
              <a:cxn ang="0">
                <a:pos x="91" y="82"/>
              </a:cxn>
              <a:cxn ang="0">
                <a:pos x="88" y="94"/>
              </a:cxn>
              <a:cxn ang="0">
                <a:pos x="78" y="104"/>
              </a:cxn>
              <a:cxn ang="0">
                <a:pos x="64" y="111"/>
              </a:cxn>
              <a:cxn ang="0">
                <a:pos x="45" y="113"/>
              </a:cxn>
              <a:cxn ang="0">
                <a:pos x="12" y="105"/>
              </a:cxn>
              <a:cxn ang="0">
                <a:pos x="0" y="82"/>
              </a:cxn>
              <a:cxn ang="0">
                <a:pos x="5" y="65"/>
              </a:cxn>
              <a:cxn ang="0">
                <a:pos x="22" y="55"/>
              </a:cxn>
              <a:cxn ang="0">
                <a:pos x="45" y="95"/>
              </a:cxn>
              <a:cxn ang="0">
                <a:pos x="61" y="91"/>
              </a:cxn>
              <a:cxn ang="0">
                <a:pos x="67" y="79"/>
              </a:cxn>
              <a:cxn ang="0">
                <a:pos x="61" y="67"/>
              </a:cxn>
              <a:cxn ang="0">
                <a:pos x="45" y="63"/>
              </a:cxn>
              <a:cxn ang="0">
                <a:pos x="30" y="67"/>
              </a:cxn>
              <a:cxn ang="0">
                <a:pos x="24" y="79"/>
              </a:cxn>
              <a:cxn ang="0">
                <a:pos x="30" y="91"/>
              </a:cxn>
              <a:cxn ang="0">
                <a:pos x="45" y="95"/>
              </a:cxn>
              <a:cxn ang="0">
                <a:pos x="45" y="48"/>
              </a:cxn>
              <a:cxn ang="0">
                <a:pos x="59" y="44"/>
              </a:cxn>
              <a:cxn ang="0">
                <a:pos x="64" y="33"/>
              </a:cxn>
              <a:cxn ang="0">
                <a:pos x="59" y="22"/>
              </a:cxn>
              <a:cxn ang="0">
                <a:pos x="45" y="18"/>
              </a:cxn>
              <a:cxn ang="0">
                <a:pos x="31" y="22"/>
              </a:cxn>
              <a:cxn ang="0">
                <a:pos x="26" y="33"/>
              </a:cxn>
              <a:cxn ang="0">
                <a:pos x="32" y="43"/>
              </a:cxn>
              <a:cxn ang="0">
                <a:pos x="45" y="48"/>
              </a:cxn>
            </a:cxnLst>
            <a:rect l="0" t="0" r="r" b="b"/>
            <a:pathLst>
              <a:path w="91" h="113">
                <a:moveTo>
                  <a:pt x="22" y="55"/>
                </a:moveTo>
                <a:cubicBezTo>
                  <a:pt x="15" y="53"/>
                  <a:pt x="11" y="50"/>
                  <a:pt x="8" y="46"/>
                </a:cubicBezTo>
                <a:cubicBezTo>
                  <a:pt x="5" y="42"/>
                  <a:pt x="3" y="37"/>
                  <a:pt x="3" y="31"/>
                </a:cubicBezTo>
                <a:cubicBezTo>
                  <a:pt x="3" y="26"/>
                  <a:pt x="4" y="22"/>
                  <a:pt x="6" y="18"/>
                </a:cubicBezTo>
                <a:cubicBezTo>
                  <a:pt x="8" y="14"/>
                  <a:pt x="11" y="11"/>
                  <a:pt x="15" y="8"/>
                </a:cubicBezTo>
                <a:cubicBezTo>
                  <a:pt x="18" y="6"/>
                  <a:pt x="23" y="3"/>
                  <a:pt x="28" y="2"/>
                </a:cubicBezTo>
                <a:cubicBezTo>
                  <a:pt x="33" y="0"/>
                  <a:pt x="39" y="0"/>
                  <a:pt x="46" y="0"/>
                </a:cubicBezTo>
                <a:cubicBezTo>
                  <a:pt x="52" y="0"/>
                  <a:pt x="58" y="0"/>
                  <a:pt x="63" y="2"/>
                </a:cubicBezTo>
                <a:cubicBezTo>
                  <a:pt x="68" y="3"/>
                  <a:pt x="72" y="5"/>
                  <a:pt x="76" y="8"/>
                </a:cubicBezTo>
                <a:cubicBezTo>
                  <a:pt x="80" y="11"/>
                  <a:pt x="82" y="14"/>
                  <a:pt x="84" y="18"/>
                </a:cubicBezTo>
                <a:cubicBezTo>
                  <a:pt x="86" y="21"/>
                  <a:pt x="87" y="26"/>
                  <a:pt x="87" y="30"/>
                </a:cubicBezTo>
                <a:cubicBezTo>
                  <a:pt x="87" y="36"/>
                  <a:pt x="86" y="41"/>
                  <a:pt x="83" y="45"/>
                </a:cubicBezTo>
                <a:cubicBezTo>
                  <a:pt x="80" y="49"/>
                  <a:pt x="75" y="53"/>
                  <a:pt x="69" y="55"/>
                </a:cubicBezTo>
                <a:cubicBezTo>
                  <a:pt x="76" y="57"/>
                  <a:pt x="82" y="60"/>
                  <a:pt x="85" y="65"/>
                </a:cubicBezTo>
                <a:cubicBezTo>
                  <a:pt x="89" y="70"/>
                  <a:pt x="91" y="75"/>
                  <a:pt x="91" y="82"/>
                </a:cubicBezTo>
                <a:cubicBezTo>
                  <a:pt x="91" y="86"/>
                  <a:pt x="90" y="91"/>
                  <a:pt x="88" y="94"/>
                </a:cubicBezTo>
                <a:cubicBezTo>
                  <a:pt x="85" y="98"/>
                  <a:pt x="82" y="102"/>
                  <a:pt x="78" y="104"/>
                </a:cubicBezTo>
                <a:cubicBezTo>
                  <a:pt x="74" y="107"/>
                  <a:pt x="70" y="109"/>
                  <a:pt x="64" y="111"/>
                </a:cubicBezTo>
                <a:cubicBezTo>
                  <a:pt x="58" y="112"/>
                  <a:pt x="52" y="113"/>
                  <a:pt x="45" y="113"/>
                </a:cubicBezTo>
                <a:cubicBezTo>
                  <a:pt x="31" y="113"/>
                  <a:pt x="20" y="110"/>
                  <a:pt x="12" y="105"/>
                </a:cubicBezTo>
                <a:cubicBezTo>
                  <a:pt x="4" y="99"/>
                  <a:pt x="0" y="91"/>
                  <a:pt x="0" y="82"/>
                </a:cubicBezTo>
                <a:cubicBezTo>
                  <a:pt x="0" y="75"/>
                  <a:pt x="2" y="70"/>
                  <a:pt x="5" y="65"/>
                </a:cubicBezTo>
                <a:cubicBezTo>
                  <a:pt x="9" y="61"/>
                  <a:pt x="14" y="57"/>
                  <a:pt x="22" y="55"/>
                </a:cubicBezTo>
                <a:close/>
                <a:moveTo>
                  <a:pt x="45" y="95"/>
                </a:moveTo>
                <a:cubicBezTo>
                  <a:pt x="52" y="95"/>
                  <a:pt x="58" y="94"/>
                  <a:pt x="61" y="91"/>
                </a:cubicBezTo>
                <a:cubicBezTo>
                  <a:pt x="65" y="88"/>
                  <a:pt x="67" y="84"/>
                  <a:pt x="67" y="79"/>
                </a:cubicBezTo>
                <a:cubicBezTo>
                  <a:pt x="67" y="74"/>
                  <a:pt x="65" y="70"/>
                  <a:pt x="61" y="67"/>
                </a:cubicBezTo>
                <a:cubicBezTo>
                  <a:pt x="57" y="65"/>
                  <a:pt x="52" y="63"/>
                  <a:pt x="45" y="63"/>
                </a:cubicBezTo>
                <a:cubicBezTo>
                  <a:pt x="39" y="63"/>
                  <a:pt x="33" y="65"/>
                  <a:pt x="30" y="67"/>
                </a:cubicBezTo>
                <a:cubicBezTo>
                  <a:pt x="26" y="70"/>
                  <a:pt x="24" y="74"/>
                  <a:pt x="24" y="79"/>
                </a:cubicBezTo>
                <a:cubicBezTo>
                  <a:pt x="24" y="84"/>
                  <a:pt x="26" y="88"/>
                  <a:pt x="30" y="91"/>
                </a:cubicBezTo>
                <a:cubicBezTo>
                  <a:pt x="33" y="94"/>
                  <a:pt x="39" y="95"/>
                  <a:pt x="45" y="95"/>
                </a:cubicBezTo>
                <a:close/>
                <a:moveTo>
                  <a:pt x="45" y="48"/>
                </a:moveTo>
                <a:cubicBezTo>
                  <a:pt x="51" y="48"/>
                  <a:pt x="56" y="46"/>
                  <a:pt x="59" y="44"/>
                </a:cubicBezTo>
                <a:cubicBezTo>
                  <a:pt x="63" y="41"/>
                  <a:pt x="64" y="37"/>
                  <a:pt x="64" y="33"/>
                </a:cubicBezTo>
                <a:cubicBezTo>
                  <a:pt x="64" y="28"/>
                  <a:pt x="63" y="25"/>
                  <a:pt x="59" y="22"/>
                </a:cubicBezTo>
                <a:cubicBezTo>
                  <a:pt x="56" y="19"/>
                  <a:pt x="51" y="18"/>
                  <a:pt x="45" y="18"/>
                </a:cubicBezTo>
                <a:cubicBezTo>
                  <a:pt x="39" y="18"/>
                  <a:pt x="35" y="19"/>
                  <a:pt x="31" y="22"/>
                </a:cubicBezTo>
                <a:cubicBezTo>
                  <a:pt x="28" y="25"/>
                  <a:pt x="26" y="28"/>
                  <a:pt x="26" y="33"/>
                </a:cubicBezTo>
                <a:cubicBezTo>
                  <a:pt x="26" y="37"/>
                  <a:pt x="28" y="41"/>
                  <a:pt x="32" y="43"/>
                </a:cubicBezTo>
                <a:cubicBezTo>
                  <a:pt x="35" y="46"/>
                  <a:pt x="40" y="48"/>
                  <a:pt x="45" y="4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09" name="Freeform 85"/>
          <p:cNvSpPr>
            <a:spLocks noEditPoints="1"/>
          </p:cNvSpPr>
          <p:nvPr userDrawn="1"/>
        </p:nvSpPr>
        <p:spPr bwMode="auto">
          <a:xfrm>
            <a:off x="4473152" y="4500563"/>
            <a:ext cx="77411" cy="97631"/>
          </a:xfrm>
          <a:custGeom>
            <a:avLst/>
            <a:gdLst/>
            <a:ahLst/>
            <a:cxnLst>
              <a:cxn ang="0">
                <a:pos x="54" y="69"/>
              </a:cxn>
              <a:cxn ang="0">
                <a:pos x="37" y="72"/>
              </a:cxn>
              <a:cxn ang="0">
                <a:pos x="22" y="70"/>
              </a:cxn>
              <a:cxn ang="0">
                <a:pos x="10" y="63"/>
              </a:cxn>
              <a:cxn ang="0">
                <a:pos x="3" y="53"/>
              </a:cxn>
              <a:cxn ang="0">
                <a:pos x="0" y="39"/>
              </a:cxn>
              <a:cxn ang="0">
                <a:pos x="0" y="38"/>
              </a:cxn>
              <a:cxn ang="0">
                <a:pos x="3" y="23"/>
              </a:cxn>
              <a:cxn ang="0">
                <a:pos x="12" y="11"/>
              </a:cxn>
              <a:cxn ang="0">
                <a:pos x="26" y="3"/>
              </a:cxn>
              <a:cxn ang="0">
                <a:pos x="43" y="0"/>
              </a:cxn>
              <a:cxn ang="0">
                <a:pos x="63" y="3"/>
              </a:cxn>
              <a:cxn ang="0">
                <a:pos x="78" y="13"/>
              </a:cxn>
              <a:cxn ang="0">
                <a:pos x="87" y="29"/>
              </a:cxn>
              <a:cxn ang="0">
                <a:pos x="90" y="51"/>
              </a:cxn>
              <a:cxn ang="0">
                <a:pos x="90" y="61"/>
              </a:cxn>
              <a:cxn ang="0">
                <a:pos x="78" y="100"/>
              </a:cxn>
              <a:cxn ang="0">
                <a:pos x="41" y="113"/>
              </a:cxn>
              <a:cxn ang="0">
                <a:pos x="25" y="111"/>
              </a:cxn>
              <a:cxn ang="0">
                <a:pos x="13" y="107"/>
              </a:cxn>
              <a:cxn ang="0">
                <a:pos x="6" y="101"/>
              </a:cxn>
              <a:cxn ang="0">
                <a:pos x="4" y="94"/>
              </a:cxn>
              <a:cxn ang="0">
                <a:pos x="5" y="88"/>
              </a:cxn>
              <a:cxn ang="0">
                <a:pos x="8" y="84"/>
              </a:cxn>
              <a:cxn ang="0">
                <a:pos x="11" y="82"/>
              </a:cxn>
              <a:cxn ang="0">
                <a:pos x="13" y="82"/>
              </a:cxn>
              <a:cxn ang="0">
                <a:pos x="24" y="90"/>
              </a:cxn>
              <a:cxn ang="0">
                <a:pos x="39" y="93"/>
              </a:cxn>
              <a:cxn ang="0">
                <a:pos x="60" y="86"/>
              </a:cxn>
              <a:cxn ang="0">
                <a:pos x="66" y="62"/>
              </a:cxn>
              <a:cxn ang="0">
                <a:pos x="66" y="61"/>
              </a:cxn>
              <a:cxn ang="0">
                <a:pos x="54" y="69"/>
              </a:cxn>
              <a:cxn ang="0">
                <a:pos x="66" y="45"/>
              </a:cxn>
              <a:cxn ang="0">
                <a:pos x="60" y="25"/>
              </a:cxn>
              <a:cxn ang="0">
                <a:pos x="44" y="18"/>
              </a:cxn>
              <a:cxn ang="0">
                <a:pos x="30" y="24"/>
              </a:cxn>
              <a:cxn ang="0">
                <a:pos x="24" y="37"/>
              </a:cxn>
              <a:cxn ang="0">
                <a:pos x="24" y="37"/>
              </a:cxn>
              <a:cxn ang="0">
                <a:pos x="29" y="50"/>
              </a:cxn>
              <a:cxn ang="0">
                <a:pos x="44" y="54"/>
              </a:cxn>
              <a:cxn ang="0">
                <a:pos x="56" y="52"/>
              </a:cxn>
              <a:cxn ang="0">
                <a:pos x="66" y="45"/>
              </a:cxn>
            </a:cxnLst>
            <a:rect l="0" t="0" r="r" b="b"/>
            <a:pathLst>
              <a:path w="90" h="113">
                <a:moveTo>
                  <a:pt x="54" y="69"/>
                </a:moveTo>
                <a:cubicBezTo>
                  <a:pt x="49" y="71"/>
                  <a:pt x="43" y="72"/>
                  <a:pt x="37" y="72"/>
                </a:cubicBezTo>
                <a:cubicBezTo>
                  <a:pt x="31" y="72"/>
                  <a:pt x="26" y="71"/>
                  <a:pt x="22" y="70"/>
                </a:cubicBezTo>
                <a:cubicBezTo>
                  <a:pt x="17" y="68"/>
                  <a:pt x="13" y="66"/>
                  <a:pt x="10" y="63"/>
                </a:cubicBezTo>
                <a:cubicBezTo>
                  <a:pt x="7" y="61"/>
                  <a:pt x="5" y="57"/>
                  <a:pt x="3" y="53"/>
                </a:cubicBezTo>
                <a:cubicBezTo>
                  <a:pt x="1" y="49"/>
                  <a:pt x="0" y="44"/>
                  <a:pt x="0" y="39"/>
                </a:cubicBezTo>
                <a:cubicBezTo>
                  <a:pt x="0" y="38"/>
                  <a:pt x="0" y="38"/>
                  <a:pt x="0" y="38"/>
                </a:cubicBezTo>
                <a:cubicBezTo>
                  <a:pt x="0" y="33"/>
                  <a:pt x="1" y="28"/>
                  <a:pt x="3" y="23"/>
                </a:cubicBezTo>
                <a:cubicBezTo>
                  <a:pt x="6" y="18"/>
                  <a:pt x="8" y="14"/>
                  <a:pt x="12" y="11"/>
                </a:cubicBezTo>
                <a:cubicBezTo>
                  <a:pt x="16" y="7"/>
                  <a:pt x="21" y="5"/>
                  <a:pt x="26" y="3"/>
                </a:cubicBezTo>
                <a:cubicBezTo>
                  <a:pt x="31" y="1"/>
                  <a:pt x="37" y="0"/>
                  <a:pt x="43" y="0"/>
                </a:cubicBezTo>
                <a:cubicBezTo>
                  <a:pt x="51" y="0"/>
                  <a:pt x="57" y="1"/>
                  <a:pt x="63" y="3"/>
                </a:cubicBezTo>
                <a:cubicBezTo>
                  <a:pt x="69" y="6"/>
                  <a:pt x="74" y="9"/>
                  <a:pt x="78" y="13"/>
                </a:cubicBezTo>
                <a:cubicBezTo>
                  <a:pt x="82" y="18"/>
                  <a:pt x="85" y="23"/>
                  <a:pt x="87" y="29"/>
                </a:cubicBezTo>
                <a:cubicBezTo>
                  <a:pt x="89" y="36"/>
                  <a:pt x="90" y="43"/>
                  <a:pt x="90" y="51"/>
                </a:cubicBezTo>
                <a:cubicBezTo>
                  <a:pt x="90" y="61"/>
                  <a:pt x="90" y="61"/>
                  <a:pt x="90" y="61"/>
                </a:cubicBezTo>
                <a:cubicBezTo>
                  <a:pt x="90" y="78"/>
                  <a:pt x="86" y="91"/>
                  <a:pt x="78" y="100"/>
                </a:cubicBezTo>
                <a:cubicBezTo>
                  <a:pt x="69" y="109"/>
                  <a:pt x="57" y="113"/>
                  <a:pt x="41" y="113"/>
                </a:cubicBezTo>
                <a:cubicBezTo>
                  <a:pt x="35" y="113"/>
                  <a:pt x="29" y="113"/>
                  <a:pt x="25" y="111"/>
                </a:cubicBezTo>
                <a:cubicBezTo>
                  <a:pt x="20" y="110"/>
                  <a:pt x="16" y="109"/>
                  <a:pt x="13" y="107"/>
                </a:cubicBezTo>
                <a:cubicBezTo>
                  <a:pt x="10" y="105"/>
                  <a:pt x="8" y="103"/>
                  <a:pt x="6" y="101"/>
                </a:cubicBezTo>
                <a:cubicBezTo>
                  <a:pt x="5" y="99"/>
                  <a:pt x="4" y="96"/>
                  <a:pt x="4" y="94"/>
                </a:cubicBezTo>
                <a:cubicBezTo>
                  <a:pt x="4" y="92"/>
                  <a:pt x="5" y="90"/>
                  <a:pt x="5" y="88"/>
                </a:cubicBezTo>
                <a:cubicBezTo>
                  <a:pt x="6" y="86"/>
                  <a:pt x="7" y="85"/>
                  <a:pt x="8" y="84"/>
                </a:cubicBezTo>
                <a:cubicBezTo>
                  <a:pt x="9" y="83"/>
                  <a:pt x="10" y="83"/>
                  <a:pt x="11" y="82"/>
                </a:cubicBezTo>
                <a:cubicBezTo>
                  <a:pt x="12" y="82"/>
                  <a:pt x="13" y="82"/>
                  <a:pt x="13" y="82"/>
                </a:cubicBezTo>
                <a:cubicBezTo>
                  <a:pt x="16" y="85"/>
                  <a:pt x="19" y="88"/>
                  <a:pt x="24" y="90"/>
                </a:cubicBezTo>
                <a:cubicBezTo>
                  <a:pt x="28" y="92"/>
                  <a:pt x="33" y="93"/>
                  <a:pt x="39" y="93"/>
                </a:cubicBezTo>
                <a:cubicBezTo>
                  <a:pt x="48" y="93"/>
                  <a:pt x="55" y="91"/>
                  <a:pt x="60" y="86"/>
                </a:cubicBezTo>
                <a:cubicBezTo>
                  <a:pt x="64" y="81"/>
                  <a:pt x="66" y="73"/>
                  <a:pt x="66" y="62"/>
                </a:cubicBezTo>
                <a:cubicBezTo>
                  <a:pt x="66" y="61"/>
                  <a:pt x="66" y="61"/>
                  <a:pt x="66" y="61"/>
                </a:cubicBezTo>
                <a:cubicBezTo>
                  <a:pt x="63" y="64"/>
                  <a:pt x="59" y="66"/>
                  <a:pt x="54" y="69"/>
                </a:cubicBezTo>
                <a:close/>
                <a:moveTo>
                  <a:pt x="66" y="45"/>
                </a:moveTo>
                <a:cubicBezTo>
                  <a:pt x="65" y="37"/>
                  <a:pt x="63" y="30"/>
                  <a:pt x="60" y="25"/>
                </a:cubicBezTo>
                <a:cubicBezTo>
                  <a:pt x="56" y="21"/>
                  <a:pt x="51" y="18"/>
                  <a:pt x="44" y="18"/>
                </a:cubicBezTo>
                <a:cubicBezTo>
                  <a:pt x="38" y="18"/>
                  <a:pt x="33" y="20"/>
                  <a:pt x="30" y="24"/>
                </a:cubicBezTo>
                <a:cubicBezTo>
                  <a:pt x="26" y="27"/>
                  <a:pt x="24" y="32"/>
                  <a:pt x="24" y="37"/>
                </a:cubicBezTo>
                <a:cubicBezTo>
                  <a:pt x="24" y="37"/>
                  <a:pt x="24" y="37"/>
                  <a:pt x="24" y="37"/>
                </a:cubicBezTo>
                <a:cubicBezTo>
                  <a:pt x="24" y="43"/>
                  <a:pt x="26" y="47"/>
                  <a:pt x="29" y="50"/>
                </a:cubicBezTo>
                <a:cubicBezTo>
                  <a:pt x="32" y="53"/>
                  <a:pt x="37" y="54"/>
                  <a:pt x="44" y="54"/>
                </a:cubicBezTo>
                <a:cubicBezTo>
                  <a:pt x="48" y="54"/>
                  <a:pt x="52" y="54"/>
                  <a:pt x="56" y="52"/>
                </a:cubicBezTo>
                <a:cubicBezTo>
                  <a:pt x="59" y="50"/>
                  <a:pt x="63" y="48"/>
                  <a:pt x="66" y="4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13" name="Freeform 89"/>
          <p:cNvSpPr>
            <a:spLocks noEditPoints="1"/>
          </p:cNvSpPr>
          <p:nvPr userDrawn="1"/>
        </p:nvSpPr>
        <p:spPr bwMode="auto">
          <a:xfrm>
            <a:off x="4694667" y="4482703"/>
            <a:ext cx="88129" cy="120254"/>
          </a:xfrm>
          <a:custGeom>
            <a:avLst/>
            <a:gdLst/>
            <a:ahLst/>
            <a:cxnLst>
              <a:cxn ang="0">
                <a:pos x="67" y="132"/>
              </a:cxn>
              <a:cxn ang="0">
                <a:pos x="90" y="107"/>
              </a:cxn>
              <a:cxn ang="0">
                <a:pos x="95" y="102"/>
              </a:cxn>
              <a:cxn ang="0">
                <a:pos x="92" y="86"/>
              </a:cxn>
              <a:cxn ang="0">
                <a:pos x="74" y="90"/>
              </a:cxn>
              <a:cxn ang="0">
                <a:pos x="64" y="100"/>
              </a:cxn>
              <a:cxn ang="0">
                <a:pos x="64" y="14"/>
              </a:cxn>
              <a:cxn ang="0">
                <a:pos x="52" y="0"/>
              </a:cxn>
              <a:cxn ang="0">
                <a:pos x="50" y="0"/>
              </a:cxn>
              <a:cxn ang="0">
                <a:pos x="38" y="14"/>
              </a:cxn>
              <a:cxn ang="0">
                <a:pos x="38" y="100"/>
              </a:cxn>
              <a:cxn ang="0">
                <a:pos x="29" y="90"/>
              </a:cxn>
              <a:cxn ang="0">
                <a:pos x="11" y="86"/>
              </a:cxn>
              <a:cxn ang="0">
                <a:pos x="8" y="102"/>
              </a:cxn>
              <a:cxn ang="0">
                <a:pos x="12" y="108"/>
              </a:cxn>
              <a:cxn ang="0">
                <a:pos x="34" y="132"/>
              </a:cxn>
              <a:cxn ang="0">
                <a:pos x="41" y="138"/>
              </a:cxn>
              <a:cxn ang="0">
                <a:pos x="51" y="141"/>
              </a:cxn>
              <a:cxn ang="0">
                <a:pos x="61" y="138"/>
              </a:cxn>
              <a:cxn ang="0">
                <a:pos x="67" y="132"/>
              </a:cxn>
              <a:cxn ang="0">
                <a:pos x="51" y="141"/>
              </a:cxn>
              <a:cxn ang="0">
                <a:pos x="51" y="141"/>
              </a:cxn>
              <a:cxn ang="0">
                <a:pos x="51" y="141"/>
              </a:cxn>
              <a:cxn ang="0">
                <a:pos x="51" y="141"/>
              </a:cxn>
            </a:cxnLst>
            <a:rect l="0" t="0" r="r" b="b"/>
            <a:pathLst>
              <a:path w="103" h="141">
                <a:moveTo>
                  <a:pt x="67" y="132"/>
                </a:moveTo>
                <a:cubicBezTo>
                  <a:pt x="90" y="107"/>
                  <a:pt x="90" y="107"/>
                  <a:pt x="90" y="107"/>
                </a:cubicBezTo>
                <a:cubicBezTo>
                  <a:pt x="95" y="102"/>
                  <a:pt x="95" y="102"/>
                  <a:pt x="95" y="102"/>
                </a:cubicBezTo>
                <a:cubicBezTo>
                  <a:pt x="95" y="102"/>
                  <a:pt x="103" y="94"/>
                  <a:pt x="92" y="86"/>
                </a:cubicBezTo>
                <a:cubicBezTo>
                  <a:pt x="85" y="80"/>
                  <a:pt x="80" y="83"/>
                  <a:pt x="74" y="90"/>
                </a:cubicBezTo>
                <a:cubicBezTo>
                  <a:pt x="71" y="92"/>
                  <a:pt x="68" y="96"/>
                  <a:pt x="64" y="100"/>
                </a:cubicBezTo>
                <a:cubicBezTo>
                  <a:pt x="64" y="14"/>
                  <a:pt x="64" y="14"/>
                  <a:pt x="64" y="14"/>
                </a:cubicBezTo>
                <a:cubicBezTo>
                  <a:pt x="64" y="4"/>
                  <a:pt x="59" y="0"/>
                  <a:pt x="52" y="0"/>
                </a:cubicBezTo>
                <a:cubicBezTo>
                  <a:pt x="50" y="0"/>
                  <a:pt x="50" y="0"/>
                  <a:pt x="50" y="0"/>
                </a:cubicBezTo>
                <a:cubicBezTo>
                  <a:pt x="43" y="0"/>
                  <a:pt x="38" y="4"/>
                  <a:pt x="38" y="14"/>
                </a:cubicBezTo>
                <a:cubicBezTo>
                  <a:pt x="38" y="100"/>
                  <a:pt x="38" y="100"/>
                  <a:pt x="38" y="100"/>
                </a:cubicBezTo>
                <a:cubicBezTo>
                  <a:pt x="34" y="96"/>
                  <a:pt x="31" y="93"/>
                  <a:pt x="29" y="90"/>
                </a:cubicBezTo>
                <a:cubicBezTo>
                  <a:pt x="23" y="83"/>
                  <a:pt x="18" y="81"/>
                  <a:pt x="11" y="86"/>
                </a:cubicBezTo>
                <a:cubicBezTo>
                  <a:pt x="0" y="94"/>
                  <a:pt x="8" y="102"/>
                  <a:pt x="8" y="102"/>
                </a:cubicBezTo>
                <a:cubicBezTo>
                  <a:pt x="12" y="108"/>
                  <a:pt x="12" y="108"/>
                  <a:pt x="12" y="108"/>
                </a:cubicBezTo>
                <a:cubicBezTo>
                  <a:pt x="34" y="132"/>
                  <a:pt x="34" y="132"/>
                  <a:pt x="34" y="132"/>
                </a:cubicBezTo>
                <a:cubicBezTo>
                  <a:pt x="37" y="135"/>
                  <a:pt x="39" y="137"/>
                  <a:pt x="41" y="138"/>
                </a:cubicBezTo>
                <a:cubicBezTo>
                  <a:pt x="43" y="140"/>
                  <a:pt x="47" y="141"/>
                  <a:pt x="51" y="141"/>
                </a:cubicBezTo>
                <a:cubicBezTo>
                  <a:pt x="55" y="141"/>
                  <a:pt x="59" y="140"/>
                  <a:pt x="61" y="138"/>
                </a:cubicBezTo>
                <a:cubicBezTo>
                  <a:pt x="63" y="137"/>
                  <a:pt x="65" y="135"/>
                  <a:pt x="67" y="132"/>
                </a:cubicBezTo>
                <a:close/>
                <a:moveTo>
                  <a:pt x="51" y="141"/>
                </a:moveTo>
                <a:cubicBezTo>
                  <a:pt x="51" y="141"/>
                  <a:pt x="51" y="141"/>
                  <a:pt x="51" y="141"/>
                </a:cubicBezTo>
                <a:cubicBezTo>
                  <a:pt x="51" y="141"/>
                  <a:pt x="51" y="141"/>
                  <a:pt x="51" y="141"/>
                </a:cubicBezTo>
                <a:cubicBezTo>
                  <a:pt x="51" y="141"/>
                  <a:pt x="51" y="141"/>
                  <a:pt x="51" y="14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17" name="Freeform 93"/>
          <p:cNvSpPr>
            <a:spLocks/>
          </p:cNvSpPr>
          <p:nvPr userDrawn="1"/>
        </p:nvSpPr>
        <p:spPr bwMode="auto">
          <a:xfrm>
            <a:off x="4920945" y="4500563"/>
            <a:ext cx="84557" cy="97631"/>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21" name="Freeform 97"/>
          <p:cNvSpPr>
            <a:spLocks noEditPoints="1"/>
          </p:cNvSpPr>
          <p:nvPr userDrawn="1"/>
        </p:nvSpPr>
        <p:spPr bwMode="auto">
          <a:xfrm>
            <a:off x="5138886" y="4498181"/>
            <a:ext cx="98847" cy="101204"/>
          </a:xfrm>
          <a:custGeom>
            <a:avLst/>
            <a:gdLst/>
            <a:ahLst/>
            <a:cxnLst>
              <a:cxn ang="0">
                <a:pos x="80" y="74"/>
              </a:cxn>
              <a:cxn ang="0">
                <a:pos x="83" y="65"/>
              </a:cxn>
              <a:cxn ang="0">
                <a:pos x="87" y="55"/>
              </a:cxn>
              <a:cxn ang="0">
                <a:pos x="92" y="46"/>
              </a:cxn>
              <a:cxn ang="0">
                <a:pos x="100" y="43"/>
              </a:cxn>
              <a:cxn ang="0">
                <a:pos x="105" y="44"/>
              </a:cxn>
              <a:cxn ang="0">
                <a:pos x="108" y="47"/>
              </a:cxn>
              <a:cxn ang="0">
                <a:pos x="110" y="49"/>
              </a:cxn>
              <a:cxn ang="0">
                <a:pos x="111" y="50"/>
              </a:cxn>
              <a:cxn ang="0">
                <a:pos x="104" y="70"/>
              </a:cxn>
              <a:cxn ang="0">
                <a:pos x="94" y="87"/>
              </a:cxn>
              <a:cxn ang="0">
                <a:pos x="117" y="107"/>
              </a:cxn>
              <a:cxn ang="0">
                <a:pos x="117" y="108"/>
              </a:cxn>
              <a:cxn ang="0">
                <a:pos x="114" y="112"/>
              </a:cxn>
              <a:cxn ang="0">
                <a:pos x="110" y="116"/>
              </a:cxn>
              <a:cxn ang="0">
                <a:pos x="104" y="117"/>
              </a:cxn>
              <a:cxn ang="0">
                <a:pos x="97" y="116"/>
              </a:cxn>
              <a:cxn ang="0">
                <a:pos x="89" y="110"/>
              </a:cxn>
              <a:cxn ang="0">
                <a:pos x="81" y="102"/>
              </a:cxn>
              <a:cxn ang="0">
                <a:pos x="64" y="114"/>
              </a:cxn>
              <a:cxn ang="0">
                <a:pos x="42" y="118"/>
              </a:cxn>
              <a:cxn ang="0">
                <a:pos x="11" y="110"/>
              </a:cxn>
              <a:cxn ang="0">
                <a:pos x="0" y="84"/>
              </a:cxn>
              <a:cxn ang="0">
                <a:pos x="7" y="64"/>
              </a:cxn>
              <a:cxn ang="0">
                <a:pos x="26" y="52"/>
              </a:cxn>
              <a:cxn ang="0">
                <a:pos x="19" y="42"/>
              </a:cxn>
              <a:cxn ang="0">
                <a:pos x="16" y="30"/>
              </a:cxn>
              <a:cxn ang="0">
                <a:pos x="18" y="18"/>
              </a:cxn>
              <a:cxn ang="0">
                <a:pos x="25" y="9"/>
              </a:cxn>
              <a:cxn ang="0">
                <a:pos x="36" y="3"/>
              </a:cxn>
              <a:cxn ang="0">
                <a:pos x="51" y="0"/>
              </a:cxn>
              <a:cxn ang="0">
                <a:pos x="64" y="2"/>
              </a:cxn>
              <a:cxn ang="0">
                <a:pos x="74" y="8"/>
              </a:cxn>
              <a:cxn ang="0">
                <a:pos x="81" y="17"/>
              </a:cxn>
              <a:cxn ang="0">
                <a:pos x="83" y="28"/>
              </a:cxn>
              <a:cxn ang="0">
                <a:pos x="76" y="44"/>
              </a:cxn>
              <a:cxn ang="0">
                <a:pos x="58" y="55"/>
              </a:cxn>
              <a:cxn ang="0">
                <a:pos x="80" y="74"/>
              </a:cxn>
              <a:cxn ang="0">
                <a:pos x="37" y="63"/>
              </a:cxn>
              <a:cxn ang="0">
                <a:pos x="26" y="70"/>
              </a:cxn>
              <a:cxn ang="0">
                <a:pos x="22" y="82"/>
              </a:cxn>
              <a:cxn ang="0">
                <a:pos x="28" y="96"/>
              </a:cxn>
              <a:cxn ang="0">
                <a:pos x="44" y="101"/>
              </a:cxn>
              <a:cxn ang="0">
                <a:pos x="57" y="98"/>
              </a:cxn>
              <a:cxn ang="0">
                <a:pos x="68" y="90"/>
              </a:cxn>
              <a:cxn ang="0">
                <a:pos x="37" y="63"/>
              </a:cxn>
              <a:cxn ang="0">
                <a:pos x="46" y="46"/>
              </a:cxn>
              <a:cxn ang="0">
                <a:pos x="59" y="39"/>
              </a:cxn>
              <a:cxn ang="0">
                <a:pos x="63" y="30"/>
              </a:cxn>
              <a:cxn ang="0">
                <a:pos x="60" y="21"/>
              </a:cxn>
              <a:cxn ang="0">
                <a:pos x="51" y="17"/>
              </a:cxn>
              <a:cxn ang="0">
                <a:pos x="41" y="21"/>
              </a:cxn>
              <a:cxn ang="0">
                <a:pos x="38" y="30"/>
              </a:cxn>
              <a:cxn ang="0">
                <a:pos x="40" y="39"/>
              </a:cxn>
              <a:cxn ang="0">
                <a:pos x="46" y="46"/>
              </a:cxn>
            </a:cxnLst>
            <a:rect l="0" t="0" r="r" b="b"/>
            <a:pathLst>
              <a:path w="117" h="118">
                <a:moveTo>
                  <a:pt x="80" y="74"/>
                </a:moveTo>
                <a:cubicBezTo>
                  <a:pt x="81" y="71"/>
                  <a:pt x="82" y="68"/>
                  <a:pt x="83" y="65"/>
                </a:cubicBezTo>
                <a:cubicBezTo>
                  <a:pt x="85" y="62"/>
                  <a:pt x="86" y="59"/>
                  <a:pt x="87" y="55"/>
                </a:cubicBezTo>
                <a:cubicBezTo>
                  <a:pt x="89" y="51"/>
                  <a:pt x="90" y="48"/>
                  <a:pt x="92" y="46"/>
                </a:cubicBezTo>
                <a:cubicBezTo>
                  <a:pt x="94" y="44"/>
                  <a:pt x="97" y="43"/>
                  <a:pt x="100" y="43"/>
                </a:cubicBezTo>
                <a:cubicBezTo>
                  <a:pt x="102" y="43"/>
                  <a:pt x="103" y="44"/>
                  <a:pt x="105" y="44"/>
                </a:cubicBezTo>
                <a:cubicBezTo>
                  <a:pt x="106" y="45"/>
                  <a:pt x="107" y="46"/>
                  <a:pt x="108" y="47"/>
                </a:cubicBezTo>
                <a:cubicBezTo>
                  <a:pt x="109" y="47"/>
                  <a:pt x="110" y="48"/>
                  <a:pt x="110" y="49"/>
                </a:cubicBezTo>
                <a:cubicBezTo>
                  <a:pt x="111" y="49"/>
                  <a:pt x="111" y="50"/>
                  <a:pt x="111" y="50"/>
                </a:cubicBezTo>
                <a:cubicBezTo>
                  <a:pt x="109" y="57"/>
                  <a:pt x="107" y="64"/>
                  <a:pt x="104" y="70"/>
                </a:cubicBezTo>
                <a:cubicBezTo>
                  <a:pt x="101" y="76"/>
                  <a:pt x="98" y="81"/>
                  <a:pt x="94" y="87"/>
                </a:cubicBezTo>
                <a:cubicBezTo>
                  <a:pt x="117" y="107"/>
                  <a:pt x="117" y="107"/>
                  <a:pt x="117" y="107"/>
                </a:cubicBezTo>
                <a:cubicBezTo>
                  <a:pt x="117" y="107"/>
                  <a:pt x="117" y="107"/>
                  <a:pt x="117" y="108"/>
                </a:cubicBezTo>
                <a:cubicBezTo>
                  <a:pt x="116" y="110"/>
                  <a:pt x="115" y="111"/>
                  <a:pt x="114" y="112"/>
                </a:cubicBezTo>
                <a:cubicBezTo>
                  <a:pt x="113" y="113"/>
                  <a:pt x="112" y="114"/>
                  <a:pt x="110" y="116"/>
                </a:cubicBezTo>
                <a:cubicBezTo>
                  <a:pt x="108" y="117"/>
                  <a:pt x="106" y="117"/>
                  <a:pt x="104" y="117"/>
                </a:cubicBezTo>
                <a:cubicBezTo>
                  <a:pt x="102" y="117"/>
                  <a:pt x="99" y="117"/>
                  <a:pt x="97" y="116"/>
                </a:cubicBezTo>
                <a:cubicBezTo>
                  <a:pt x="94" y="115"/>
                  <a:pt x="92" y="113"/>
                  <a:pt x="89" y="110"/>
                </a:cubicBezTo>
                <a:cubicBezTo>
                  <a:pt x="81" y="102"/>
                  <a:pt x="81" y="102"/>
                  <a:pt x="81" y="102"/>
                </a:cubicBezTo>
                <a:cubicBezTo>
                  <a:pt x="76" y="107"/>
                  <a:pt x="70" y="111"/>
                  <a:pt x="64" y="114"/>
                </a:cubicBezTo>
                <a:cubicBezTo>
                  <a:pt x="57" y="117"/>
                  <a:pt x="50" y="118"/>
                  <a:pt x="42" y="118"/>
                </a:cubicBezTo>
                <a:cubicBezTo>
                  <a:pt x="29" y="118"/>
                  <a:pt x="19" y="115"/>
                  <a:pt x="11" y="110"/>
                </a:cubicBezTo>
                <a:cubicBezTo>
                  <a:pt x="3" y="104"/>
                  <a:pt x="0" y="95"/>
                  <a:pt x="0" y="84"/>
                </a:cubicBezTo>
                <a:cubicBezTo>
                  <a:pt x="0" y="76"/>
                  <a:pt x="2" y="70"/>
                  <a:pt x="7" y="64"/>
                </a:cubicBezTo>
                <a:cubicBezTo>
                  <a:pt x="11" y="59"/>
                  <a:pt x="18" y="55"/>
                  <a:pt x="26" y="52"/>
                </a:cubicBezTo>
                <a:cubicBezTo>
                  <a:pt x="23" y="49"/>
                  <a:pt x="20" y="46"/>
                  <a:pt x="19" y="42"/>
                </a:cubicBezTo>
                <a:cubicBezTo>
                  <a:pt x="17" y="38"/>
                  <a:pt x="16" y="34"/>
                  <a:pt x="16" y="30"/>
                </a:cubicBezTo>
                <a:cubicBezTo>
                  <a:pt x="16" y="25"/>
                  <a:pt x="16" y="22"/>
                  <a:pt x="18" y="18"/>
                </a:cubicBezTo>
                <a:cubicBezTo>
                  <a:pt x="20" y="14"/>
                  <a:pt x="22" y="11"/>
                  <a:pt x="25" y="9"/>
                </a:cubicBezTo>
                <a:cubicBezTo>
                  <a:pt x="28" y="6"/>
                  <a:pt x="32" y="4"/>
                  <a:pt x="36" y="3"/>
                </a:cubicBezTo>
                <a:cubicBezTo>
                  <a:pt x="41" y="1"/>
                  <a:pt x="46" y="0"/>
                  <a:pt x="51" y="0"/>
                </a:cubicBezTo>
                <a:cubicBezTo>
                  <a:pt x="56" y="0"/>
                  <a:pt x="60" y="1"/>
                  <a:pt x="64" y="2"/>
                </a:cubicBezTo>
                <a:cubicBezTo>
                  <a:pt x="68" y="4"/>
                  <a:pt x="71" y="6"/>
                  <a:pt x="74" y="8"/>
                </a:cubicBezTo>
                <a:cubicBezTo>
                  <a:pt x="77" y="10"/>
                  <a:pt x="79" y="13"/>
                  <a:pt x="81" y="17"/>
                </a:cubicBezTo>
                <a:cubicBezTo>
                  <a:pt x="82" y="20"/>
                  <a:pt x="83" y="24"/>
                  <a:pt x="83" y="28"/>
                </a:cubicBezTo>
                <a:cubicBezTo>
                  <a:pt x="83" y="34"/>
                  <a:pt x="81" y="40"/>
                  <a:pt x="76" y="44"/>
                </a:cubicBezTo>
                <a:cubicBezTo>
                  <a:pt x="72" y="49"/>
                  <a:pt x="66" y="52"/>
                  <a:pt x="58" y="55"/>
                </a:cubicBezTo>
                <a:lnTo>
                  <a:pt x="80" y="74"/>
                </a:lnTo>
                <a:close/>
                <a:moveTo>
                  <a:pt x="37" y="63"/>
                </a:moveTo>
                <a:cubicBezTo>
                  <a:pt x="32" y="64"/>
                  <a:pt x="29" y="67"/>
                  <a:pt x="26" y="70"/>
                </a:cubicBezTo>
                <a:cubicBezTo>
                  <a:pt x="23" y="73"/>
                  <a:pt x="22" y="77"/>
                  <a:pt x="22" y="82"/>
                </a:cubicBezTo>
                <a:cubicBezTo>
                  <a:pt x="22" y="88"/>
                  <a:pt x="24" y="92"/>
                  <a:pt x="28" y="96"/>
                </a:cubicBezTo>
                <a:cubicBezTo>
                  <a:pt x="32" y="99"/>
                  <a:pt x="37" y="101"/>
                  <a:pt x="44" y="101"/>
                </a:cubicBezTo>
                <a:cubicBezTo>
                  <a:pt x="48" y="101"/>
                  <a:pt x="53" y="100"/>
                  <a:pt x="57" y="98"/>
                </a:cubicBezTo>
                <a:cubicBezTo>
                  <a:pt x="61" y="96"/>
                  <a:pt x="64" y="93"/>
                  <a:pt x="68" y="90"/>
                </a:cubicBezTo>
                <a:lnTo>
                  <a:pt x="37" y="63"/>
                </a:lnTo>
                <a:close/>
                <a:moveTo>
                  <a:pt x="46" y="46"/>
                </a:moveTo>
                <a:cubicBezTo>
                  <a:pt x="52" y="44"/>
                  <a:pt x="57" y="42"/>
                  <a:pt x="59" y="39"/>
                </a:cubicBezTo>
                <a:cubicBezTo>
                  <a:pt x="62" y="37"/>
                  <a:pt x="63" y="33"/>
                  <a:pt x="63" y="30"/>
                </a:cubicBezTo>
                <a:cubicBezTo>
                  <a:pt x="63" y="26"/>
                  <a:pt x="62" y="23"/>
                  <a:pt x="60" y="21"/>
                </a:cubicBezTo>
                <a:cubicBezTo>
                  <a:pt x="57" y="18"/>
                  <a:pt x="54" y="17"/>
                  <a:pt x="51" y="17"/>
                </a:cubicBezTo>
                <a:cubicBezTo>
                  <a:pt x="47" y="17"/>
                  <a:pt x="43" y="18"/>
                  <a:pt x="41" y="21"/>
                </a:cubicBezTo>
                <a:cubicBezTo>
                  <a:pt x="39" y="23"/>
                  <a:pt x="38" y="26"/>
                  <a:pt x="38" y="30"/>
                </a:cubicBezTo>
                <a:cubicBezTo>
                  <a:pt x="38" y="33"/>
                  <a:pt x="39" y="36"/>
                  <a:pt x="40" y="39"/>
                </a:cubicBezTo>
                <a:cubicBezTo>
                  <a:pt x="42" y="41"/>
                  <a:pt x="44" y="43"/>
                  <a:pt x="46" y="4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25" name="Freeform 101"/>
          <p:cNvSpPr>
            <a:spLocks noEditPoints="1"/>
          </p:cNvSpPr>
          <p:nvPr userDrawn="1"/>
        </p:nvSpPr>
        <p:spPr bwMode="auto">
          <a:xfrm>
            <a:off x="5369927" y="4500563"/>
            <a:ext cx="79793" cy="95250"/>
          </a:xfrm>
          <a:custGeom>
            <a:avLst/>
            <a:gdLst/>
            <a:ahLst/>
            <a:cxnLst>
              <a:cxn ang="0">
                <a:pos x="47" y="113"/>
              </a:cxn>
              <a:cxn ang="0">
                <a:pos x="27" y="109"/>
              </a:cxn>
              <a:cxn ang="0">
                <a:pos x="12" y="99"/>
              </a:cxn>
              <a:cxn ang="0">
                <a:pos x="3" y="83"/>
              </a:cxn>
              <a:cxn ang="0">
                <a:pos x="0" y="62"/>
              </a:cxn>
              <a:cxn ang="0">
                <a:pos x="0" y="51"/>
              </a:cxn>
              <a:cxn ang="0">
                <a:pos x="3" y="30"/>
              </a:cxn>
              <a:cxn ang="0">
                <a:pos x="12" y="14"/>
              </a:cxn>
              <a:cxn ang="0">
                <a:pos x="27" y="3"/>
              </a:cxn>
              <a:cxn ang="0">
                <a:pos x="47" y="0"/>
              </a:cxn>
              <a:cxn ang="0">
                <a:pos x="67" y="3"/>
              </a:cxn>
              <a:cxn ang="0">
                <a:pos x="82" y="13"/>
              </a:cxn>
              <a:cxn ang="0">
                <a:pos x="92" y="30"/>
              </a:cxn>
              <a:cxn ang="0">
                <a:pos x="95" y="51"/>
              </a:cxn>
              <a:cxn ang="0">
                <a:pos x="95" y="62"/>
              </a:cxn>
              <a:cxn ang="0">
                <a:pos x="92" y="83"/>
              </a:cxn>
              <a:cxn ang="0">
                <a:pos x="82" y="99"/>
              </a:cxn>
              <a:cxn ang="0">
                <a:pos x="67" y="109"/>
              </a:cxn>
              <a:cxn ang="0">
                <a:pos x="47" y="113"/>
              </a:cxn>
              <a:cxn ang="0">
                <a:pos x="47" y="93"/>
              </a:cxn>
              <a:cxn ang="0">
                <a:pos x="64" y="85"/>
              </a:cxn>
              <a:cxn ang="0">
                <a:pos x="70" y="63"/>
              </a:cxn>
              <a:cxn ang="0">
                <a:pos x="70" y="49"/>
              </a:cxn>
              <a:cxn ang="0">
                <a:pos x="64" y="27"/>
              </a:cxn>
              <a:cxn ang="0">
                <a:pos x="47" y="20"/>
              </a:cxn>
              <a:cxn ang="0">
                <a:pos x="30" y="27"/>
              </a:cxn>
              <a:cxn ang="0">
                <a:pos x="25" y="49"/>
              </a:cxn>
              <a:cxn ang="0">
                <a:pos x="25" y="63"/>
              </a:cxn>
              <a:cxn ang="0">
                <a:pos x="30" y="85"/>
              </a:cxn>
              <a:cxn ang="0">
                <a:pos x="47" y="93"/>
              </a:cxn>
            </a:cxnLst>
            <a:rect l="0" t="0" r="r" b="b"/>
            <a:pathLst>
              <a:path w="95" h="113">
                <a:moveTo>
                  <a:pt x="47" y="113"/>
                </a:moveTo>
                <a:cubicBezTo>
                  <a:pt x="40" y="113"/>
                  <a:pt x="33" y="112"/>
                  <a:pt x="27" y="109"/>
                </a:cubicBezTo>
                <a:cubicBezTo>
                  <a:pt x="21" y="107"/>
                  <a:pt x="16" y="104"/>
                  <a:pt x="12" y="99"/>
                </a:cubicBezTo>
                <a:cubicBezTo>
                  <a:pt x="8" y="95"/>
                  <a:pt x="5" y="89"/>
                  <a:pt x="3" y="83"/>
                </a:cubicBezTo>
                <a:cubicBezTo>
                  <a:pt x="1" y="77"/>
                  <a:pt x="0" y="70"/>
                  <a:pt x="0" y="62"/>
                </a:cubicBezTo>
                <a:cubicBezTo>
                  <a:pt x="0" y="51"/>
                  <a:pt x="0" y="51"/>
                  <a:pt x="0" y="51"/>
                </a:cubicBezTo>
                <a:cubicBezTo>
                  <a:pt x="0" y="43"/>
                  <a:pt x="1" y="36"/>
                  <a:pt x="3" y="30"/>
                </a:cubicBezTo>
                <a:cubicBezTo>
                  <a:pt x="5" y="23"/>
                  <a:pt x="8" y="18"/>
                  <a:pt x="12" y="14"/>
                </a:cubicBezTo>
                <a:cubicBezTo>
                  <a:pt x="17" y="9"/>
                  <a:pt x="22" y="6"/>
                  <a:pt x="27" y="3"/>
                </a:cubicBezTo>
                <a:cubicBezTo>
                  <a:pt x="33" y="1"/>
                  <a:pt x="40" y="0"/>
                  <a:pt x="47" y="0"/>
                </a:cubicBezTo>
                <a:cubicBezTo>
                  <a:pt x="55" y="0"/>
                  <a:pt x="61" y="1"/>
                  <a:pt x="67" y="3"/>
                </a:cubicBezTo>
                <a:cubicBezTo>
                  <a:pt x="73" y="6"/>
                  <a:pt x="78" y="9"/>
                  <a:pt x="82" y="13"/>
                </a:cubicBezTo>
                <a:cubicBezTo>
                  <a:pt x="86" y="18"/>
                  <a:pt x="90" y="23"/>
                  <a:pt x="92" y="30"/>
                </a:cubicBezTo>
                <a:cubicBezTo>
                  <a:pt x="94" y="36"/>
                  <a:pt x="95" y="43"/>
                  <a:pt x="95" y="51"/>
                </a:cubicBezTo>
                <a:cubicBezTo>
                  <a:pt x="95" y="62"/>
                  <a:pt x="95" y="62"/>
                  <a:pt x="95" y="62"/>
                </a:cubicBezTo>
                <a:cubicBezTo>
                  <a:pt x="95" y="69"/>
                  <a:pt x="94" y="77"/>
                  <a:pt x="92" y="83"/>
                </a:cubicBezTo>
                <a:cubicBezTo>
                  <a:pt x="90" y="89"/>
                  <a:pt x="86" y="95"/>
                  <a:pt x="82" y="99"/>
                </a:cubicBezTo>
                <a:cubicBezTo>
                  <a:pt x="78" y="104"/>
                  <a:pt x="73" y="107"/>
                  <a:pt x="67" y="109"/>
                </a:cubicBezTo>
                <a:cubicBezTo>
                  <a:pt x="61" y="112"/>
                  <a:pt x="55" y="113"/>
                  <a:pt x="47" y="113"/>
                </a:cubicBezTo>
                <a:close/>
                <a:moveTo>
                  <a:pt x="47" y="93"/>
                </a:moveTo>
                <a:cubicBezTo>
                  <a:pt x="55" y="93"/>
                  <a:pt x="60" y="90"/>
                  <a:pt x="64" y="85"/>
                </a:cubicBezTo>
                <a:cubicBezTo>
                  <a:pt x="68" y="80"/>
                  <a:pt x="70" y="73"/>
                  <a:pt x="70" y="63"/>
                </a:cubicBezTo>
                <a:cubicBezTo>
                  <a:pt x="70" y="49"/>
                  <a:pt x="70" y="49"/>
                  <a:pt x="70" y="49"/>
                </a:cubicBezTo>
                <a:cubicBezTo>
                  <a:pt x="70" y="40"/>
                  <a:pt x="68" y="32"/>
                  <a:pt x="64" y="27"/>
                </a:cubicBezTo>
                <a:cubicBezTo>
                  <a:pt x="60" y="22"/>
                  <a:pt x="55" y="20"/>
                  <a:pt x="47" y="20"/>
                </a:cubicBezTo>
                <a:cubicBezTo>
                  <a:pt x="40" y="20"/>
                  <a:pt x="34" y="22"/>
                  <a:pt x="30" y="27"/>
                </a:cubicBezTo>
                <a:cubicBezTo>
                  <a:pt x="27" y="32"/>
                  <a:pt x="25" y="39"/>
                  <a:pt x="25" y="49"/>
                </a:cubicBezTo>
                <a:cubicBezTo>
                  <a:pt x="25" y="63"/>
                  <a:pt x="25" y="63"/>
                  <a:pt x="25" y="63"/>
                </a:cubicBezTo>
                <a:cubicBezTo>
                  <a:pt x="25" y="73"/>
                  <a:pt x="27" y="80"/>
                  <a:pt x="30" y="85"/>
                </a:cubicBezTo>
                <a:cubicBezTo>
                  <a:pt x="34" y="90"/>
                  <a:pt x="40" y="93"/>
                  <a:pt x="47" y="9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29" name="Freeform 105"/>
          <p:cNvSpPr>
            <a:spLocks/>
          </p:cNvSpPr>
          <p:nvPr userDrawn="1"/>
        </p:nvSpPr>
        <p:spPr bwMode="auto">
          <a:xfrm>
            <a:off x="5591441" y="4500563"/>
            <a:ext cx="71456" cy="94059"/>
          </a:xfrm>
          <a:custGeom>
            <a:avLst/>
            <a:gdLst/>
            <a:ahLst/>
            <a:cxnLst>
              <a:cxn ang="0">
                <a:pos x="23" y="91"/>
              </a:cxn>
              <a:cxn ang="0">
                <a:pos x="37" y="91"/>
              </a:cxn>
              <a:cxn ang="0">
                <a:pos x="51" y="91"/>
              </a:cxn>
              <a:cxn ang="0">
                <a:pos x="64" y="91"/>
              </a:cxn>
              <a:cxn ang="0">
                <a:pos x="73" y="91"/>
              </a:cxn>
              <a:cxn ang="0">
                <a:pos x="82" y="93"/>
              </a:cxn>
              <a:cxn ang="0">
                <a:pos x="84" y="100"/>
              </a:cxn>
              <a:cxn ang="0">
                <a:pos x="84" y="101"/>
              </a:cxn>
              <a:cxn ang="0">
                <a:pos x="82" y="108"/>
              </a:cxn>
              <a:cxn ang="0">
                <a:pos x="73" y="111"/>
              </a:cxn>
              <a:cxn ang="0">
                <a:pos x="15" y="111"/>
              </a:cxn>
              <a:cxn ang="0">
                <a:pos x="4" y="108"/>
              </a:cxn>
              <a:cxn ang="0">
                <a:pos x="0" y="98"/>
              </a:cxn>
              <a:cxn ang="0">
                <a:pos x="0" y="93"/>
              </a:cxn>
              <a:cxn ang="0">
                <a:pos x="3" y="79"/>
              </a:cxn>
              <a:cxn ang="0">
                <a:pos x="11" y="69"/>
              </a:cxn>
              <a:cxn ang="0">
                <a:pos x="22" y="61"/>
              </a:cxn>
              <a:cxn ang="0">
                <a:pos x="34" y="55"/>
              </a:cxn>
              <a:cxn ang="0">
                <a:pos x="43" y="50"/>
              </a:cxn>
              <a:cxn ang="0">
                <a:pos x="51" y="46"/>
              </a:cxn>
              <a:cxn ang="0">
                <a:pos x="57" y="41"/>
              </a:cxn>
              <a:cxn ang="0">
                <a:pos x="59" y="34"/>
              </a:cxn>
              <a:cxn ang="0">
                <a:pos x="54" y="24"/>
              </a:cxn>
              <a:cxn ang="0">
                <a:pos x="40" y="20"/>
              </a:cxn>
              <a:cxn ang="0">
                <a:pos x="31" y="21"/>
              </a:cxn>
              <a:cxn ang="0">
                <a:pos x="24" y="26"/>
              </a:cxn>
              <a:cxn ang="0">
                <a:pos x="20" y="32"/>
              </a:cxn>
              <a:cxn ang="0">
                <a:pos x="17" y="39"/>
              </a:cxn>
              <a:cxn ang="0">
                <a:pos x="14" y="39"/>
              </a:cxn>
              <a:cxn ang="0">
                <a:pos x="9" y="38"/>
              </a:cxn>
              <a:cxn ang="0">
                <a:pos x="3" y="35"/>
              </a:cxn>
              <a:cxn ang="0">
                <a:pos x="1" y="27"/>
              </a:cxn>
              <a:cxn ang="0">
                <a:pos x="3" y="17"/>
              </a:cxn>
              <a:cxn ang="0">
                <a:pos x="11" y="9"/>
              </a:cxn>
              <a:cxn ang="0">
                <a:pos x="24" y="2"/>
              </a:cxn>
              <a:cxn ang="0">
                <a:pos x="42" y="0"/>
              </a:cxn>
              <a:cxn ang="0">
                <a:pos x="72" y="9"/>
              </a:cxn>
              <a:cxn ang="0">
                <a:pos x="83" y="34"/>
              </a:cxn>
              <a:cxn ang="0">
                <a:pos x="80" y="46"/>
              </a:cxn>
              <a:cxn ang="0">
                <a:pos x="73" y="56"/>
              </a:cxn>
              <a:cxn ang="0">
                <a:pos x="63" y="62"/>
              </a:cxn>
              <a:cxn ang="0">
                <a:pos x="52" y="68"/>
              </a:cxn>
              <a:cxn ang="0">
                <a:pos x="41" y="72"/>
              </a:cxn>
              <a:cxn ang="0">
                <a:pos x="33" y="77"/>
              </a:cxn>
              <a:cxn ang="0">
                <a:pos x="26" y="83"/>
              </a:cxn>
              <a:cxn ang="0">
                <a:pos x="23" y="91"/>
              </a:cxn>
            </a:cxnLst>
            <a:rect l="0" t="0" r="r" b="b"/>
            <a:pathLst>
              <a:path w="84" h="111">
                <a:moveTo>
                  <a:pt x="23" y="91"/>
                </a:moveTo>
                <a:cubicBezTo>
                  <a:pt x="27" y="91"/>
                  <a:pt x="32" y="91"/>
                  <a:pt x="37" y="91"/>
                </a:cubicBezTo>
                <a:cubicBezTo>
                  <a:pt x="42" y="91"/>
                  <a:pt x="47" y="91"/>
                  <a:pt x="51" y="91"/>
                </a:cubicBezTo>
                <a:cubicBezTo>
                  <a:pt x="56" y="91"/>
                  <a:pt x="60" y="91"/>
                  <a:pt x="64" y="91"/>
                </a:cubicBezTo>
                <a:cubicBezTo>
                  <a:pt x="68" y="91"/>
                  <a:pt x="71" y="91"/>
                  <a:pt x="73" y="91"/>
                </a:cubicBezTo>
                <a:cubicBezTo>
                  <a:pt x="77" y="91"/>
                  <a:pt x="80" y="91"/>
                  <a:pt x="82" y="93"/>
                </a:cubicBezTo>
                <a:cubicBezTo>
                  <a:pt x="83" y="95"/>
                  <a:pt x="84" y="97"/>
                  <a:pt x="84" y="100"/>
                </a:cubicBezTo>
                <a:cubicBezTo>
                  <a:pt x="84" y="101"/>
                  <a:pt x="84" y="101"/>
                  <a:pt x="84" y="101"/>
                </a:cubicBezTo>
                <a:cubicBezTo>
                  <a:pt x="84" y="104"/>
                  <a:pt x="83" y="107"/>
                  <a:pt x="82" y="108"/>
                </a:cubicBezTo>
                <a:cubicBezTo>
                  <a:pt x="80" y="110"/>
                  <a:pt x="77" y="111"/>
                  <a:pt x="73" y="111"/>
                </a:cubicBezTo>
                <a:cubicBezTo>
                  <a:pt x="15" y="111"/>
                  <a:pt x="15" y="111"/>
                  <a:pt x="15" y="111"/>
                </a:cubicBezTo>
                <a:cubicBezTo>
                  <a:pt x="10" y="111"/>
                  <a:pt x="6" y="110"/>
                  <a:pt x="4" y="108"/>
                </a:cubicBezTo>
                <a:cubicBezTo>
                  <a:pt x="1" y="107"/>
                  <a:pt x="0" y="103"/>
                  <a:pt x="0" y="98"/>
                </a:cubicBezTo>
                <a:cubicBezTo>
                  <a:pt x="0" y="93"/>
                  <a:pt x="0" y="93"/>
                  <a:pt x="0" y="93"/>
                </a:cubicBezTo>
                <a:cubicBezTo>
                  <a:pt x="0" y="88"/>
                  <a:pt x="1" y="83"/>
                  <a:pt x="3" y="79"/>
                </a:cubicBezTo>
                <a:cubicBezTo>
                  <a:pt x="5" y="75"/>
                  <a:pt x="8" y="72"/>
                  <a:pt x="11" y="69"/>
                </a:cubicBezTo>
                <a:cubicBezTo>
                  <a:pt x="15" y="66"/>
                  <a:pt x="18" y="63"/>
                  <a:pt x="22" y="61"/>
                </a:cubicBezTo>
                <a:cubicBezTo>
                  <a:pt x="26" y="59"/>
                  <a:pt x="30" y="56"/>
                  <a:pt x="34" y="55"/>
                </a:cubicBezTo>
                <a:cubicBezTo>
                  <a:pt x="37" y="53"/>
                  <a:pt x="40" y="52"/>
                  <a:pt x="43" y="50"/>
                </a:cubicBezTo>
                <a:cubicBezTo>
                  <a:pt x="46" y="49"/>
                  <a:pt x="49" y="47"/>
                  <a:pt x="51" y="46"/>
                </a:cubicBezTo>
                <a:cubicBezTo>
                  <a:pt x="54" y="44"/>
                  <a:pt x="55" y="43"/>
                  <a:pt x="57" y="41"/>
                </a:cubicBezTo>
                <a:cubicBezTo>
                  <a:pt x="58" y="39"/>
                  <a:pt x="59" y="37"/>
                  <a:pt x="59" y="34"/>
                </a:cubicBezTo>
                <a:cubicBezTo>
                  <a:pt x="59" y="30"/>
                  <a:pt x="57" y="26"/>
                  <a:pt x="54" y="24"/>
                </a:cubicBezTo>
                <a:cubicBezTo>
                  <a:pt x="51" y="21"/>
                  <a:pt x="46" y="20"/>
                  <a:pt x="40" y="20"/>
                </a:cubicBezTo>
                <a:cubicBezTo>
                  <a:pt x="37" y="20"/>
                  <a:pt x="34" y="20"/>
                  <a:pt x="31" y="21"/>
                </a:cubicBezTo>
                <a:cubicBezTo>
                  <a:pt x="29" y="22"/>
                  <a:pt x="26" y="24"/>
                  <a:pt x="24" y="26"/>
                </a:cubicBezTo>
                <a:cubicBezTo>
                  <a:pt x="22" y="27"/>
                  <a:pt x="21" y="29"/>
                  <a:pt x="20" y="32"/>
                </a:cubicBezTo>
                <a:cubicBezTo>
                  <a:pt x="18" y="34"/>
                  <a:pt x="18" y="36"/>
                  <a:pt x="17" y="39"/>
                </a:cubicBezTo>
                <a:cubicBezTo>
                  <a:pt x="17" y="39"/>
                  <a:pt x="16" y="39"/>
                  <a:pt x="14" y="39"/>
                </a:cubicBezTo>
                <a:cubicBezTo>
                  <a:pt x="13" y="39"/>
                  <a:pt x="11" y="39"/>
                  <a:pt x="9" y="38"/>
                </a:cubicBezTo>
                <a:cubicBezTo>
                  <a:pt x="7" y="37"/>
                  <a:pt x="5" y="36"/>
                  <a:pt x="3" y="35"/>
                </a:cubicBezTo>
                <a:cubicBezTo>
                  <a:pt x="2" y="33"/>
                  <a:pt x="1" y="31"/>
                  <a:pt x="1" y="27"/>
                </a:cubicBezTo>
                <a:cubicBezTo>
                  <a:pt x="1" y="24"/>
                  <a:pt x="2" y="21"/>
                  <a:pt x="3" y="17"/>
                </a:cubicBezTo>
                <a:cubicBezTo>
                  <a:pt x="5" y="14"/>
                  <a:pt x="8" y="11"/>
                  <a:pt x="11" y="9"/>
                </a:cubicBezTo>
                <a:cubicBezTo>
                  <a:pt x="15" y="6"/>
                  <a:pt x="19" y="4"/>
                  <a:pt x="24" y="2"/>
                </a:cubicBezTo>
                <a:cubicBezTo>
                  <a:pt x="29" y="1"/>
                  <a:pt x="35" y="0"/>
                  <a:pt x="42" y="0"/>
                </a:cubicBezTo>
                <a:cubicBezTo>
                  <a:pt x="55" y="0"/>
                  <a:pt x="65" y="3"/>
                  <a:pt x="72" y="9"/>
                </a:cubicBezTo>
                <a:cubicBezTo>
                  <a:pt x="79" y="15"/>
                  <a:pt x="83" y="23"/>
                  <a:pt x="83" y="34"/>
                </a:cubicBezTo>
                <a:cubicBezTo>
                  <a:pt x="83" y="39"/>
                  <a:pt x="82" y="43"/>
                  <a:pt x="80" y="46"/>
                </a:cubicBezTo>
                <a:cubicBezTo>
                  <a:pt x="78" y="50"/>
                  <a:pt x="76" y="53"/>
                  <a:pt x="73" y="56"/>
                </a:cubicBezTo>
                <a:cubicBezTo>
                  <a:pt x="70" y="58"/>
                  <a:pt x="67" y="60"/>
                  <a:pt x="63" y="62"/>
                </a:cubicBezTo>
                <a:cubicBezTo>
                  <a:pt x="60" y="64"/>
                  <a:pt x="56" y="66"/>
                  <a:pt x="52" y="68"/>
                </a:cubicBezTo>
                <a:cubicBezTo>
                  <a:pt x="48" y="69"/>
                  <a:pt x="44" y="71"/>
                  <a:pt x="41" y="72"/>
                </a:cubicBezTo>
                <a:cubicBezTo>
                  <a:pt x="38" y="74"/>
                  <a:pt x="35" y="75"/>
                  <a:pt x="33" y="77"/>
                </a:cubicBezTo>
                <a:cubicBezTo>
                  <a:pt x="30" y="79"/>
                  <a:pt x="28" y="81"/>
                  <a:pt x="26" y="83"/>
                </a:cubicBezTo>
                <a:cubicBezTo>
                  <a:pt x="25" y="85"/>
                  <a:pt x="24" y="88"/>
                  <a:pt x="23" y="9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33" name="Freeform 109"/>
          <p:cNvSpPr>
            <a:spLocks/>
          </p:cNvSpPr>
          <p:nvPr userDrawn="1"/>
        </p:nvSpPr>
        <p:spPr bwMode="auto">
          <a:xfrm>
            <a:off x="5801046" y="4507706"/>
            <a:ext cx="84557" cy="84534"/>
          </a:xfrm>
          <a:custGeom>
            <a:avLst/>
            <a:gdLst/>
            <a:ahLst/>
            <a:cxnLst>
              <a:cxn ang="0">
                <a:pos x="72" y="7"/>
              </a:cxn>
              <a:cxn ang="0">
                <a:pos x="49" y="30"/>
              </a:cxn>
              <a:cxn ang="0">
                <a:pos x="26" y="7"/>
              </a:cxn>
              <a:cxn ang="0">
                <a:pos x="7" y="6"/>
              </a:cxn>
              <a:cxn ang="0">
                <a:pos x="6" y="7"/>
              </a:cxn>
              <a:cxn ang="0">
                <a:pos x="7" y="26"/>
              </a:cxn>
              <a:cxn ang="0">
                <a:pos x="30" y="49"/>
              </a:cxn>
              <a:cxn ang="0">
                <a:pos x="7" y="72"/>
              </a:cxn>
              <a:cxn ang="0">
                <a:pos x="6" y="92"/>
              </a:cxn>
              <a:cxn ang="0">
                <a:pos x="7" y="93"/>
              </a:cxn>
              <a:cxn ang="0">
                <a:pos x="26" y="92"/>
              </a:cxn>
              <a:cxn ang="0">
                <a:pos x="49" y="68"/>
              </a:cxn>
              <a:cxn ang="0">
                <a:pos x="72" y="92"/>
              </a:cxn>
              <a:cxn ang="0">
                <a:pos x="92" y="93"/>
              </a:cxn>
              <a:cxn ang="0">
                <a:pos x="93" y="92"/>
              </a:cxn>
              <a:cxn ang="0">
                <a:pos x="91" y="73"/>
              </a:cxn>
              <a:cxn ang="0">
                <a:pos x="68" y="49"/>
              </a:cxn>
              <a:cxn ang="0">
                <a:pos x="91" y="26"/>
              </a:cxn>
              <a:cxn ang="0">
                <a:pos x="93" y="7"/>
              </a:cxn>
              <a:cxn ang="0">
                <a:pos x="92" y="6"/>
              </a:cxn>
              <a:cxn ang="0">
                <a:pos x="72" y="7"/>
              </a:cxn>
            </a:cxnLst>
            <a:rect l="0" t="0" r="r" b="b"/>
            <a:pathLst>
              <a:path w="99" h="99">
                <a:moveTo>
                  <a:pt x="72" y="7"/>
                </a:moveTo>
                <a:cubicBezTo>
                  <a:pt x="49" y="30"/>
                  <a:pt x="49" y="30"/>
                  <a:pt x="49" y="30"/>
                </a:cubicBezTo>
                <a:cubicBezTo>
                  <a:pt x="26" y="7"/>
                  <a:pt x="26" y="7"/>
                  <a:pt x="26" y="7"/>
                </a:cubicBezTo>
                <a:cubicBezTo>
                  <a:pt x="19" y="0"/>
                  <a:pt x="12" y="0"/>
                  <a:pt x="7" y="6"/>
                </a:cubicBezTo>
                <a:cubicBezTo>
                  <a:pt x="6" y="7"/>
                  <a:pt x="6" y="7"/>
                  <a:pt x="6" y="7"/>
                </a:cubicBezTo>
                <a:cubicBezTo>
                  <a:pt x="0" y="12"/>
                  <a:pt x="0" y="19"/>
                  <a:pt x="7" y="26"/>
                </a:cubicBezTo>
                <a:cubicBezTo>
                  <a:pt x="30" y="49"/>
                  <a:pt x="30" y="49"/>
                  <a:pt x="30" y="49"/>
                </a:cubicBezTo>
                <a:cubicBezTo>
                  <a:pt x="7" y="72"/>
                  <a:pt x="7" y="72"/>
                  <a:pt x="7" y="72"/>
                </a:cubicBezTo>
                <a:cubicBezTo>
                  <a:pt x="0" y="80"/>
                  <a:pt x="0" y="86"/>
                  <a:pt x="6" y="92"/>
                </a:cubicBezTo>
                <a:cubicBezTo>
                  <a:pt x="7" y="93"/>
                  <a:pt x="7" y="93"/>
                  <a:pt x="7" y="93"/>
                </a:cubicBezTo>
                <a:cubicBezTo>
                  <a:pt x="12" y="98"/>
                  <a:pt x="19" y="99"/>
                  <a:pt x="26" y="92"/>
                </a:cubicBezTo>
                <a:cubicBezTo>
                  <a:pt x="49" y="68"/>
                  <a:pt x="49" y="68"/>
                  <a:pt x="49" y="68"/>
                </a:cubicBezTo>
                <a:cubicBezTo>
                  <a:pt x="72" y="92"/>
                  <a:pt x="72" y="92"/>
                  <a:pt x="72" y="92"/>
                </a:cubicBezTo>
                <a:cubicBezTo>
                  <a:pt x="80" y="99"/>
                  <a:pt x="86" y="98"/>
                  <a:pt x="92" y="93"/>
                </a:cubicBezTo>
                <a:cubicBezTo>
                  <a:pt x="93" y="92"/>
                  <a:pt x="93" y="92"/>
                  <a:pt x="93" y="92"/>
                </a:cubicBezTo>
                <a:cubicBezTo>
                  <a:pt x="98" y="86"/>
                  <a:pt x="99" y="80"/>
                  <a:pt x="91" y="73"/>
                </a:cubicBezTo>
                <a:cubicBezTo>
                  <a:pt x="68" y="49"/>
                  <a:pt x="68" y="49"/>
                  <a:pt x="68" y="49"/>
                </a:cubicBezTo>
                <a:cubicBezTo>
                  <a:pt x="91" y="26"/>
                  <a:pt x="91" y="26"/>
                  <a:pt x="91" y="26"/>
                </a:cubicBezTo>
                <a:cubicBezTo>
                  <a:pt x="99" y="19"/>
                  <a:pt x="98" y="12"/>
                  <a:pt x="93" y="7"/>
                </a:cubicBezTo>
                <a:cubicBezTo>
                  <a:pt x="92" y="6"/>
                  <a:pt x="92" y="6"/>
                  <a:pt x="92" y="6"/>
                </a:cubicBezTo>
                <a:cubicBezTo>
                  <a:pt x="86" y="0"/>
                  <a:pt x="80" y="0"/>
                  <a:pt x="72" y="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37" name="Freeform 113"/>
          <p:cNvSpPr>
            <a:spLocks/>
          </p:cNvSpPr>
          <p:nvPr userDrawn="1"/>
        </p:nvSpPr>
        <p:spPr bwMode="auto">
          <a:xfrm>
            <a:off x="6020177" y="4499372"/>
            <a:ext cx="80984" cy="95250"/>
          </a:xfrm>
          <a:custGeom>
            <a:avLst/>
            <a:gdLst/>
            <a:ahLst/>
            <a:cxnLst>
              <a:cxn ang="0">
                <a:pos x="37" y="93"/>
              </a:cxn>
              <a:cxn ang="0">
                <a:pos x="83" y="93"/>
              </a:cxn>
              <a:cxn ang="0">
                <a:pos x="91" y="95"/>
              </a:cxn>
              <a:cxn ang="0">
                <a:pos x="94" y="102"/>
              </a:cxn>
              <a:cxn ang="0">
                <a:pos x="94" y="103"/>
              </a:cxn>
              <a:cxn ang="0">
                <a:pos x="91" y="110"/>
              </a:cxn>
              <a:cxn ang="0">
                <a:pos x="83" y="112"/>
              </a:cxn>
              <a:cxn ang="0">
                <a:pos x="11" y="112"/>
              </a:cxn>
              <a:cxn ang="0">
                <a:pos x="3" y="110"/>
              </a:cxn>
              <a:cxn ang="0">
                <a:pos x="0" y="103"/>
              </a:cxn>
              <a:cxn ang="0">
                <a:pos x="0" y="102"/>
              </a:cxn>
              <a:cxn ang="0">
                <a:pos x="11" y="93"/>
              </a:cxn>
              <a:cxn ang="0">
                <a:pos x="15" y="93"/>
              </a:cxn>
              <a:cxn ang="0">
                <a:pos x="19" y="70"/>
              </a:cxn>
              <a:cxn ang="0">
                <a:pos x="12" y="70"/>
              </a:cxn>
              <a:cxn ang="0">
                <a:pos x="6" y="68"/>
              </a:cxn>
              <a:cxn ang="0">
                <a:pos x="4" y="62"/>
              </a:cxn>
              <a:cxn ang="0">
                <a:pos x="4" y="60"/>
              </a:cxn>
              <a:cxn ang="0">
                <a:pos x="6" y="54"/>
              </a:cxn>
              <a:cxn ang="0">
                <a:pos x="12" y="52"/>
              </a:cxn>
              <a:cxn ang="0">
                <a:pos x="22" y="52"/>
              </a:cxn>
              <a:cxn ang="0">
                <a:pos x="26" y="34"/>
              </a:cxn>
              <a:cxn ang="0">
                <a:pos x="38" y="9"/>
              </a:cxn>
              <a:cxn ang="0">
                <a:pos x="63" y="0"/>
              </a:cxn>
              <a:cxn ang="0">
                <a:pos x="77" y="2"/>
              </a:cxn>
              <a:cxn ang="0">
                <a:pos x="86" y="7"/>
              </a:cxn>
              <a:cxn ang="0">
                <a:pos x="93" y="14"/>
              </a:cxn>
              <a:cxn ang="0">
                <a:pos x="95" y="23"/>
              </a:cxn>
              <a:cxn ang="0">
                <a:pos x="93" y="30"/>
              </a:cxn>
              <a:cxn ang="0">
                <a:pos x="88" y="34"/>
              </a:cxn>
              <a:cxn ang="0">
                <a:pos x="83" y="35"/>
              </a:cxn>
              <a:cxn ang="0">
                <a:pos x="81" y="35"/>
              </a:cxn>
              <a:cxn ang="0">
                <a:pos x="75" y="24"/>
              </a:cxn>
              <a:cxn ang="0">
                <a:pos x="64" y="20"/>
              </a:cxn>
              <a:cxn ang="0">
                <a:pos x="52" y="24"/>
              </a:cxn>
              <a:cxn ang="0">
                <a:pos x="47" y="37"/>
              </a:cxn>
              <a:cxn ang="0">
                <a:pos x="44" y="52"/>
              </a:cxn>
              <a:cxn ang="0">
                <a:pos x="66" y="52"/>
              </a:cxn>
              <a:cxn ang="0">
                <a:pos x="73" y="54"/>
              </a:cxn>
              <a:cxn ang="0">
                <a:pos x="75" y="60"/>
              </a:cxn>
              <a:cxn ang="0">
                <a:pos x="75" y="62"/>
              </a:cxn>
              <a:cxn ang="0">
                <a:pos x="73" y="68"/>
              </a:cxn>
              <a:cxn ang="0">
                <a:pos x="66" y="70"/>
              </a:cxn>
              <a:cxn ang="0">
                <a:pos x="41" y="70"/>
              </a:cxn>
              <a:cxn ang="0">
                <a:pos x="37" y="93"/>
              </a:cxn>
            </a:cxnLst>
            <a:rect l="0" t="0" r="r" b="b"/>
            <a:pathLst>
              <a:path w="95" h="112">
                <a:moveTo>
                  <a:pt x="37" y="93"/>
                </a:moveTo>
                <a:cubicBezTo>
                  <a:pt x="83" y="93"/>
                  <a:pt x="83" y="93"/>
                  <a:pt x="83" y="93"/>
                </a:cubicBezTo>
                <a:cubicBezTo>
                  <a:pt x="87" y="93"/>
                  <a:pt x="89" y="94"/>
                  <a:pt x="91" y="95"/>
                </a:cubicBezTo>
                <a:cubicBezTo>
                  <a:pt x="93" y="96"/>
                  <a:pt x="94" y="99"/>
                  <a:pt x="94" y="102"/>
                </a:cubicBezTo>
                <a:cubicBezTo>
                  <a:pt x="94" y="103"/>
                  <a:pt x="94" y="103"/>
                  <a:pt x="94" y="103"/>
                </a:cubicBezTo>
                <a:cubicBezTo>
                  <a:pt x="94" y="106"/>
                  <a:pt x="93" y="109"/>
                  <a:pt x="91" y="110"/>
                </a:cubicBezTo>
                <a:cubicBezTo>
                  <a:pt x="89" y="112"/>
                  <a:pt x="87" y="112"/>
                  <a:pt x="83" y="112"/>
                </a:cubicBezTo>
                <a:cubicBezTo>
                  <a:pt x="11" y="112"/>
                  <a:pt x="11" y="112"/>
                  <a:pt x="11" y="112"/>
                </a:cubicBezTo>
                <a:cubicBezTo>
                  <a:pt x="7" y="112"/>
                  <a:pt x="4" y="112"/>
                  <a:pt x="3" y="110"/>
                </a:cubicBezTo>
                <a:cubicBezTo>
                  <a:pt x="1" y="109"/>
                  <a:pt x="0" y="106"/>
                  <a:pt x="0" y="103"/>
                </a:cubicBezTo>
                <a:cubicBezTo>
                  <a:pt x="0" y="102"/>
                  <a:pt x="0" y="102"/>
                  <a:pt x="0" y="102"/>
                </a:cubicBezTo>
                <a:cubicBezTo>
                  <a:pt x="0" y="96"/>
                  <a:pt x="4" y="93"/>
                  <a:pt x="11" y="93"/>
                </a:cubicBezTo>
                <a:cubicBezTo>
                  <a:pt x="15" y="93"/>
                  <a:pt x="15" y="93"/>
                  <a:pt x="15" y="93"/>
                </a:cubicBezTo>
                <a:cubicBezTo>
                  <a:pt x="19" y="70"/>
                  <a:pt x="19" y="70"/>
                  <a:pt x="19" y="70"/>
                </a:cubicBezTo>
                <a:cubicBezTo>
                  <a:pt x="12" y="70"/>
                  <a:pt x="12" y="70"/>
                  <a:pt x="12" y="70"/>
                </a:cubicBezTo>
                <a:cubicBezTo>
                  <a:pt x="10" y="70"/>
                  <a:pt x="7" y="69"/>
                  <a:pt x="6" y="68"/>
                </a:cubicBezTo>
                <a:cubicBezTo>
                  <a:pt x="4" y="67"/>
                  <a:pt x="4" y="65"/>
                  <a:pt x="4" y="62"/>
                </a:cubicBezTo>
                <a:cubicBezTo>
                  <a:pt x="4" y="60"/>
                  <a:pt x="4" y="60"/>
                  <a:pt x="4" y="60"/>
                </a:cubicBezTo>
                <a:cubicBezTo>
                  <a:pt x="4" y="58"/>
                  <a:pt x="4" y="56"/>
                  <a:pt x="6" y="54"/>
                </a:cubicBezTo>
                <a:cubicBezTo>
                  <a:pt x="7" y="53"/>
                  <a:pt x="10" y="52"/>
                  <a:pt x="12" y="52"/>
                </a:cubicBezTo>
                <a:cubicBezTo>
                  <a:pt x="22" y="52"/>
                  <a:pt x="22" y="52"/>
                  <a:pt x="22" y="52"/>
                </a:cubicBezTo>
                <a:cubicBezTo>
                  <a:pt x="26" y="34"/>
                  <a:pt x="26" y="34"/>
                  <a:pt x="26" y="34"/>
                </a:cubicBezTo>
                <a:cubicBezTo>
                  <a:pt x="28" y="23"/>
                  <a:pt x="32" y="14"/>
                  <a:pt x="38" y="9"/>
                </a:cubicBezTo>
                <a:cubicBezTo>
                  <a:pt x="44" y="3"/>
                  <a:pt x="53" y="0"/>
                  <a:pt x="63" y="0"/>
                </a:cubicBezTo>
                <a:cubicBezTo>
                  <a:pt x="68" y="0"/>
                  <a:pt x="73" y="1"/>
                  <a:pt x="77" y="2"/>
                </a:cubicBezTo>
                <a:cubicBezTo>
                  <a:pt x="81" y="3"/>
                  <a:pt x="84" y="5"/>
                  <a:pt x="86" y="7"/>
                </a:cubicBezTo>
                <a:cubicBezTo>
                  <a:pt x="89" y="9"/>
                  <a:pt x="91" y="12"/>
                  <a:pt x="93" y="14"/>
                </a:cubicBezTo>
                <a:cubicBezTo>
                  <a:pt x="94" y="17"/>
                  <a:pt x="95" y="20"/>
                  <a:pt x="95" y="23"/>
                </a:cubicBezTo>
                <a:cubicBezTo>
                  <a:pt x="95" y="26"/>
                  <a:pt x="94" y="29"/>
                  <a:pt x="93" y="30"/>
                </a:cubicBezTo>
                <a:cubicBezTo>
                  <a:pt x="91" y="32"/>
                  <a:pt x="90" y="33"/>
                  <a:pt x="88" y="34"/>
                </a:cubicBezTo>
                <a:cubicBezTo>
                  <a:pt x="86" y="34"/>
                  <a:pt x="84" y="35"/>
                  <a:pt x="83" y="35"/>
                </a:cubicBezTo>
                <a:cubicBezTo>
                  <a:pt x="82" y="35"/>
                  <a:pt x="81" y="35"/>
                  <a:pt x="81" y="35"/>
                </a:cubicBezTo>
                <a:cubicBezTo>
                  <a:pt x="80" y="30"/>
                  <a:pt x="78" y="26"/>
                  <a:pt x="75" y="24"/>
                </a:cubicBezTo>
                <a:cubicBezTo>
                  <a:pt x="73" y="21"/>
                  <a:pt x="69" y="20"/>
                  <a:pt x="64" y="20"/>
                </a:cubicBezTo>
                <a:cubicBezTo>
                  <a:pt x="59" y="20"/>
                  <a:pt x="55" y="21"/>
                  <a:pt x="52" y="24"/>
                </a:cubicBezTo>
                <a:cubicBezTo>
                  <a:pt x="50" y="26"/>
                  <a:pt x="48" y="31"/>
                  <a:pt x="47" y="37"/>
                </a:cubicBezTo>
                <a:cubicBezTo>
                  <a:pt x="44" y="52"/>
                  <a:pt x="44" y="52"/>
                  <a:pt x="44" y="52"/>
                </a:cubicBezTo>
                <a:cubicBezTo>
                  <a:pt x="66" y="52"/>
                  <a:pt x="66" y="52"/>
                  <a:pt x="66" y="52"/>
                </a:cubicBezTo>
                <a:cubicBezTo>
                  <a:pt x="69" y="52"/>
                  <a:pt x="71" y="53"/>
                  <a:pt x="73" y="54"/>
                </a:cubicBezTo>
                <a:cubicBezTo>
                  <a:pt x="74" y="56"/>
                  <a:pt x="75" y="58"/>
                  <a:pt x="75" y="60"/>
                </a:cubicBezTo>
                <a:cubicBezTo>
                  <a:pt x="75" y="62"/>
                  <a:pt x="75" y="62"/>
                  <a:pt x="75" y="62"/>
                </a:cubicBezTo>
                <a:cubicBezTo>
                  <a:pt x="75" y="65"/>
                  <a:pt x="74" y="67"/>
                  <a:pt x="73" y="68"/>
                </a:cubicBezTo>
                <a:cubicBezTo>
                  <a:pt x="71" y="69"/>
                  <a:pt x="69" y="70"/>
                  <a:pt x="66" y="70"/>
                </a:cubicBezTo>
                <a:cubicBezTo>
                  <a:pt x="41" y="70"/>
                  <a:pt x="41" y="70"/>
                  <a:pt x="41" y="70"/>
                </a:cubicBezTo>
                <a:lnTo>
                  <a:pt x="37" y="93"/>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41" name="Freeform 117"/>
          <p:cNvSpPr>
            <a:spLocks/>
          </p:cNvSpPr>
          <p:nvPr userDrawn="1"/>
        </p:nvSpPr>
        <p:spPr bwMode="auto">
          <a:xfrm>
            <a:off x="6234546" y="4500563"/>
            <a:ext cx="80984" cy="97631"/>
          </a:xfrm>
          <a:custGeom>
            <a:avLst/>
            <a:gdLst/>
            <a:ahLst/>
            <a:cxnLst>
              <a:cxn ang="0">
                <a:pos x="3" y="47"/>
              </a:cxn>
              <a:cxn ang="0">
                <a:pos x="10" y="41"/>
              </a:cxn>
              <a:cxn ang="0">
                <a:pos x="65" y="11"/>
              </a:cxn>
              <a:cxn ang="0">
                <a:pos x="73" y="7"/>
              </a:cxn>
              <a:cxn ang="0">
                <a:pos x="90" y="12"/>
              </a:cxn>
              <a:cxn ang="0">
                <a:pos x="84" y="30"/>
              </a:cxn>
              <a:cxn ang="0">
                <a:pos x="74" y="36"/>
              </a:cxn>
              <a:cxn ang="0">
                <a:pos x="32" y="57"/>
              </a:cxn>
              <a:cxn ang="0">
                <a:pos x="32" y="57"/>
              </a:cxn>
              <a:cxn ang="0">
                <a:pos x="33" y="58"/>
              </a:cxn>
              <a:cxn ang="0">
                <a:pos x="74" y="79"/>
              </a:cxn>
              <a:cxn ang="0">
                <a:pos x="85" y="84"/>
              </a:cxn>
              <a:cxn ang="0">
                <a:pos x="90" y="103"/>
              </a:cxn>
              <a:cxn ang="0">
                <a:pos x="73" y="108"/>
              </a:cxn>
              <a:cxn ang="0">
                <a:pos x="65" y="103"/>
              </a:cxn>
              <a:cxn ang="0">
                <a:pos x="10" y="73"/>
              </a:cxn>
              <a:cxn ang="0">
                <a:pos x="3" y="68"/>
              </a:cxn>
              <a:cxn ang="0">
                <a:pos x="3" y="67"/>
              </a:cxn>
              <a:cxn ang="0">
                <a:pos x="0" y="57"/>
              </a:cxn>
              <a:cxn ang="0">
                <a:pos x="3" y="47"/>
              </a:cxn>
            </a:cxnLst>
            <a:rect l="0" t="0" r="r" b="b"/>
            <a:pathLst>
              <a:path w="95" h="114">
                <a:moveTo>
                  <a:pt x="3" y="47"/>
                </a:moveTo>
                <a:cubicBezTo>
                  <a:pt x="5" y="45"/>
                  <a:pt x="7" y="43"/>
                  <a:pt x="10" y="41"/>
                </a:cubicBezTo>
                <a:cubicBezTo>
                  <a:pt x="65" y="11"/>
                  <a:pt x="65" y="11"/>
                  <a:pt x="65" y="11"/>
                </a:cubicBezTo>
                <a:cubicBezTo>
                  <a:pt x="73" y="7"/>
                  <a:pt x="73" y="7"/>
                  <a:pt x="73" y="7"/>
                </a:cubicBezTo>
                <a:cubicBezTo>
                  <a:pt x="73" y="7"/>
                  <a:pt x="84" y="0"/>
                  <a:pt x="90" y="12"/>
                </a:cubicBezTo>
                <a:cubicBezTo>
                  <a:pt x="95" y="20"/>
                  <a:pt x="92" y="26"/>
                  <a:pt x="84" y="30"/>
                </a:cubicBezTo>
                <a:cubicBezTo>
                  <a:pt x="76" y="35"/>
                  <a:pt x="74" y="36"/>
                  <a:pt x="74" y="36"/>
                </a:cubicBezTo>
                <a:cubicBezTo>
                  <a:pt x="32" y="57"/>
                  <a:pt x="32" y="57"/>
                  <a:pt x="32" y="57"/>
                </a:cubicBezTo>
                <a:cubicBezTo>
                  <a:pt x="32" y="57"/>
                  <a:pt x="32" y="57"/>
                  <a:pt x="32" y="57"/>
                </a:cubicBezTo>
                <a:cubicBezTo>
                  <a:pt x="33" y="58"/>
                  <a:pt x="33" y="58"/>
                  <a:pt x="33" y="58"/>
                </a:cubicBezTo>
                <a:cubicBezTo>
                  <a:pt x="74" y="79"/>
                  <a:pt x="74" y="79"/>
                  <a:pt x="74" y="79"/>
                </a:cubicBezTo>
                <a:cubicBezTo>
                  <a:pt x="74" y="79"/>
                  <a:pt x="76" y="80"/>
                  <a:pt x="85" y="84"/>
                </a:cubicBezTo>
                <a:cubicBezTo>
                  <a:pt x="92" y="89"/>
                  <a:pt x="95" y="94"/>
                  <a:pt x="90" y="103"/>
                </a:cubicBezTo>
                <a:cubicBezTo>
                  <a:pt x="84" y="114"/>
                  <a:pt x="73" y="108"/>
                  <a:pt x="73" y="108"/>
                </a:cubicBezTo>
                <a:cubicBezTo>
                  <a:pt x="65" y="103"/>
                  <a:pt x="65" y="103"/>
                  <a:pt x="65" y="103"/>
                </a:cubicBezTo>
                <a:cubicBezTo>
                  <a:pt x="10" y="73"/>
                  <a:pt x="10" y="73"/>
                  <a:pt x="10" y="73"/>
                </a:cubicBezTo>
                <a:cubicBezTo>
                  <a:pt x="7" y="72"/>
                  <a:pt x="5" y="70"/>
                  <a:pt x="3" y="68"/>
                </a:cubicBezTo>
                <a:cubicBezTo>
                  <a:pt x="3" y="67"/>
                  <a:pt x="3" y="67"/>
                  <a:pt x="3" y="67"/>
                </a:cubicBezTo>
                <a:cubicBezTo>
                  <a:pt x="1" y="65"/>
                  <a:pt x="0" y="62"/>
                  <a:pt x="0" y="57"/>
                </a:cubicBezTo>
                <a:cubicBezTo>
                  <a:pt x="0" y="53"/>
                  <a:pt x="1" y="49"/>
                  <a:pt x="3" y="4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45" name="Freeform 121"/>
          <p:cNvSpPr>
            <a:spLocks/>
          </p:cNvSpPr>
          <p:nvPr userDrawn="1"/>
        </p:nvSpPr>
        <p:spPr bwMode="auto">
          <a:xfrm>
            <a:off x="6448914" y="4487466"/>
            <a:ext cx="72647" cy="122635"/>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49" name="Freeform 125"/>
          <p:cNvSpPr>
            <a:spLocks/>
          </p:cNvSpPr>
          <p:nvPr userDrawn="1"/>
        </p:nvSpPr>
        <p:spPr bwMode="auto">
          <a:xfrm>
            <a:off x="6647770" y="4502944"/>
            <a:ext cx="80983" cy="97631"/>
          </a:xfrm>
          <a:custGeom>
            <a:avLst/>
            <a:gdLst/>
            <a:ahLst/>
            <a:cxnLst>
              <a:cxn ang="0">
                <a:pos x="92" y="47"/>
              </a:cxn>
              <a:cxn ang="0">
                <a:pos x="85" y="41"/>
              </a:cxn>
              <a:cxn ang="0">
                <a:pos x="30" y="11"/>
              </a:cxn>
              <a:cxn ang="0">
                <a:pos x="22" y="7"/>
              </a:cxn>
              <a:cxn ang="0">
                <a:pos x="5" y="12"/>
              </a:cxn>
              <a:cxn ang="0">
                <a:pos x="10" y="30"/>
              </a:cxn>
              <a:cxn ang="0">
                <a:pos x="20" y="36"/>
              </a:cxn>
              <a:cxn ang="0">
                <a:pos x="62" y="57"/>
              </a:cxn>
              <a:cxn ang="0">
                <a:pos x="63" y="57"/>
              </a:cxn>
              <a:cxn ang="0">
                <a:pos x="62" y="58"/>
              </a:cxn>
              <a:cxn ang="0">
                <a:pos x="20" y="79"/>
              </a:cxn>
              <a:cxn ang="0">
                <a:pos x="10" y="84"/>
              </a:cxn>
              <a:cxn ang="0">
                <a:pos x="4" y="103"/>
              </a:cxn>
              <a:cxn ang="0">
                <a:pos x="22" y="108"/>
              </a:cxn>
              <a:cxn ang="0">
                <a:pos x="30" y="103"/>
              </a:cxn>
              <a:cxn ang="0">
                <a:pos x="85" y="73"/>
              </a:cxn>
              <a:cxn ang="0">
                <a:pos x="92" y="68"/>
              </a:cxn>
              <a:cxn ang="0">
                <a:pos x="92" y="67"/>
              </a:cxn>
              <a:cxn ang="0">
                <a:pos x="95" y="57"/>
              </a:cxn>
              <a:cxn ang="0">
                <a:pos x="92" y="47"/>
              </a:cxn>
            </a:cxnLst>
            <a:rect l="0" t="0" r="r" b="b"/>
            <a:pathLst>
              <a:path w="95" h="114">
                <a:moveTo>
                  <a:pt x="92" y="47"/>
                </a:moveTo>
                <a:cubicBezTo>
                  <a:pt x="90" y="45"/>
                  <a:pt x="88" y="43"/>
                  <a:pt x="85" y="41"/>
                </a:cubicBezTo>
                <a:cubicBezTo>
                  <a:pt x="30" y="11"/>
                  <a:pt x="30" y="11"/>
                  <a:pt x="30" y="11"/>
                </a:cubicBezTo>
                <a:cubicBezTo>
                  <a:pt x="22" y="7"/>
                  <a:pt x="22" y="7"/>
                  <a:pt x="22" y="7"/>
                </a:cubicBezTo>
                <a:cubicBezTo>
                  <a:pt x="22" y="7"/>
                  <a:pt x="11" y="0"/>
                  <a:pt x="5" y="12"/>
                </a:cubicBezTo>
                <a:cubicBezTo>
                  <a:pt x="0" y="20"/>
                  <a:pt x="3" y="26"/>
                  <a:pt x="10" y="30"/>
                </a:cubicBezTo>
                <a:cubicBezTo>
                  <a:pt x="19" y="35"/>
                  <a:pt x="20" y="36"/>
                  <a:pt x="20" y="36"/>
                </a:cubicBezTo>
                <a:cubicBezTo>
                  <a:pt x="62" y="57"/>
                  <a:pt x="62" y="57"/>
                  <a:pt x="62" y="57"/>
                </a:cubicBezTo>
                <a:cubicBezTo>
                  <a:pt x="63" y="57"/>
                  <a:pt x="63" y="57"/>
                  <a:pt x="63" y="57"/>
                </a:cubicBezTo>
                <a:cubicBezTo>
                  <a:pt x="62" y="58"/>
                  <a:pt x="62" y="58"/>
                  <a:pt x="62" y="58"/>
                </a:cubicBezTo>
                <a:cubicBezTo>
                  <a:pt x="20" y="79"/>
                  <a:pt x="20" y="79"/>
                  <a:pt x="20" y="79"/>
                </a:cubicBezTo>
                <a:cubicBezTo>
                  <a:pt x="20" y="79"/>
                  <a:pt x="19" y="80"/>
                  <a:pt x="10" y="84"/>
                </a:cubicBezTo>
                <a:cubicBezTo>
                  <a:pt x="2" y="89"/>
                  <a:pt x="0" y="94"/>
                  <a:pt x="4" y="103"/>
                </a:cubicBezTo>
                <a:cubicBezTo>
                  <a:pt x="11" y="114"/>
                  <a:pt x="22" y="108"/>
                  <a:pt x="22" y="108"/>
                </a:cubicBezTo>
                <a:cubicBezTo>
                  <a:pt x="30" y="103"/>
                  <a:pt x="30" y="103"/>
                  <a:pt x="30" y="103"/>
                </a:cubicBezTo>
                <a:cubicBezTo>
                  <a:pt x="85" y="73"/>
                  <a:pt x="85" y="73"/>
                  <a:pt x="85" y="73"/>
                </a:cubicBezTo>
                <a:cubicBezTo>
                  <a:pt x="88" y="72"/>
                  <a:pt x="90" y="70"/>
                  <a:pt x="92" y="68"/>
                </a:cubicBezTo>
                <a:cubicBezTo>
                  <a:pt x="92" y="67"/>
                  <a:pt x="92" y="67"/>
                  <a:pt x="92" y="67"/>
                </a:cubicBezTo>
                <a:cubicBezTo>
                  <a:pt x="94" y="65"/>
                  <a:pt x="95" y="62"/>
                  <a:pt x="95" y="57"/>
                </a:cubicBezTo>
                <a:cubicBezTo>
                  <a:pt x="95" y="53"/>
                  <a:pt x="94" y="49"/>
                  <a:pt x="92" y="4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53" name="Freeform 129"/>
          <p:cNvSpPr>
            <a:spLocks noEditPoints="1"/>
          </p:cNvSpPr>
          <p:nvPr userDrawn="1"/>
        </p:nvSpPr>
        <p:spPr bwMode="auto">
          <a:xfrm>
            <a:off x="6858596" y="4501754"/>
            <a:ext cx="64310" cy="96440"/>
          </a:xfrm>
          <a:custGeom>
            <a:avLst/>
            <a:gdLst/>
            <a:ahLst/>
            <a:cxnLst>
              <a:cxn ang="0">
                <a:pos x="34" y="79"/>
              </a:cxn>
              <a:cxn ang="0">
                <a:pos x="27" y="77"/>
              </a:cxn>
              <a:cxn ang="0">
                <a:pos x="24" y="70"/>
              </a:cxn>
              <a:cxn ang="0">
                <a:pos x="27" y="59"/>
              </a:cxn>
              <a:cxn ang="0">
                <a:pos x="32" y="51"/>
              </a:cxn>
              <a:cxn ang="0">
                <a:pos x="39" y="46"/>
              </a:cxn>
              <a:cxn ang="0">
                <a:pos x="46" y="42"/>
              </a:cxn>
              <a:cxn ang="0">
                <a:pos x="52" y="38"/>
              </a:cxn>
              <a:cxn ang="0">
                <a:pos x="54" y="32"/>
              </a:cxn>
              <a:cxn ang="0">
                <a:pos x="50" y="23"/>
              </a:cxn>
              <a:cxn ang="0">
                <a:pos x="38" y="19"/>
              </a:cxn>
              <a:cxn ang="0">
                <a:pos x="29" y="21"/>
              </a:cxn>
              <a:cxn ang="0">
                <a:pos x="22" y="26"/>
              </a:cxn>
              <a:cxn ang="0">
                <a:pos x="18" y="32"/>
              </a:cxn>
              <a:cxn ang="0">
                <a:pos x="16" y="39"/>
              </a:cxn>
              <a:cxn ang="0">
                <a:pos x="14" y="39"/>
              </a:cxn>
              <a:cxn ang="0">
                <a:pos x="8" y="38"/>
              </a:cxn>
              <a:cxn ang="0">
                <a:pos x="2" y="34"/>
              </a:cxn>
              <a:cxn ang="0">
                <a:pos x="0" y="27"/>
              </a:cxn>
              <a:cxn ang="0">
                <a:pos x="2" y="18"/>
              </a:cxn>
              <a:cxn ang="0">
                <a:pos x="10" y="9"/>
              </a:cxn>
              <a:cxn ang="0">
                <a:pos x="22" y="2"/>
              </a:cxn>
              <a:cxn ang="0">
                <a:pos x="39" y="0"/>
              </a:cxn>
              <a:cxn ang="0">
                <a:pos x="55" y="2"/>
              </a:cxn>
              <a:cxn ang="0">
                <a:pos x="67" y="8"/>
              </a:cxn>
              <a:cxn ang="0">
                <a:pos x="74" y="18"/>
              </a:cxn>
              <a:cxn ang="0">
                <a:pos x="77" y="30"/>
              </a:cxn>
              <a:cxn ang="0">
                <a:pos x="75" y="42"/>
              </a:cxn>
              <a:cxn ang="0">
                <a:pos x="69" y="50"/>
              </a:cxn>
              <a:cxn ang="0">
                <a:pos x="61" y="55"/>
              </a:cxn>
              <a:cxn ang="0">
                <a:pos x="53" y="60"/>
              </a:cxn>
              <a:cxn ang="0">
                <a:pos x="47" y="66"/>
              </a:cxn>
              <a:cxn ang="0">
                <a:pos x="44" y="74"/>
              </a:cxn>
              <a:cxn ang="0">
                <a:pos x="34" y="79"/>
              </a:cxn>
              <a:cxn ang="0">
                <a:pos x="22" y="102"/>
              </a:cxn>
              <a:cxn ang="0">
                <a:pos x="22" y="99"/>
              </a:cxn>
              <a:cxn ang="0">
                <a:pos x="33" y="88"/>
              </a:cxn>
              <a:cxn ang="0">
                <a:pos x="36" y="88"/>
              </a:cxn>
              <a:cxn ang="0">
                <a:pos x="48" y="99"/>
              </a:cxn>
              <a:cxn ang="0">
                <a:pos x="48" y="102"/>
              </a:cxn>
              <a:cxn ang="0">
                <a:pos x="36" y="113"/>
              </a:cxn>
              <a:cxn ang="0">
                <a:pos x="33" y="113"/>
              </a:cxn>
              <a:cxn ang="0">
                <a:pos x="22" y="102"/>
              </a:cxn>
            </a:cxnLst>
            <a:rect l="0" t="0" r="r" b="b"/>
            <a:pathLst>
              <a:path w="77" h="113">
                <a:moveTo>
                  <a:pt x="34" y="79"/>
                </a:moveTo>
                <a:cubicBezTo>
                  <a:pt x="31" y="79"/>
                  <a:pt x="29" y="78"/>
                  <a:pt x="27" y="77"/>
                </a:cubicBezTo>
                <a:cubicBezTo>
                  <a:pt x="25" y="75"/>
                  <a:pt x="24" y="73"/>
                  <a:pt x="24" y="70"/>
                </a:cubicBezTo>
                <a:cubicBezTo>
                  <a:pt x="25" y="66"/>
                  <a:pt x="25" y="62"/>
                  <a:pt x="27" y="59"/>
                </a:cubicBezTo>
                <a:cubicBezTo>
                  <a:pt x="28" y="56"/>
                  <a:pt x="30" y="53"/>
                  <a:pt x="32" y="51"/>
                </a:cubicBezTo>
                <a:cubicBezTo>
                  <a:pt x="35" y="49"/>
                  <a:pt x="37" y="47"/>
                  <a:pt x="39" y="46"/>
                </a:cubicBezTo>
                <a:cubicBezTo>
                  <a:pt x="42" y="45"/>
                  <a:pt x="44" y="43"/>
                  <a:pt x="46" y="42"/>
                </a:cubicBezTo>
                <a:cubicBezTo>
                  <a:pt x="49" y="41"/>
                  <a:pt x="50" y="39"/>
                  <a:pt x="52" y="38"/>
                </a:cubicBezTo>
                <a:cubicBezTo>
                  <a:pt x="53" y="36"/>
                  <a:pt x="54" y="34"/>
                  <a:pt x="54" y="32"/>
                </a:cubicBezTo>
                <a:cubicBezTo>
                  <a:pt x="54" y="28"/>
                  <a:pt x="53" y="25"/>
                  <a:pt x="50" y="23"/>
                </a:cubicBezTo>
                <a:cubicBezTo>
                  <a:pt x="47" y="20"/>
                  <a:pt x="43" y="19"/>
                  <a:pt x="38" y="19"/>
                </a:cubicBezTo>
                <a:cubicBezTo>
                  <a:pt x="35" y="19"/>
                  <a:pt x="32" y="20"/>
                  <a:pt x="29" y="21"/>
                </a:cubicBezTo>
                <a:cubicBezTo>
                  <a:pt x="26" y="22"/>
                  <a:pt x="24" y="24"/>
                  <a:pt x="22" y="26"/>
                </a:cubicBezTo>
                <a:cubicBezTo>
                  <a:pt x="21" y="27"/>
                  <a:pt x="19" y="29"/>
                  <a:pt x="18" y="32"/>
                </a:cubicBezTo>
                <a:cubicBezTo>
                  <a:pt x="17" y="34"/>
                  <a:pt x="16" y="37"/>
                  <a:pt x="16" y="39"/>
                </a:cubicBezTo>
                <a:cubicBezTo>
                  <a:pt x="16" y="39"/>
                  <a:pt x="15" y="39"/>
                  <a:pt x="14" y="39"/>
                </a:cubicBezTo>
                <a:cubicBezTo>
                  <a:pt x="12" y="39"/>
                  <a:pt x="10" y="39"/>
                  <a:pt x="8" y="38"/>
                </a:cubicBezTo>
                <a:cubicBezTo>
                  <a:pt x="6" y="37"/>
                  <a:pt x="4" y="36"/>
                  <a:pt x="2" y="34"/>
                </a:cubicBezTo>
                <a:cubicBezTo>
                  <a:pt x="1" y="33"/>
                  <a:pt x="0" y="30"/>
                  <a:pt x="0" y="27"/>
                </a:cubicBezTo>
                <a:cubicBezTo>
                  <a:pt x="0" y="24"/>
                  <a:pt x="1" y="21"/>
                  <a:pt x="2" y="18"/>
                </a:cubicBezTo>
                <a:cubicBezTo>
                  <a:pt x="4" y="14"/>
                  <a:pt x="6" y="11"/>
                  <a:pt x="10" y="9"/>
                </a:cubicBezTo>
                <a:cubicBezTo>
                  <a:pt x="13" y="6"/>
                  <a:pt x="17" y="4"/>
                  <a:pt x="22" y="2"/>
                </a:cubicBezTo>
                <a:cubicBezTo>
                  <a:pt x="26" y="1"/>
                  <a:pt x="32" y="0"/>
                  <a:pt x="39" y="0"/>
                </a:cubicBezTo>
                <a:cubicBezTo>
                  <a:pt x="45" y="0"/>
                  <a:pt x="50" y="0"/>
                  <a:pt x="55" y="2"/>
                </a:cubicBezTo>
                <a:cubicBezTo>
                  <a:pt x="59" y="3"/>
                  <a:pt x="63" y="5"/>
                  <a:pt x="67" y="8"/>
                </a:cubicBezTo>
                <a:cubicBezTo>
                  <a:pt x="70" y="11"/>
                  <a:pt x="73" y="14"/>
                  <a:pt x="74" y="18"/>
                </a:cubicBezTo>
                <a:cubicBezTo>
                  <a:pt x="76" y="21"/>
                  <a:pt x="77" y="26"/>
                  <a:pt x="77" y="30"/>
                </a:cubicBezTo>
                <a:cubicBezTo>
                  <a:pt x="77" y="35"/>
                  <a:pt x="76" y="39"/>
                  <a:pt x="75" y="42"/>
                </a:cubicBezTo>
                <a:cubicBezTo>
                  <a:pt x="73" y="45"/>
                  <a:pt x="71" y="47"/>
                  <a:pt x="69" y="50"/>
                </a:cubicBezTo>
                <a:cubicBezTo>
                  <a:pt x="67" y="52"/>
                  <a:pt x="64" y="54"/>
                  <a:pt x="61" y="55"/>
                </a:cubicBezTo>
                <a:cubicBezTo>
                  <a:pt x="58" y="57"/>
                  <a:pt x="56" y="58"/>
                  <a:pt x="53" y="60"/>
                </a:cubicBezTo>
                <a:cubicBezTo>
                  <a:pt x="51" y="62"/>
                  <a:pt x="49" y="64"/>
                  <a:pt x="47" y="66"/>
                </a:cubicBezTo>
                <a:cubicBezTo>
                  <a:pt x="45" y="68"/>
                  <a:pt x="45" y="71"/>
                  <a:pt x="44" y="74"/>
                </a:cubicBezTo>
                <a:cubicBezTo>
                  <a:pt x="43" y="77"/>
                  <a:pt x="40" y="79"/>
                  <a:pt x="34" y="79"/>
                </a:cubicBezTo>
                <a:close/>
                <a:moveTo>
                  <a:pt x="22" y="102"/>
                </a:moveTo>
                <a:cubicBezTo>
                  <a:pt x="22" y="99"/>
                  <a:pt x="22" y="99"/>
                  <a:pt x="22" y="99"/>
                </a:cubicBezTo>
                <a:cubicBezTo>
                  <a:pt x="22" y="92"/>
                  <a:pt x="26" y="88"/>
                  <a:pt x="33" y="88"/>
                </a:cubicBezTo>
                <a:cubicBezTo>
                  <a:pt x="36" y="88"/>
                  <a:pt x="36" y="88"/>
                  <a:pt x="36" y="88"/>
                </a:cubicBezTo>
                <a:cubicBezTo>
                  <a:pt x="44" y="88"/>
                  <a:pt x="48" y="92"/>
                  <a:pt x="48" y="99"/>
                </a:cubicBezTo>
                <a:cubicBezTo>
                  <a:pt x="48" y="102"/>
                  <a:pt x="48" y="102"/>
                  <a:pt x="48" y="102"/>
                </a:cubicBezTo>
                <a:cubicBezTo>
                  <a:pt x="48" y="109"/>
                  <a:pt x="44" y="113"/>
                  <a:pt x="36" y="113"/>
                </a:cubicBezTo>
                <a:cubicBezTo>
                  <a:pt x="33" y="113"/>
                  <a:pt x="33" y="113"/>
                  <a:pt x="33" y="113"/>
                </a:cubicBezTo>
                <a:cubicBezTo>
                  <a:pt x="26" y="113"/>
                  <a:pt x="22" y="109"/>
                  <a:pt x="22" y="10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57" name="Freeform 133"/>
          <p:cNvSpPr>
            <a:spLocks noEditPoints="1"/>
          </p:cNvSpPr>
          <p:nvPr userDrawn="1"/>
        </p:nvSpPr>
        <p:spPr bwMode="auto">
          <a:xfrm>
            <a:off x="7056291" y="4525566"/>
            <a:ext cx="65501" cy="44054"/>
          </a:xfrm>
          <a:custGeom>
            <a:avLst/>
            <a:gdLst/>
            <a:ahLst/>
            <a:cxnLst>
              <a:cxn ang="0">
                <a:pos x="10" y="51"/>
              </a:cxn>
              <a:cxn ang="0">
                <a:pos x="5" y="50"/>
              </a:cxn>
              <a:cxn ang="0">
                <a:pos x="2" y="48"/>
              </a:cxn>
              <a:cxn ang="0">
                <a:pos x="1" y="43"/>
              </a:cxn>
              <a:cxn ang="0">
                <a:pos x="10" y="11"/>
              </a:cxn>
              <a:cxn ang="0">
                <a:pos x="14" y="2"/>
              </a:cxn>
              <a:cxn ang="0">
                <a:pos x="23" y="0"/>
              </a:cxn>
              <a:cxn ang="0">
                <a:pos x="26" y="0"/>
              </a:cxn>
              <a:cxn ang="0">
                <a:pos x="34" y="2"/>
              </a:cxn>
              <a:cxn ang="0">
                <a:pos x="37" y="11"/>
              </a:cxn>
              <a:cxn ang="0">
                <a:pos x="37" y="13"/>
              </a:cxn>
              <a:cxn ang="0">
                <a:pos x="30" y="27"/>
              </a:cxn>
              <a:cxn ang="0">
                <a:pos x="15" y="49"/>
              </a:cxn>
              <a:cxn ang="0">
                <a:pos x="10" y="51"/>
              </a:cxn>
              <a:cxn ang="0">
                <a:pos x="50" y="51"/>
              </a:cxn>
              <a:cxn ang="0">
                <a:pos x="45" y="50"/>
              </a:cxn>
              <a:cxn ang="0">
                <a:pos x="41" y="48"/>
              </a:cxn>
              <a:cxn ang="0">
                <a:pos x="40" y="43"/>
              </a:cxn>
              <a:cxn ang="0">
                <a:pos x="49" y="11"/>
              </a:cxn>
              <a:cxn ang="0">
                <a:pos x="53" y="2"/>
              </a:cxn>
              <a:cxn ang="0">
                <a:pos x="62" y="0"/>
              </a:cxn>
              <a:cxn ang="0">
                <a:pos x="65" y="0"/>
              </a:cxn>
              <a:cxn ang="0">
                <a:pos x="73" y="2"/>
              </a:cxn>
              <a:cxn ang="0">
                <a:pos x="76" y="11"/>
              </a:cxn>
              <a:cxn ang="0">
                <a:pos x="76" y="13"/>
              </a:cxn>
              <a:cxn ang="0">
                <a:pos x="70" y="27"/>
              </a:cxn>
              <a:cxn ang="0">
                <a:pos x="54" y="49"/>
              </a:cxn>
              <a:cxn ang="0">
                <a:pos x="50" y="51"/>
              </a:cxn>
            </a:cxnLst>
            <a:rect l="0" t="0" r="r" b="b"/>
            <a:pathLst>
              <a:path w="76" h="51">
                <a:moveTo>
                  <a:pt x="10" y="51"/>
                </a:moveTo>
                <a:cubicBezTo>
                  <a:pt x="9" y="51"/>
                  <a:pt x="7" y="51"/>
                  <a:pt x="5" y="50"/>
                </a:cubicBezTo>
                <a:cubicBezTo>
                  <a:pt x="4" y="50"/>
                  <a:pt x="3" y="49"/>
                  <a:pt x="2" y="48"/>
                </a:cubicBezTo>
                <a:cubicBezTo>
                  <a:pt x="1" y="46"/>
                  <a:pt x="0" y="44"/>
                  <a:pt x="1" y="43"/>
                </a:cubicBezTo>
                <a:cubicBezTo>
                  <a:pt x="10" y="11"/>
                  <a:pt x="10" y="11"/>
                  <a:pt x="10" y="11"/>
                </a:cubicBezTo>
                <a:cubicBezTo>
                  <a:pt x="11" y="7"/>
                  <a:pt x="12" y="4"/>
                  <a:pt x="14" y="2"/>
                </a:cubicBezTo>
                <a:cubicBezTo>
                  <a:pt x="15" y="1"/>
                  <a:pt x="18" y="0"/>
                  <a:pt x="23" y="0"/>
                </a:cubicBezTo>
                <a:cubicBezTo>
                  <a:pt x="26" y="0"/>
                  <a:pt x="26" y="0"/>
                  <a:pt x="26" y="0"/>
                </a:cubicBezTo>
                <a:cubicBezTo>
                  <a:pt x="29" y="0"/>
                  <a:pt x="32" y="1"/>
                  <a:pt x="34" y="2"/>
                </a:cubicBezTo>
                <a:cubicBezTo>
                  <a:pt x="36" y="4"/>
                  <a:pt x="37" y="7"/>
                  <a:pt x="37" y="11"/>
                </a:cubicBezTo>
                <a:cubicBezTo>
                  <a:pt x="37" y="13"/>
                  <a:pt x="37" y="13"/>
                  <a:pt x="37" y="13"/>
                </a:cubicBezTo>
                <a:cubicBezTo>
                  <a:pt x="37" y="18"/>
                  <a:pt x="34" y="22"/>
                  <a:pt x="30" y="27"/>
                </a:cubicBezTo>
                <a:cubicBezTo>
                  <a:pt x="15" y="49"/>
                  <a:pt x="15" y="49"/>
                  <a:pt x="15" y="49"/>
                </a:cubicBezTo>
                <a:cubicBezTo>
                  <a:pt x="14" y="50"/>
                  <a:pt x="12" y="51"/>
                  <a:pt x="10" y="51"/>
                </a:cubicBezTo>
                <a:close/>
                <a:moveTo>
                  <a:pt x="50" y="51"/>
                </a:moveTo>
                <a:cubicBezTo>
                  <a:pt x="48" y="51"/>
                  <a:pt x="46" y="51"/>
                  <a:pt x="45" y="50"/>
                </a:cubicBezTo>
                <a:cubicBezTo>
                  <a:pt x="43" y="50"/>
                  <a:pt x="42" y="49"/>
                  <a:pt x="41" y="48"/>
                </a:cubicBezTo>
                <a:cubicBezTo>
                  <a:pt x="40" y="46"/>
                  <a:pt x="40" y="44"/>
                  <a:pt x="40" y="43"/>
                </a:cubicBezTo>
                <a:cubicBezTo>
                  <a:pt x="49" y="11"/>
                  <a:pt x="49" y="11"/>
                  <a:pt x="49" y="11"/>
                </a:cubicBezTo>
                <a:cubicBezTo>
                  <a:pt x="50" y="7"/>
                  <a:pt x="51" y="4"/>
                  <a:pt x="53" y="2"/>
                </a:cubicBezTo>
                <a:cubicBezTo>
                  <a:pt x="55" y="1"/>
                  <a:pt x="58" y="0"/>
                  <a:pt x="62" y="0"/>
                </a:cubicBezTo>
                <a:cubicBezTo>
                  <a:pt x="65" y="0"/>
                  <a:pt x="65" y="0"/>
                  <a:pt x="65" y="0"/>
                </a:cubicBezTo>
                <a:cubicBezTo>
                  <a:pt x="68" y="0"/>
                  <a:pt x="71" y="1"/>
                  <a:pt x="73" y="2"/>
                </a:cubicBezTo>
                <a:cubicBezTo>
                  <a:pt x="75" y="4"/>
                  <a:pt x="76" y="7"/>
                  <a:pt x="76" y="11"/>
                </a:cubicBezTo>
                <a:cubicBezTo>
                  <a:pt x="76" y="13"/>
                  <a:pt x="76" y="13"/>
                  <a:pt x="76" y="13"/>
                </a:cubicBezTo>
                <a:cubicBezTo>
                  <a:pt x="76" y="17"/>
                  <a:pt x="74" y="22"/>
                  <a:pt x="70" y="27"/>
                </a:cubicBezTo>
                <a:cubicBezTo>
                  <a:pt x="54" y="49"/>
                  <a:pt x="54" y="49"/>
                  <a:pt x="54" y="49"/>
                </a:cubicBezTo>
                <a:cubicBezTo>
                  <a:pt x="53" y="50"/>
                  <a:pt x="52" y="51"/>
                  <a:pt x="50" y="5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61" name="Freeform 137"/>
          <p:cNvSpPr>
            <a:spLocks/>
          </p:cNvSpPr>
          <p:nvPr userDrawn="1"/>
        </p:nvSpPr>
        <p:spPr bwMode="auto">
          <a:xfrm>
            <a:off x="7252796" y="4486275"/>
            <a:ext cx="55974" cy="123825"/>
          </a:xfrm>
          <a:custGeom>
            <a:avLst/>
            <a:gdLst/>
            <a:ahLst/>
            <a:cxnLst>
              <a:cxn ang="0">
                <a:pos x="57" y="110"/>
              </a:cxn>
              <a:cxn ang="0">
                <a:pos x="64" y="130"/>
              </a:cxn>
              <a:cxn ang="0">
                <a:pos x="65" y="140"/>
              </a:cxn>
              <a:cxn ang="0">
                <a:pos x="58" y="145"/>
              </a:cxn>
              <a:cxn ang="0">
                <a:pos x="57" y="145"/>
              </a:cxn>
              <a:cxn ang="0">
                <a:pos x="48" y="145"/>
              </a:cxn>
              <a:cxn ang="0">
                <a:pos x="43" y="137"/>
              </a:cxn>
              <a:cxn ang="0">
                <a:pos x="39" y="125"/>
              </a:cxn>
              <a:cxn ang="0">
                <a:pos x="38" y="121"/>
              </a:cxn>
              <a:cxn ang="0">
                <a:pos x="11" y="42"/>
              </a:cxn>
              <a:cxn ang="0">
                <a:pos x="10" y="40"/>
              </a:cxn>
              <a:cxn ang="0">
                <a:pos x="2" y="16"/>
              </a:cxn>
              <a:cxn ang="0">
                <a:pos x="8" y="2"/>
              </a:cxn>
              <a:cxn ang="0">
                <a:pos x="10" y="1"/>
              </a:cxn>
              <a:cxn ang="0">
                <a:pos x="23" y="9"/>
              </a:cxn>
              <a:cxn ang="0">
                <a:pos x="32" y="34"/>
              </a:cxn>
              <a:cxn ang="0">
                <a:pos x="34" y="41"/>
              </a:cxn>
              <a:cxn ang="0">
                <a:pos x="57" y="110"/>
              </a:cxn>
            </a:cxnLst>
            <a:rect l="0" t="0" r="r" b="b"/>
            <a:pathLst>
              <a:path w="66" h="146">
                <a:moveTo>
                  <a:pt x="57" y="110"/>
                </a:moveTo>
                <a:cubicBezTo>
                  <a:pt x="64" y="130"/>
                  <a:pt x="64" y="130"/>
                  <a:pt x="64" y="130"/>
                </a:cubicBezTo>
                <a:cubicBezTo>
                  <a:pt x="66" y="134"/>
                  <a:pt x="66" y="138"/>
                  <a:pt x="65" y="140"/>
                </a:cubicBezTo>
                <a:cubicBezTo>
                  <a:pt x="64" y="142"/>
                  <a:pt x="62" y="144"/>
                  <a:pt x="58" y="145"/>
                </a:cubicBezTo>
                <a:cubicBezTo>
                  <a:pt x="57" y="145"/>
                  <a:pt x="57" y="145"/>
                  <a:pt x="57" y="145"/>
                </a:cubicBezTo>
                <a:cubicBezTo>
                  <a:pt x="54" y="146"/>
                  <a:pt x="51" y="146"/>
                  <a:pt x="48" y="145"/>
                </a:cubicBezTo>
                <a:cubicBezTo>
                  <a:pt x="46" y="143"/>
                  <a:pt x="44" y="141"/>
                  <a:pt x="43" y="137"/>
                </a:cubicBezTo>
                <a:cubicBezTo>
                  <a:pt x="39" y="125"/>
                  <a:pt x="39" y="125"/>
                  <a:pt x="39" y="125"/>
                </a:cubicBezTo>
                <a:cubicBezTo>
                  <a:pt x="39" y="125"/>
                  <a:pt x="39" y="125"/>
                  <a:pt x="38" y="121"/>
                </a:cubicBezTo>
                <a:cubicBezTo>
                  <a:pt x="11" y="42"/>
                  <a:pt x="11" y="42"/>
                  <a:pt x="11" y="42"/>
                </a:cubicBezTo>
                <a:cubicBezTo>
                  <a:pt x="10" y="38"/>
                  <a:pt x="10" y="40"/>
                  <a:pt x="10" y="40"/>
                </a:cubicBezTo>
                <a:cubicBezTo>
                  <a:pt x="2" y="16"/>
                  <a:pt x="2" y="16"/>
                  <a:pt x="2" y="16"/>
                </a:cubicBezTo>
                <a:cubicBezTo>
                  <a:pt x="0" y="8"/>
                  <a:pt x="2" y="4"/>
                  <a:pt x="8" y="2"/>
                </a:cubicBezTo>
                <a:cubicBezTo>
                  <a:pt x="10" y="1"/>
                  <a:pt x="10" y="1"/>
                  <a:pt x="10" y="1"/>
                </a:cubicBezTo>
                <a:cubicBezTo>
                  <a:pt x="16" y="0"/>
                  <a:pt x="21" y="2"/>
                  <a:pt x="23" y="9"/>
                </a:cubicBezTo>
                <a:cubicBezTo>
                  <a:pt x="32" y="34"/>
                  <a:pt x="32" y="34"/>
                  <a:pt x="32" y="34"/>
                </a:cubicBezTo>
                <a:cubicBezTo>
                  <a:pt x="34" y="41"/>
                  <a:pt x="34" y="41"/>
                  <a:pt x="34" y="41"/>
                </a:cubicBezTo>
                <a:cubicBezTo>
                  <a:pt x="57" y="110"/>
                  <a:pt x="57" y="110"/>
                  <a:pt x="57" y="110"/>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65" name="Freeform 141"/>
          <p:cNvSpPr>
            <a:spLocks/>
          </p:cNvSpPr>
          <p:nvPr userDrawn="1"/>
        </p:nvSpPr>
        <p:spPr bwMode="auto">
          <a:xfrm>
            <a:off x="7444536" y="4485085"/>
            <a:ext cx="55974" cy="123825"/>
          </a:xfrm>
          <a:custGeom>
            <a:avLst/>
            <a:gdLst/>
            <a:ahLst/>
            <a:cxnLst>
              <a:cxn ang="0">
                <a:pos x="8" y="110"/>
              </a:cxn>
              <a:cxn ang="0">
                <a:pos x="32" y="41"/>
              </a:cxn>
              <a:cxn ang="0">
                <a:pos x="34" y="34"/>
              </a:cxn>
              <a:cxn ang="0">
                <a:pos x="42" y="9"/>
              </a:cxn>
              <a:cxn ang="0">
                <a:pos x="56" y="1"/>
              </a:cxn>
              <a:cxn ang="0">
                <a:pos x="57" y="2"/>
              </a:cxn>
              <a:cxn ang="0">
                <a:pos x="64" y="16"/>
              </a:cxn>
              <a:cxn ang="0">
                <a:pos x="55" y="40"/>
              </a:cxn>
              <a:cxn ang="0">
                <a:pos x="55" y="42"/>
              </a:cxn>
              <a:cxn ang="0">
                <a:pos x="28" y="121"/>
              </a:cxn>
              <a:cxn ang="0">
                <a:pos x="26" y="125"/>
              </a:cxn>
              <a:cxn ang="0">
                <a:pos x="23" y="137"/>
              </a:cxn>
              <a:cxn ang="0">
                <a:pos x="17" y="145"/>
              </a:cxn>
              <a:cxn ang="0">
                <a:pos x="8" y="145"/>
              </a:cxn>
              <a:cxn ang="0">
                <a:pos x="7" y="145"/>
              </a:cxn>
              <a:cxn ang="0">
                <a:pos x="1" y="140"/>
              </a:cxn>
              <a:cxn ang="0">
                <a:pos x="1" y="130"/>
              </a:cxn>
              <a:cxn ang="0">
                <a:pos x="8" y="110"/>
              </a:cxn>
            </a:cxnLst>
            <a:rect l="0" t="0" r="r" b="b"/>
            <a:pathLst>
              <a:path w="66" h="146">
                <a:moveTo>
                  <a:pt x="8" y="110"/>
                </a:moveTo>
                <a:cubicBezTo>
                  <a:pt x="32" y="41"/>
                  <a:pt x="32" y="41"/>
                  <a:pt x="32" y="41"/>
                </a:cubicBezTo>
                <a:cubicBezTo>
                  <a:pt x="34" y="34"/>
                  <a:pt x="34" y="34"/>
                  <a:pt x="34" y="34"/>
                </a:cubicBezTo>
                <a:cubicBezTo>
                  <a:pt x="42" y="9"/>
                  <a:pt x="42" y="9"/>
                  <a:pt x="42" y="9"/>
                </a:cubicBezTo>
                <a:cubicBezTo>
                  <a:pt x="45" y="2"/>
                  <a:pt x="50" y="0"/>
                  <a:pt x="56" y="1"/>
                </a:cubicBezTo>
                <a:cubicBezTo>
                  <a:pt x="57" y="2"/>
                  <a:pt x="57" y="2"/>
                  <a:pt x="57" y="2"/>
                </a:cubicBezTo>
                <a:cubicBezTo>
                  <a:pt x="63" y="4"/>
                  <a:pt x="66" y="8"/>
                  <a:pt x="64" y="16"/>
                </a:cubicBezTo>
                <a:cubicBezTo>
                  <a:pt x="55" y="40"/>
                  <a:pt x="55" y="40"/>
                  <a:pt x="55" y="40"/>
                </a:cubicBezTo>
                <a:cubicBezTo>
                  <a:pt x="55" y="40"/>
                  <a:pt x="56" y="38"/>
                  <a:pt x="55" y="42"/>
                </a:cubicBezTo>
                <a:cubicBezTo>
                  <a:pt x="28" y="121"/>
                  <a:pt x="28" y="121"/>
                  <a:pt x="28" y="121"/>
                </a:cubicBezTo>
                <a:cubicBezTo>
                  <a:pt x="26" y="125"/>
                  <a:pt x="26" y="125"/>
                  <a:pt x="26" y="125"/>
                </a:cubicBezTo>
                <a:cubicBezTo>
                  <a:pt x="23" y="137"/>
                  <a:pt x="23" y="137"/>
                  <a:pt x="23" y="137"/>
                </a:cubicBezTo>
                <a:cubicBezTo>
                  <a:pt x="21" y="141"/>
                  <a:pt x="19" y="143"/>
                  <a:pt x="17" y="145"/>
                </a:cubicBezTo>
                <a:cubicBezTo>
                  <a:pt x="15" y="146"/>
                  <a:pt x="12" y="146"/>
                  <a:pt x="8" y="145"/>
                </a:cubicBezTo>
                <a:cubicBezTo>
                  <a:pt x="7" y="145"/>
                  <a:pt x="7" y="145"/>
                  <a:pt x="7" y="145"/>
                </a:cubicBezTo>
                <a:cubicBezTo>
                  <a:pt x="4" y="144"/>
                  <a:pt x="2" y="142"/>
                  <a:pt x="1" y="140"/>
                </a:cubicBezTo>
                <a:cubicBezTo>
                  <a:pt x="0" y="138"/>
                  <a:pt x="0" y="134"/>
                  <a:pt x="1" y="130"/>
                </a:cubicBezTo>
                <a:cubicBezTo>
                  <a:pt x="8" y="110"/>
                  <a:pt x="8" y="110"/>
                  <a:pt x="8" y="110"/>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69" name="Freeform 145"/>
          <p:cNvSpPr>
            <a:spLocks/>
          </p:cNvSpPr>
          <p:nvPr userDrawn="1"/>
        </p:nvSpPr>
        <p:spPr bwMode="auto">
          <a:xfrm>
            <a:off x="7632704" y="4501754"/>
            <a:ext cx="41683" cy="94059"/>
          </a:xfrm>
          <a:custGeom>
            <a:avLst/>
            <a:gdLst/>
            <a:ahLst/>
            <a:cxnLst>
              <a:cxn ang="0">
                <a:pos x="20" y="34"/>
              </a:cxn>
              <a:cxn ang="0">
                <a:pos x="15" y="34"/>
              </a:cxn>
              <a:cxn ang="0">
                <a:pos x="4" y="31"/>
              </a:cxn>
              <a:cxn ang="0">
                <a:pos x="0" y="20"/>
              </a:cxn>
              <a:cxn ang="0">
                <a:pos x="1" y="15"/>
              </a:cxn>
              <a:cxn ang="0">
                <a:pos x="3" y="11"/>
              </a:cxn>
              <a:cxn ang="0">
                <a:pos x="5" y="9"/>
              </a:cxn>
              <a:cxn ang="0">
                <a:pos x="6" y="9"/>
              </a:cxn>
              <a:cxn ang="0">
                <a:pos x="11" y="11"/>
              </a:cxn>
              <a:cxn ang="0">
                <a:pos x="17" y="12"/>
              </a:cxn>
              <a:cxn ang="0">
                <a:pos x="26" y="9"/>
              </a:cxn>
              <a:cxn ang="0">
                <a:pos x="31" y="0"/>
              </a:cxn>
              <a:cxn ang="0">
                <a:pos x="38" y="0"/>
              </a:cxn>
              <a:cxn ang="0">
                <a:pos x="49" y="11"/>
              </a:cxn>
              <a:cxn ang="0">
                <a:pos x="49" y="100"/>
              </a:cxn>
              <a:cxn ang="0">
                <a:pos x="38" y="111"/>
              </a:cxn>
              <a:cxn ang="0">
                <a:pos x="35" y="111"/>
              </a:cxn>
              <a:cxn ang="0">
                <a:pos x="24" y="100"/>
              </a:cxn>
              <a:cxn ang="0">
                <a:pos x="24" y="31"/>
              </a:cxn>
              <a:cxn ang="0">
                <a:pos x="20" y="34"/>
              </a:cxn>
            </a:cxnLst>
            <a:rect l="0" t="0" r="r" b="b"/>
            <a:pathLst>
              <a:path w="49" h="111">
                <a:moveTo>
                  <a:pt x="20" y="34"/>
                </a:moveTo>
                <a:cubicBezTo>
                  <a:pt x="18" y="34"/>
                  <a:pt x="17" y="34"/>
                  <a:pt x="15" y="34"/>
                </a:cubicBezTo>
                <a:cubicBezTo>
                  <a:pt x="10" y="34"/>
                  <a:pt x="7" y="33"/>
                  <a:pt x="4" y="31"/>
                </a:cubicBezTo>
                <a:cubicBezTo>
                  <a:pt x="1" y="28"/>
                  <a:pt x="0" y="25"/>
                  <a:pt x="0" y="20"/>
                </a:cubicBezTo>
                <a:cubicBezTo>
                  <a:pt x="0" y="18"/>
                  <a:pt x="0" y="17"/>
                  <a:pt x="1" y="15"/>
                </a:cubicBezTo>
                <a:cubicBezTo>
                  <a:pt x="1" y="14"/>
                  <a:pt x="2" y="12"/>
                  <a:pt x="3" y="11"/>
                </a:cubicBezTo>
                <a:cubicBezTo>
                  <a:pt x="3" y="10"/>
                  <a:pt x="4" y="10"/>
                  <a:pt x="5" y="9"/>
                </a:cubicBezTo>
                <a:cubicBezTo>
                  <a:pt x="6" y="9"/>
                  <a:pt x="6" y="9"/>
                  <a:pt x="6" y="9"/>
                </a:cubicBezTo>
                <a:cubicBezTo>
                  <a:pt x="8" y="10"/>
                  <a:pt x="9" y="11"/>
                  <a:pt x="11" y="11"/>
                </a:cubicBezTo>
                <a:cubicBezTo>
                  <a:pt x="13" y="12"/>
                  <a:pt x="14" y="12"/>
                  <a:pt x="17" y="12"/>
                </a:cubicBezTo>
                <a:cubicBezTo>
                  <a:pt x="20" y="12"/>
                  <a:pt x="23" y="11"/>
                  <a:pt x="26" y="9"/>
                </a:cubicBezTo>
                <a:cubicBezTo>
                  <a:pt x="29" y="7"/>
                  <a:pt x="30" y="4"/>
                  <a:pt x="31" y="0"/>
                </a:cubicBezTo>
                <a:cubicBezTo>
                  <a:pt x="38" y="0"/>
                  <a:pt x="38" y="0"/>
                  <a:pt x="38" y="0"/>
                </a:cubicBezTo>
                <a:cubicBezTo>
                  <a:pt x="45" y="0"/>
                  <a:pt x="49" y="4"/>
                  <a:pt x="49" y="11"/>
                </a:cubicBezTo>
                <a:cubicBezTo>
                  <a:pt x="49" y="100"/>
                  <a:pt x="49" y="100"/>
                  <a:pt x="49" y="100"/>
                </a:cubicBezTo>
                <a:cubicBezTo>
                  <a:pt x="49" y="107"/>
                  <a:pt x="45" y="111"/>
                  <a:pt x="38" y="111"/>
                </a:cubicBezTo>
                <a:cubicBezTo>
                  <a:pt x="35" y="111"/>
                  <a:pt x="35" y="111"/>
                  <a:pt x="35" y="111"/>
                </a:cubicBezTo>
                <a:cubicBezTo>
                  <a:pt x="28" y="111"/>
                  <a:pt x="24" y="107"/>
                  <a:pt x="24" y="100"/>
                </a:cubicBezTo>
                <a:cubicBezTo>
                  <a:pt x="24" y="31"/>
                  <a:pt x="24" y="31"/>
                  <a:pt x="24" y="31"/>
                </a:cubicBezTo>
                <a:cubicBezTo>
                  <a:pt x="23" y="32"/>
                  <a:pt x="21" y="33"/>
                  <a:pt x="20" y="3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73" name="Freeform 149"/>
          <p:cNvSpPr>
            <a:spLocks/>
          </p:cNvSpPr>
          <p:nvPr userDrawn="1"/>
        </p:nvSpPr>
        <p:spPr bwMode="auto">
          <a:xfrm>
            <a:off x="7816108" y="4487466"/>
            <a:ext cx="39301" cy="122634"/>
          </a:xfrm>
          <a:custGeom>
            <a:avLst/>
            <a:gdLst/>
            <a:ahLst/>
            <a:cxnLst>
              <a:cxn ang="0">
                <a:pos x="33" y="145"/>
              </a:cxn>
              <a:cxn ang="0">
                <a:pos x="13" y="145"/>
              </a:cxn>
              <a:cxn ang="0">
                <a:pos x="3" y="141"/>
              </a:cxn>
              <a:cxn ang="0">
                <a:pos x="0" y="131"/>
              </a:cxn>
              <a:cxn ang="0">
                <a:pos x="0" y="14"/>
              </a:cxn>
              <a:cxn ang="0">
                <a:pos x="3" y="4"/>
              </a:cxn>
              <a:cxn ang="0">
                <a:pos x="13" y="0"/>
              </a:cxn>
              <a:cxn ang="0">
                <a:pos x="33" y="0"/>
              </a:cxn>
              <a:cxn ang="0">
                <a:pos x="42" y="2"/>
              </a:cxn>
              <a:cxn ang="0">
                <a:pos x="45" y="9"/>
              </a:cxn>
              <a:cxn ang="0">
                <a:pos x="45" y="10"/>
              </a:cxn>
              <a:cxn ang="0">
                <a:pos x="42" y="17"/>
              </a:cxn>
              <a:cxn ang="0">
                <a:pos x="33" y="20"/>
              </a:cxn>
              <a:cxn ang="0">
                <a:pos x="22" y="20"/>
              </a:cxn>
              <a:cxn ang="0">
                <a:pos x="22" y="125"/>
              </a:cxn>
              <a:cxn ang="0">
                <a:pos x="33" y="125"/>
              </a:cxn>
              <a:cxn ang="0">
                <a:pos x="42" y="127"/>
              </a:cxn>
              <a:cxn ang="0">
                <a:pos x="45" y="134"/>
              </a:cxn>
              <a:cxn ang="0">
                <a:pos x="45" y="135"/>
              </a:cxn>
              <a:cxn ang="0">
                <a:pos x="42" y="143"/>
              </a:cxn>
              <a:cxn ang="0">
                <a:pos x="33" y="145"/>
              </a:cxn>
            </a:cxnLst>
            <a:rect l="0" t="0" r="r" b="b"/>
            <a:pathLst>
              <a:path w="45" h="145">
                <a:moveTo>
                  <a:pt x="33" y="145"/>
                </a:moveTo>
                <a:cubicBezTo>
                  <a:pt x="13" y="145"/>
                  <a:pt x="13" y="145"/>
                  <a:pt x="13" y="145"/>
                </a:cubicBezTo>
                <a:cubicBezTo>
                  <a:pt x="9" y="145"/>
                  <a:pt x="6" y="144"/>
                  <a:pt x="3" y="141"/>
                </a:cubicBezTo>
                <a:cubicBezTo>
                  <a:pt x="1" y="139"/>
                  <a:pt x="0" y="135"/>
                  <a:pt x="0" y="131"/>
                </a:cubicBezTo>
                <a:cubicBezTo>
                  <a:pt x="0" y="14"/>
                  <a:pt x="0" y="14"/>
                  <a:pt x="0" y="14"/>
                </a:cubicBezTo>
                <a:cubicBezTo>
                  <a:pt x="0" y="9"/>
                  <a:pt x="1" y="6"/>
                  <a:pt x="3" y="4"/>
                </a:cubicBezTo>
                <a:cubicBezTo>
                  <a:pt x="6" y="1"/>
                  <a:pt x="9" y="0"/>
                  <a:pt x="13" y="0"/>
                </a:cubicBezTo>
                <a:cubicBezTo>
                  <a:pt x="33" y="0"/>
                  <a:pt x="33" y="0"/>
                  <a:pt x="33" y="0"/>
                </a:cubicBezTo>
                <a:cubicBezTo>
                  <a:pt x="37" y="0"/>
                  <a:pt x="40" y="1"/>
                  <a:pt x="42" y="2"/>
                </a:cubicBezTo>
                <a:cubicBezTo>
                  <a:pt x="44" y="4"/>
                  <a:pt x="45" y="6"/>
                  <a:pt x="45" y="9"/>
                </a:cubicBezTo>
                <a:cubicBezTo>
                  <a:pt x="45" y="10"/>
                  <a:pt x="45" y="10"/>
                  <a:pt x="45" y="10"/>
                </a:cubicBezTo>
                <a:cubicBezTo>
                  <a:pt x="45" y="14"/>
                  <a:pt x="44" y="16"/>
                  <a:pt x="42" y="17"/>
                </a:cubicBezTo>
                <a:cubicBezTo>
                  <a:pt x="40" y="19"/>
                  <a:pt x="37" y="20"/>
                  <a:pt x="33" y="20"/>
                </a:cubicBezTo>
                <a:cubicBezTo>
                  <a:pt x="22" y="20"/>
                  <a:pt x="22" y="20"/>
                  <a:pt x="22" y="20"/>
                </a:cubicBezTo>
                <a:cubicBezTo>
                  <a:pt x="22" y="125"/>
                  <a:pt x="22" y="125"/>
                  <a:pt x="22" y="125"/>
                </a:cubicBezTo>
                <a:cubicBezTo>
                  <a:pt x="33" y="125"/>
                  <a:pt x="33" y="125"/>
                  <a:pt x="33" y="125"/>
                </a:cubicBezTo>
                <a:cubicBezTo>
                  <a:pt x="37" y="125"/>
                  <a:pt x="40" y="126"/>
                  <a:pt x="42" y="127"/>
                </a:cubicBezTo>
                <a:cubicBezTo>
                  <a:pt x="44" y="129"/>
                  <a:pt x="45" y="131"/>
                  <a:pt x="45" y="134"/>
                </a:cubicBezTo>
                <a:cubicBezTo>
                  <a:pt x="45" y="135"/>
                  <a:pt x="45" y="135"/>
                  <a:pt x="45" y="135"/>
                </a:cubicBezTo>
                <a:cubicBezTo>
                  <a:pt x="45" y="139"/>
                  <a:pt x="44" y="141"/>
                  <a:pt x="42" y="143"/>
                </a:cubicBezTo>
                <a:cubicBezTo>
                  <a:pt x="40" y="144"/>
                  <a:pt x="37" y="145"/>
                  <a:pt x="33" y="14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77" name="Freeform 153"/>
          <p:cNvSpPr>
            <a:spLocks/>
          </p:cNvSpPr>
          <p:nvPr userDrawn="1"/>
        </p:nvSpPr>
        <p:spPr bwMode="auto">
          <a:xfrm>
            <a:off x="7989984" y="4486275"/>
            <a:ext cx="39301" cy="123825"/>
          </a:xfrm>
          <a:custGeom>
            <a:avLst/>
            <a:gdLst/>
            <a:ahLst/>
            <a:cxnLst>
              <a:cxn ang="0">
                <a:pos x="2" y="143"/>
              </a:cxn>
              <a:cxn ang="0">
                <a:pos x="0" y="135"/>
              </a:cxn>
              <a:cxn ang="0">
                <a:pos x="0" y="134"/>
              </a:cxn>
              <a:cxn ang="0">
                <a:pos x="2" y="127"/>
              </a:cxn>
              <a:cxn ang="0">
                <a:pos x="11" y="125"/>
              </a:cxn>
              <a:cxn ang="0">
                <a:pos x="23" y="125"/>
              </a:cxn>
              <a:cxn ang="0">
                <a:pos x="23" y="20"/>
              </a:cxn>
              <a:cxn ang="0">
                <a:pos x="12" y="20"/>
              </a:cxn>
              <a:cxn ang="0">
                <a:pos x="3" y="17"/>
              </a:cxn>
              <a:cxn ang="0">
                <a:pos x="0" y="10"/>
              </a:cxn>
              <a:cxn ang="0">
                <a:pos x="0" y="9"/>
              </a:cxn>
              <a:cxn ang="0">
                <a:pos x="3" y="2"/>
              </a:cxn>
              <a:cxn ang="0">
                <a:pos x="12" y="0"/>
              </a:cxn>
              <a:cxn ang="0">
                <a:pos x="32" y="0"/>
              </a:cxn>
              <a:cxn ang="0">
                <a:pos x="41" y="4"/>
              </a:cxn>
              <a:cxn ang="0">
                <a:pos x="45" y="14"/>
              </a:cxn>
              <a:cxn ang="0">
                <a:pos x="45" y="131"/>
              </a:cxn>
              <a:cxn ang="0">
                <a:pos x="41" y="141"/>
              </a:cxn>
              <a:cxn ang="0">
                <a:pos x="32" y="145"/>
              </a:cxn>
              <a:cxn ang="0">
                <a:pos x="11" y="145"/>
              </a:cxn>
              <a:cxn ang="0">
                <a:pos x="2" y="143"/>
              </a:cxn>
            </a:cxnLst>
            <a:rect l="0" t="0" r="r" b="b"/>
            <a:pathLst>
              <a:path w="45" h="145">
                <a:moveTo>
                  <a:pt x="2" y="143"/>
                </a:moveTo>
                <a:cubicBezTo>
                  <a:pt x="1" y="141"/>
                  <a:pt x="0" y="139"/>
                  <a:pt x="0" y="135"/>
                </a:cubicBezTo>
                <a:cubicBezTo>
                  <a:pt x="0" y="134"/>
                  <a:pt x="0" y="134"/>
                  <a:pt x="0" y="134"/>
                </a:cubicBezTo>
                <a:cubicBezTo>
                  <a:pt x="0" y="131"/>
                  <a:pt x="1" y="129"/>
                  <a:pt x="2" y="127"/>
                </a:cubicBezTo>
                <a:cubicBezTo>
                  <a:pt x="4" y="126"/>
                  <a:pt x="7" y="125"/>
                  <a:pt x="11" y="125"/>
                </a:cubicBezTo>
                <a:cubicBezTo>
                  <a:pt x="23" y="125"/>
                  <a:pt x="23" y="125"/>
                  <a:pt x="23" y="125"/>
                </a:cubicBezTo>
                <a:cubicBezTo>
                  <a:pt x="23" y="20"/>
                  <a:pt x="23" y="20"/>
                  <a:pt x="23" y="20"/>
                </a:cubicBezTo>
                <a:cubicBezTo>
                  <a:pt x="12" y="20"/>
                  <a:pt x="12" y="20"/>
                  <a:pt x="12" y="20"/>
                </a:cubicBezTo>
                <a:cubicBezTo>
                  <a:pt x="8" y="20"/>
                  <a:pt x="5" y="19"/>
                  <a:pt x="3" y="17"/>
                </a:cubicBezTo>
                <a:cubicBezTo>
                  <a:pt x="1" y="16"/>
                  <a:pt x="0" y="14"/>
                  <a:pt x="0" y="10"/>
                </a:cubicBezTo>
                <a:cubicBezTo>
                  <a:pt x="0" y="9"/>
                  <a:pt x="0" y="9"/>
                  <a:pt x="0" y="9"/>
                </a:cubicBezTo>
                <a:cubicBezTo>
                  <a:pt x="0" y="6"/>
                  <a:pt x="1" y="4"/>
                  <a:pt x="3" y="2"/>
                </a:cubicBezTo>
                <a:cubicBezTo>
                  <a:pt x="5" y="1"/>
                  <a:pt x="8" y="0"/>
                  <a:pt x="12" y="0"/>
                </a:cubicBezTo>
                <a:cubicBezTo>
                  <a:pt x="32" y="0"/>
                  <a:pt x="32" y="0"/>
                  <a:pt x="32" y="0"/>
                </a:cubicBezTo>
                <a:cubicBezTo>
                  <a:pt x="36" y="0"/>
                  <a:pt x="39" y="1"/>
                  <a:pt x="41" y="4"/>
                </a:cubicBezTo>
                <a:cubicBezTo>
                  <a:pt x="44" y="6"/>
                  <a:pt x="45" y="9"/>
                  <a:pt x="45" y="14"/>
                </a:cubicBezTo>
                <a:cubicBezTo>
                  <a:pt x="45" y="131"/>
                  <a:pt x="45" y="131"/>
                  <a:pt x="45" y="131"/>
                </a:cubicBezTo>
                <a:cubicBezTo>
                  <a:pt x="45" y="135"/>
                  <a:pt x="44" y="139"/>
                  <a:pt x="41" y="141"/>
                </a:cubicBezTo>
                <a:cubicBezTo>
                  <a:pt x="39" y="144"/>
                  <a:pt x="36" y="145"/>
                  <a:pt x="32" y="145"/>
                </a:cubicBezTo>
                <a:cubicBezTo>
                  <a:pt x="11" y="145"/>
                  <a:pt x="11" y="145"/>
                  <a:pt x="11" y="145"/>
                </a:cubicBezTo>
                <a:cubicBezTo>
                  <a:pt x="7" y="145"/>
                  <a:pt x="4" y="144"/>
                  <a:pt x="2" y="14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81" name="Freeform 157"/>
          <p:cNvSpPr>
            <a:spLocks/>
          </p:cNvSpPr>
          <p:nvPr userDrawn="1"/>
        </p:nvSpPr>
        <p:spPr bwMode="auto">
          <a:xfrm>
            <a:off x="8167433" y="4494610"/>
            <a:ext cx="26201" cy="109538"/>
          </a:xfrm>
          <a:custGeom>
            <a:avLst/>
            <a:gdLst/>
            <a:ahLst/>
            <a:cxnLst>
              <a:cxn ang="0">
                <a:pos x="25" y="8"/>
              </a:cxn>
              <a:cxn ang="0">
                <a:pos x="14" y="0"/>
              </a:cxn>
              <a:cxn ang="0">
                <a:pos x="0" y="14"/>
              </a:cxn>
              <a:cxn ang="0">
                <a:pos x="4" y="26"/>
              </a:cxn>
              <a:cxn ang="0">
                <a:pos x="9" y="63"/>
              </a:cxn>
              <a:cxn ang="0">
                <a:pos x="3" y="103"/>
              </a:cxn>
              <a:cxn ang="0">
                <a:pos x="0" y="114"/>
              </a:cxn>
              <a:cxn ang="0">
                <a:pos x="14" y="127"/>
              </a:cxn>
              <a:cxn ang="0">
                <a:pos x="22" y="123"/>
              </a:cxn>
              <a:cxn ang="0">
                <a:pos x="37" y="63"/>
              </a:cxn>
              <a:cxn ang="0">
                <a:pos x="25" y="8"/>
              </a:cxn>
            </a:cxnLst>
            <a:rect l="0" t="0" r="r" b="b"/>
            <a:pathLst>
              <a:path w="37" h="127">
                <a:moveTo>
                  <a:pt x="25" y="8"/>
                </a:moveTo>
                <a:cubicBezTo>
                  <a:pt x="22" y="2"/>
                  <a:pt x="18" y="0"/>
                  <a:pt x="14" y="0"/>
                </a:cubicBezTo>
                <a:cubicBezTo>
                  <a:pt x="6" y="0"/>
                  <a:pt x="0" y="6"/>
                  <a:pt x="0" y="14"/>
                </a:cubicBezTo>
                <a:cubicBezTo>
                  <a:pt x="0" y="16"/>
                  <a:pt x="4" y="26"/>
                  <a:pt x="4" y="26"/>
                </a:cubicBezTo>
                <a:cubicBezTo>
                  <a:pt x="7" y="37"/>
                  <a:pt x="9" y="50"/>
                  <a:pt x="9" y="63"/>
                </a:cubicBezTo>
                <a:cubicBezTo>
                  <a:pt x="9" y="76"/>
                  <a:pt x="7" y="90"/>
                  <a:pt x="3" y="103"/>
                </a:cubicBezTo>
                <a:cubicBezTo>
                  <a:pt x="2" y="104"/>
                  <a:pt x="0" y="111"/>
                  <a:pt x="0" y="114"/>
                </a:cubicBezTo>
                <a:cubicBezTo>
                  <a:pt x="0" y="121"/>
                  <a:pt x="6" y="127"/>
                  <a:pt x="14" y="127"/>
                </a:cubicBezTo>
                <a:cubicBezTo>
                  <a:pt x="17" y="127"/>
                  <a:pt x="20" y="125"/>
                  <a:pt x="22" y="123"/>
                </a:cubicBezTo>
                <a:cubicBezTo>
                  <a:pt x="33" y="112"/>
                  <a:pt x="37" y="73"/>
                  <a:pt x="37" y="63"/>
                </a:cubicBezTo>
                <a:cubicBezTo>
                  <a:pt x="37" y="48"/>
                  <a:pt x="33" y="21"/>
                  <a:pt x="25" y="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85" name="Freeform 161"/>
          <p:cNvSpPr>
            <a:spLocks/>
          </p:cNvSpPr>
          <p:nvPr userDrawn="1"/>
        </p:nvSpPr>
        <p:spPr bwMode="auto">
          <a:xfrm>
            <a:off x="8337738" y="4494610"/>
            <a:ext cx="30964" cy="109538"/>
          </a:xfrm>
          <a:custGeom>
            <a:avLst/>
            <a:gdLst/>
            <a:ahLst/>
            <a:cxnLst>
              <a:cxn ang="0">
                <a:pos x="27" y="63"/>
              </a:cxn>
              <a:cxn ang="0">
                <a:pos x="33" y="26"/>
              </a:cxn>
              <a:cxn ang="0">
                <a:pos x="37" y="14"/>
              </a:cxn>
              <a:cxn ang="0">
                <a:pos x="23" y="0"/>
              </a:cxn>
              <a:cxn ang="0">
                <a:pos x="11" y="8"/>
              </a:cxn>
              <a:cxn ang="0">
                <a:pos x="0" y="63"/>
              </a:cxn>
              <a:cxn ang="0">
                <a:pos x="15" y="123"/>
              </a:cxn>
              <a:cxn ang="0">
                <a:pos x="23" y="127"/>
              </a:cxn>
              <a:cxn ang="0">
                <a:pos x="37" y="114"/>
              </a:cxn>
              <a:cxn ang="0">
                <a:pos x="34" y="103"/>
              </a:cxn>
              <a:cxn ang="0">
                <a:pos x="27" y="63"/>
              </a:cxn>
            </a:cxnLst>
            <a:rect l="0" t="0" r="r" b="b"/>
            <a:pathLst>
              <a:path w="37" h="127">
                <a:moveTo>
                  <a:pt x="27" y="63"/>
                </a:moveTo>
                <a:cubicBezTo>
                  <a:pt x="27" y="50"/>
                  <a:pt x="29" y="37"/>
                  <a:pt x="33" y="26"/>
                </a:cubicBezTo>
                <a:cubicBezTo>
                  <a:pt x="34" y="23"/>
                  <a:pt x="37" y="16"/>
                  <a:pt x="37" y="14"/>
                </a:cubicBezTo>
                <a:cubicBezTo>
                  <a:pt x="37" y="6"/>
                  <a:pt x="31" y="0"/>
                  <a:pt x="23" y="0"/>
                </a:cubicBezTo>
                <a:cubicBezTo>
                  <a:pt x="18" y="0"/>
                  <a:pt x="14" y="3"/>
                  <a:pt x="11" y="8"/>
                </a:cubicBezTo>
                <a:cubicBezTo>
                  <a:pt x="4" y="21"/>
                  <a:pt x="0" y="48"/>
                  <a:pt x="0" y="63"/>
                </a:cubicBezTo>
                <a:cubicBezTo>
                  <a:pt x="0" y="73"/>
                  <a:pt x="4" y="112"/>
                  <a:pt x="15" y="123"/>
                </a:cubicBezTo>
                <a:cubicBezTo>
                  <a:pt x="17" y="125"/>
                  <a:pt x="20" y="127"/>
                  <a:pt x="23" y="127"/>
                </a:cubicBezTo>
                <a:cubicBezTo>
                  <a:pt x="31" y="127"/>
                  <a:pt x="37" y="121"/>
                  <a:pt x="37" y="114"/>
                </a:cubicBezTo>
                <a:cubicBezTo>
                  <a:pt x="37" y="111"/>
                  <a:pt x="34" y="104"/>
                  <a:pt x="34" y="103"/>
                </a:cubicBezTo>
                <a:cubicBezTo>
                  <a:pt x="29" y="90"/>
                  <a:pt x="27" y="76"/>
                  <a:pt x="27" y="6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89" name="Freeform 165"/>
          <p:cNvSpPr>
            <a:spLocks noEditPoints="1"/>
          </p:cNvSpPr>
          <p:nvPr userDrawn="1"/>
        </p:nvSpPr>
        <p:spPr bwMode="auto">
          <a:xfrm>
            <a:off x="8502086" y="4500563"/>
            <a:ext cx="26201" cy="95250"/>
          </a:xfrm>
          <a:custGeom>
            <a:avLst/>
            <a:gdLst/>
            <a:ahLst/>
            <a:cxnLst>
              <a:cxn ang="0">
                <a:pos x="10" y="76"/>
              </a:cxn>
              <a:cxn ang="0">
                <a:pos x="8" y="70"/>
              </a:cxn>
              <a:cxn ang="0">
                <a:pos x="1" y="15"/>
              </a:cxn>
              <a:cxn ang="0">
                <a:pos x="3" y="4"/>
              </a:cxn>
              <a:cxn ang="0">
                <a:pos x="13" y="0"/>
              </a:cxn>
              <a:cxn ang="0">
                <a:pos x="17" y="0"/>
              </a:cxn>
              <a:cxn ang="0">
                <a:pos x="27" y="4"/>
              </a:cxn>
              <a:cxn ang="0">
                <a:pos x="29" y="15"/>
              </a:cxn>
              <a:cxn ang="0">
                <a:pos x="23" y="70"/>
              </a:cxn>
              <a:cxn ang="0">
                <a:pos x="21" y="76"/>
              </a:cxn>
              <a:cxn ang="0">
                <a:pos x="16" y="77"/>
              </a:cxn>
              <a:cxn ang="0">
                <a:pos x="14" y="77"/>
              </a:cxn>
              <a:cxn ang="0">
                <a:pos x="10" y="76"/>
              </a:cxn>
              <a:cxn ang="0">
                <a:pos x="2" y="101"/>
              </a:cxn>
              <a:cxn ang="0">
                <a:pos x="2" y="99"/>
              </a:cxn>
              <a:cxn ang="0">
                <a:pos x="14" y="88"/>
              </a:cxn>
              <a:cxn ang="0">
                <a:pos x="17" y="88"/>
              </a:cxn>
              <a:cxn ang="0">
                <a:pos x="28" y="99"/>
              </a:cxn>
              <a:cxn ang="0">
                <a:pos x="28" y="101"/>
              </a:cxn>
              <a:cxn ang="0">
                <a:pos x="17" y="113"/>
              </a:cxn>
              <a:cxn ang="0">
                <a:pos x="14" y="113"/>
              </a:cxn>
              <a:cxn ang="0">
                <a:pos x="2" y="101"/>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93" name="Freeform 169"/>
          <p:cNvSpPr>
            <a:spLocks/>
          </p:cNvSpPr>
          <p:nvPr userDrawn="1"/>
        </p:nvSpPr>
        <p:spPr bwMode="auto">
          <a:xfrm>
            <a:off x="8659290" y="4523185"/>
            <a:ext cx="55974" cy="51197"/>
          </a:xfrm>
          <a:custGeom>
            <a:avLst/>
            <a:gdLst/>
            <a:ahLst/>
            <a:cxnLst>
              <a:cxn ang="0">
                <a:pos x="26" y="6"/>
              </a:cxn>
              <a:cxn ang="0">
                <a:pos x="28" y="1"/>
              </a:cxn>
              <a:cxn ang="0">
                <a:pos x="32" y="0"/>
              </a:cxn>
              <a:cxn ang="0">
                <a:pos x="33" y="0"/>
              </a:cxn>
              <a:cxn ang="0">
                <a:pos x="37" y="1"/>
              </a:cxn>
              <a:cxn ang="0">
                <a:pos x="39" y="6"/>
              </a:cxn>
              <a:cxn ang="0">
                <a:pos x="41" y="20"/>
              </a:cxn>
              <a:cxn ang="0">
                <a:pos x="55" y="17"/>
              </a:cxn>
              <a:cxn ang="0">
                <a:pos x="61" y="18"/>
              </a:cxn>
              <a:cxn ang="0">
                <a:pos x="64" y="22"/>
              </a:cxn>
              <a:cxn ang="0">
                <a:pos x="64" y="22"/>
              </a:cxn>
              <a:cxn ang="0">
                <a:pos x="64" y="27"/>
              </a:cxn>
              <a:cxn ang="0">
                <a:pos x="60" y="31"/>
              </a:cxn>
              <a:cxn ang="0">
                <a:pos x="46" y="37"/>
              </a:cxn>
              <a:cxn ang="0">
                <a:pos x="54" y="50"/>
              </a:cxn>
              <a:cxn ang="0">
                <a:pos x="55" y="56"/>
              </a:cxn>
              <a:cxn ang="0">
                <a:pos x="52" y="59"/>
              </a:cxn>
              <a:cxn ang="0">
                <a:pos x="52" y="60"/>
              </a:cxn>
              <a:cxn ang="0">
                <a:pos x="48" y="61"/>
              </a:cxn>
              <a:cxn ang="0">
                <a:pos x="43" y="58"/>
              </a:cxn>
              <a:cxn ang="0">
                <a:pos x="32" y="47"/>
              </a:cxn>
              <a:cxn ang="0">
                <a:pos x="22" y="58"/>
              </a:cxn>
              <a:cxn ang="0">
                <a:pos x="17" y="61"/>
              </a:cxn>
              <a:cxn ang="0">
                <a:pos x="13" y="60"/>
              </a:cxn>
              <a:cxn ang="0">
                <a:pos x="12" y="59"/>
              </a:cxn>
              <a:cxn ang="0">
                <a:pos x="9" y="56"/>
              </a:cxn>
              <a:cxn ang="0">
                <a:pos x="11" y="50"/>
              </a:cxn>
              <a:cxn ang="0">
                <a:pos x="18" y="37"/>
              </a:cxn>
              <a:cxn ang="0">
                <a:pos x="5" y="31"/>
              </a:cxn>
              <a:cxn ang="0">
                <a:pos x="1" y="27"/>
              </a:cxn>
              <a:cxn ang="0">
                <a:pos x="1" y="22"/>
              </a:cxn>
              <a:cxn ang="0">
                <a:pos x="1" y="22"/>
              </a:cxn>
              <a:cxn ang="0">
                <a:pos x="3" y="18"/>
              </a:cxn>
              <a:cxn ang="0">
                <a:pos x="9" y="17"/>
              </a:cxn>
              <a:cxn ang="0">
                <a:pos x="24" y="20"/>
              </a:cxn>
              <a:cxn ang="0">
                <a:pos x="26" y="6"/>
              </a:cxn>
            </a:cxnLst>
            <a:rect l="0" t="0" r="r" b="b"/>
            <a:pathLst>
              <a:path w="65" h="61">
                <a:moveTo>
                  <a:pt x="26" y="6"/>
                </a:moveTo>
                <a:cubicBezTo>
                  <a:pt x="26" y="3"/>
                  <a:pt x="27" y="2"/>
                  <a:pt x="28" y="1"/>
                </a:cubicBezTo>
                <a:cubicBezTo>
                  <a:pt x="29" y="0"/>
                  <a:pt x="30" y="0"/>
                  <a:pt x="32" y="0"/>
                </a:cubicBezTo>
                <a:cubicBezTo>
                  <a:pt x="33" y="0"/>
                  <a:pt x="33" y="0"/>
                  <a:pt x="33" y="0"/>
                </a:cubicBezTo>
                <a:cubicBezTo>
                  <a:pt x="35" y="0"/>
                  <a:pt x="36" y="0"/>
                  <a:pt x="37" y="1"/>
                </a:cubicBezTo>
                <a:cubicBezTo>
                  <a:pt x="38" y="2"/>
                  <a:pt x="39" y="3"/>
                  <a:pt x="39" y="6"/>
                </a:cubicBezTo>
                <a:cubicBezTo>
                  <a:pt x="41" y="20"/>
                  <a:pt x="41" y="20"/>
                  <a:pt x="41" y="20"/>
                </a:cubicBezTo>
                <a:cubicBezTo>
                  <a:pt x="55" y="17"/>
                  <a:pt x="55" y="17"/>
                  <a:pt x="55" y="17"/>
                </a:cubicBezTo>
                <a:cubicBezTo>
                  <a:pt x="58" y="17"/>
                  <a:pt x="60" y="17"/>
                  <a:pt x="61" y="18"/>
                </a:cubicBezTo>
                <a:cubicBezTo>
                  <a:pt x="62" y="19"/>
                  <a:pt x="63" y="20"/>
                  <a:pt x="64" y="22"/>
                </a:cubicBezTo>
                <a:cubicBezTo>
                  <a:pt x="64" y="22"/>
                  <a:pt x="64" y="22"/>
                  <a:pt x="64" y="22"/>
                </a:cubicBezTo>
                <a:cubicBezTo>
                  <a:pt x="65" y="24"/>
                  <a:pt x="65" y="26"/>
                  <a:pt x="64" y="27"/>
                </a:cubicBezTo>
                <a:cubicBezTo>
                  <a:pt x="64" y="28"/>
                  <a:pt x="62" y="29"/>
                  <a:pt x="60" y="31"/>
                </a:cubicBezTo>
                <a:cubicBezTo>
                  <a:pt x="46" y="37"/>
                  <a:pt x="46" y="37"/>
                  <a:pt x="46" y="37"/>
                </a:cubicBezTo>
                <a:cubicBezTo>
                  <a:pt x="54" y="50"/>
                  <a:pt x="54" y="50"/>
                  <a:pt x="54" y="50"/>
                </a:cubicBezTo>
                <a:cubicBezTo>
                  <a:pt x="55" y="52"/>
                  <a:pt x="56" y="54"/>
                  <a:pt x="55" y="56"/>
                </a:cubicBezTo>
                <a:cubicBezTo>
                  <a:pt x="55" y="57"/>
                  <a:pt x="54" y="58"/>
                  <a:pt x="52" y="59"/>
                </a:cubicBezTo>
                <a:cubicBezTo>
                  <a:pt x="52" y="60"/>
                  <a:pt x="52" y="60"/>
                  <a:pt x="52" y="60"/>
                </a:cubicBezTo>
                <a:cubicBezTo>
                  <a:pt x="51" y="60"/>
                  <a:pt x="49" y="61"/>
                  <a:pt x="48" y="61"/>
                </a:cubicBezTo>
                <a:cubicBezTo>
                  <a:pt x="46" y="61"/>
                  <a:pt x="45" y="60"/>
                  <a:pt x="43" y="58"/>
                </a:cubicBezTo>
                <a:cubicBezTo>
                  <a:pt x="32" y="47"/>
                  <a:pt x="32" y="47"/>
                  <a:pt x="32" y="47"/>
                </a:cubicBezTo>
                <a:cubicBezTo>
                  <a:pt x="22" y="58"/>
                  <a:pt x="22" y="58"/>
                  <a:pt x="22" y="58"/>
                </a:cubicBezTo>
                <a:cubicBezTo>
                  <a:pt x="20" y="60"/>
                  <a:pt x="18" y="61"/>
                  <a:pt x="17" y="61"/>
                </a:cubicBezTo>
                <a:cubicBezTo>
                  <a:pt x="16" y="61"/>
                  <a:pt x="14" y="60"/>
                  <a:pt x="13" y="60"/>
                </a:cubicBezTo>
                <a:cubicBezTo>
                  <a:pt x="12" y="59"/>
                  <a:pt x="12" y="59"/>
                  <a:pt x="12" y="59"/>
                </a:cubicBezTo>
                <a:cubicBezTo>
                  <a:pt x="11" y="58"/>
                  <a:pt x="10" y="57"/>
                  <a:pt x="9" y="56"/>
                </a:cubicBezTo>
                <a:cubicBezTo>
                  <a:pt x="9" y="54"/>
                  <a:pt x="9" y="52"/>
                  <a:pt x="11" y="50"/>
                </a:cubicBezTo>
                <a:cubicBezTo>
                  <a:pt x="18" y="37"/>
                  <a:pt x="18" y="37"/>
                  <a:pt x="18" y="37"/>
                </a:cubicBezTo>
                <a:cubicBezTo>
                  <a:pt x="5" y="31"/>
                  <a:pt x="5" y="31"/>
                  <a:pt x="5" y="31"/>
                </a:cubicBezTo>
                <a:cubicBezTo>
                  <a:pt x="2" y="29"/>
                  <a:pt x="1" y="28"/>
                  <a:pt x="1" y="27"/>
                </a:cubicBezTo>
                <a:cubicBezTo>
                  <a:pt x="0" y="26"/>
                  <a:pt x="0" y="24"/>
                  <a:pt x="1" y="22"/>
                </a:cubicBezTo>
                <a:cubicBezTo>
                  <a:pt x="1" y="22"/>
                  <a:pt x="1" y="22"/>
                  <a:pt x="1" y="22"/>
                </a:cubicBezTo>
                <a:cubicBezTo>
                  <a:pt x="1" y="20"/>
                  <a:pt x="2" y="18"/>
                  <a:pt x="3" y="18"/>
                </a:cubicBezTo>
                <a:cubicBezTo>
                  <a:pt x="5" y="17"/>
                  <a:pt x="6" y="17"/>
                  <a:pt x="9" y="17"/>
                </a:cubicBezTo>
                <a:cubicBezTo>
                  <a:pt x="24" y="20"/>
                  <a:pt x="24" y="20"/>
                  <a:pt x="24" y="20"/>
                </a:cubicBezTo>
                <a:lnTo>
                  <a:pt x="26" y="6"/>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04" name="Freeform 6"/>
          <p:cNvSpPr>
            <a:spLocks/>
          </p:cNvSpPr>
          <p:nvPr userDrawn="1"/>
        </p:nvSpPr>
        <p:spPr bwMode="auto">
          <a:xfrm>
            <a:off x="1371399" y="3803009"/>
            <a:ext cx="382086" cy="416087"/>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05" name="Freeform 6"/>
          <p:cNvSpPr>
            <a:spLocks/>
          </p:cNvSpPr>
          <p:nvPr userDrawn="1"/>
        </p:nvSpPr>
        <p:spPr bwMode="auto">
          <a:xfrm>
            <a:off x="5202765" y="2788784"/>
            <a:ext cx="408453" cy="2652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endParaRPr lang="en-US" dirty="0">
              <a:solidFill>
                <a:srgbClr val="009530"/>
              </a:solidFill>
            </a:endParaRPr>
          </a:p>
        </p:txBody>
      </p:sp>
      <p:sp>
        <p:nvSpPr>
          <p:cNvPr id="194" name="TextBox 193"/>
          <p:cNvSpPr txBox="1"/>
          <p:nvPr userDrawn="1"/>
        </p:nvSpPr>
        <p:spPr>
          <a:xfrm>
            <a:off x="456129" y="4759465"/>
            <a:ext cx="2130481" cy="92333"/>
          </a:xfrm>
          <a:prstGeom prst="rect">
            <a:avLst/>
          </a:prstGeom>
          <a:noFill/>
        </p:spPr>
        <p:txBody>
          <a:bodyPr wrap="square" lIns="0" tIns="0" rIns="0" bIns="0" rtlCol="0" anchor="b" anchorCtr="0">
            <a:spAutoFit/>
          </a:bodyPr>
          <a:lstStyle/>
          <a:p>
            <a:r>
              <a:rPr lang="en-US" sz="6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316954165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Generic Pictos_White">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solidFill>
                  <a:srgbClr val="FFFFFF"/>
                </a:solidFill>
              </a:defRPr>
            </a:lvl1pPr>
          </a:lstStyle>
          <a:p>
            <a:r>
              <a:rPr lang="en-US" dirty="0"/>
              <a:t>Generic Pictograms and symbols</a:t>
            </a:r>
            <a:endParaRPr lang="en-US" noProof="0" dirty="0"/>
          </a:p>
        </p:txBody>
      </p:sp>
      <p:sp>
        <p:nvSpPr>
          <p:cNvPr id="5" name="Freeform 171"/>
          <p:cNvSpPr>
            <a:spLocks/>
          </p:cNvSpPr>
          <p:nvPr userDrawn="1"/>
        </p:nvSpPr>
        <p:spPr bwMode="auto">
          <a:xfrm>
            <a:off x="414939" y="872433"/>
            <a:ext cx="350135" cy="388144"/>
          </a:xfrm>
          <a:custGeom>
            <a:avLst/>
            <a:gdLst/>
            <a:ahLst/>
            <a:cxnLst>
              <a:cxn ang="0">
                <a:pos x="201" y="427"/>
              </a:cxn>
              <a:cxn ang="0">
                <a:pos x="166" y="301"/>
              </a:cxn>
              <a:cxn ang="0">
                <a:pos x="141" y="194"/>
              </a:cxn>
              <a:cxn ang="0">
                <a:pos x="128" y="238"/>
              </a:cxn>
              <a:cxn ang="0">
                <a:pos x="50" y="224"/>
              </a:cxn>
              <a:cxn ang="0">
                <a:pos x="63" y="122"/>
              </a:cxn>
              <a:cxn ang="0">
                <a:pos x="166" y="106"/>
              </a:cxn>
              <a:cxn ang="0">
                <a:pos x="39" y="97"/>
              </a:cxn>
              <a:cxn ang="0">
                <a:pos x="27" y="106"/>
              </a:cxn>
              <a:cxn ang="0">
                <a:pos x="115" y="416"/>
              </a:cxn>
              <a:cxn ang="0">
                <a:pos x="142" y="323"/>
              </a:cxn>
              <a:cxn ang="0">
                <a:pos x="129" y="442"/>
              </a:cxn>
              <a:cxn ang="0">
                <a:pos x="0" y="429"/>
              </a:cxn>
              <a:cxn ang="0">
                <a:pos x="39" y="70"/>
              </a:cxn>
              <a:cxn ang="0">
                <a:pos x="183" y="81"/>
              </a:cxn>
              <a:cxn ang="0">
                <a:pos x="179" y="148"/>
              </a:cxn>
              <a:cxn ang="0">
                <a:pos x="115" y="180"/>
              </a:cxn>
              <a:cxn ang="0">
                <a:pos x="179" y="167"/>
              </a:cxn>
              <a:cxn ang="0">
                <a:pos x="193" y="290"/>
              </a:cxn>
              <a:cxn ang="0">
                <a:pos x="193" y="346"/>
              </a:cxn>
              <a:cxn ang="0">
                <a:pos x="284" y="432"/>
              </a:cxn>
              <a:cxn ang="0">
                <a:pos x="333" y="422"/>
              </a:cxn>
              <a:cxn ang="0">
                <a:pos x="365" y="259"/>
              </a:cxn>
              <a:cxn ang="0">
                <a:pos x="303" y="179"/>
              </a:cxn>
              <a:cxn ang="0">
                <a:pos x="312" y="168"/>
              </a:cxn>
              <a:cxn ang="0">
                <a:pos x="321" y="164"/>
              </a:cxn>
              <a:cxn ang="0">
                <a:pos x="348" y="132"/>
              </a:cxn>
              <a:cxn ang="0">
                <a:pos x="349" y="95"/>
              </a:cxn>
              <a:cxn ang="0">
                <a:pos x="344" y="95"/>
              </a:cxn>
              <a:cxn ang="0">
                <a:pos x="330" y="32"/>
              </a:cxn>
              <a:cxn ang="0">
                <a:pos x="326" y="27"/>
              </a:cxn>
              <a:cxn ang="0">
                <a:pos x="321" y="81"/>
              </a:cxn>
              <a:cxn ang="0">
                <a:pos x="308" y="94"/>
              </a:cxn>
              <a:cxn ang="0">
                <a:pos x="261" y="81"/>
              </a:cxn>
              <a:cxn ang="0">
                <a:pos x="257" y="27"/>
              </a:cxn>
              <a:cxn ang="0">
                <a:pos x="252" y="32"/>
              </a:cxn>
              <a:cxn ang="0">
                <a:pos x="237" y="95"/>
              </a:cxn>
              <a:cxn ang="0">
                <a:pos x="233" y="95"/>
              </a:cxn>
              <a:cxn ang="0">
                <a:pos x="234" y="139"/>
              </a:cxn>
              <a:cxn ang="0">
                <a:pos x="240" y="152"/>
              </a:cxn>
              <a:cxn ang="0">
                <a:pos x="271" y="167"/>
              </a:cxn>
              <a:cxn ang="0">
                <a:pos x="264" y="192"/>
              </a:cxn>
              <a:cxn ang="0">
                <a:pos x="209" y="150"/>
              </a:cxn>
              <a:cxn ang="0">
                <a:pos x="207" y="132"/>
              </a:cxn>
              <a:cxn ang="0">
                <a:pos x="210" y="80"/>
              </a:cxn>
              <a:cxn ang="0">
                <a:pos x="225" y="70"/>
              </a:cxn>
              <a:cxn ang="0">
                <a:pos x="257" y="0"/>
              </a:cxn>
              <a:cxn ang="0">
                <a:pos x="287" y="32"/>
              </a:cxn>
              <a:cxn ang="0">
                <a:pos x="295" y="32"/>
              </a:cxn>
              <a:cxn ang="0">
                <a:pos x="348" y="10"/>
              </a:cxn>
              <a:cxn ang="0">
                <a:pos x="356" y="70"/>
              </a:cxn>
              <a:cxn ang="0">
                <a:pos x="375" y="111"/>
              </a:cxn>
              <a:cxn ang="0">
                <a:pos x="368" y="160"/>
              </a:cxn>
              <a:cxn ang="0">
                <a:pos x="388" y="246"/>
              </a:cxn>
              <a:cxn ang="0">
                <a:pos x="398" y="394"/>
              </a:cxn>
              <a:cxn ang="0">
                <a:pos x="285" y="459"/>
              </a:cxn>
            </a:cxnLst>
            <a:rect l="0" t="0" r="r" b="b"/>
            <a:pathLst>
              <a:path w="413" h="459">
                <a:moveTo>
                  <a:pt x="285" y="459"/>
                </a:moveTo>
                <a:cubicBezTo>
                  <a:pt x="285" y="459"/>
                  <a:pt x="284" y="459"/>
                  <a:pt x="284" y="459"/>
                </a:cubicBezTo>
                <a:cubicBezTo>
                  <a:pt x="284" y="459"/>
                  <a:pt x="284" y="459"/>
                  <a:pt x="284" y="459"/>
                </a:cubicBezTo>
                <a:cubicBezTo>
                  <a:pt x="246" y="459"/>
                  <a:pt x="219" y="445"/>
                  <a:pt x="201" y="427"/>
                </a:cubicBezTo>
                <a:cubicBezTo>
                  <a:pt x="201" y="427"/>
                  <a:pt x="201" y="427"/>
                  <a:pt x="201" y="427"/>
                </a:cubicBezTo>
                <a:cubicBezTo>
                  <a:pt x="183" y="409"/>
                  <a:pt x="175" y="388"/>
                  <a:pt x="171" y="372"/>
                </a:cubicBezTo>
                <a:cubicBezTo>
                  <a:pt x="171" y="372"/>
                  <a:pt x="171" y="372"/>
                  <a:pt x="171" y="372"/>
                </a:cubicBezTo>
                <a:cubicBezTo>
                  <a:pt x="168" y="361"/>
                  <a:pt x="167" y="352"/>
                  <a:pt x="167" y="348"/>
                </a:cubicBezTo>
                <a:cubicBezTo>
                  <a:pt x="167" y="348"/>
                  <a:pt x="167" y="348"/>
                  <a:pt x="167" y="348"/>
                </a:cubicBezTo>
                <a:cubicBezTo>
                  <a:pt x="166" y="335"/>
                  <a:pt x="166" y="314"/>
                  <a:pt x="166" y="301"/>
                </a:cubicBezTo>
                <a:cubicBezTo>
                  <a:pt x="166" y="301"/>
                  <a:pt x="166" y="301"/>
                  <a:pt x="166" y="301"/>
                </a:cubicBezTo>
                <a:cubicBezTo>
                  <a:pt x="166" y="294"/>
                  <a:pt x="166" y="290"/>
                  <a:pt x="166" y="290"/>
                </a:cubicBezTo>
                <a:cubicBezTo>
                  <a:pt x="166" y="290"/>
                  <a:pt x="166" y="290"/>
                  <a:pt x="166" y="290"/>
                </a:cubicBezTo>
                <a:cubicBezTo>
                  <a:pt x="166" y="194"/>
                  <a:pt x="166" y="194"/>
                  <a:pt x="166" y="194"/>
                </a:cubicBezTo>
                <a:cubicBezTo>
                  <a:pt x="141" y="194"/>
                  <a:pt x="141" y="194"/>
                  <a:pt x="141" y="194"/>
                </a:cubicBezTo>
                <a:cubicBezTo>
                  <a:pt x="141" y="224"/>
                  <a:pt x="141" y="224"/>
                  <a:pt x="141" y="224"/>
                </a:cubicBezTo>
                <a:cubicBezTo>
                  <a:pt x="141" y="228"/>
                  <a:pt x="140" y="231"/>
                  <a:pt x="137" y="234"/>
                </a:cubicBezTo>
                <a:cubicBezTo>
                  <a:pt x="137" y="234"/>
                  <a:pt x="137" y="234"/>
                  <a:pt x="137" y="234"/>
                </a:cubicBezTo>
                <a:cubicBezTo>
                  <a:pt x="135" y="236"/>
                  <a:pt x="132" y="238"/>
                  <a:pt x="128" y="238"/>
                </a:cubicBezTo>
                <a:cubicBezTo>
                  <a:pt x="128" y="238"/>
                  <a:pt x="128" y="238"/>
                  <a:pt x="128" y="238"/>
                </a:cubicBezTo>
                <a:cubicBezTo>
                  <a:pt x="63" y="238"/>
                  <a:pt x="63" y="238"/>
                  <a:pt x="63" y="238"/>
                </a:cubicBezTo>
                <a:cubicBezTo>
                  <a:pt x="60" y="238"/>
                  <a:pt x="56" y="236"/>
                  <a:pt x="54" y="234"/>
                </a:cubicBezTo>
                <a:cubicBezTo>
                  <a:pt x="54" y="234"/>
                  <a:pt x="54" y="234"/>
                  <a:pt x="54" y="234"/>
                </a:cubicBezTo>
                <a:cubicBezTo>
                  <a:pt x="51" y="231"/>
                  <a:pt x="50" y="228"/>
                  <a:pt x="50" y="224"/>
                </a:cubicBezTo>
                <a:cubicBezTo>
                  <a:pt x="50" y="224"/>
                  <a:pt x="50" y="224"/>
                  <a:pt x="50" y="224"/>
                </a:cubicBezTo>
                <a:cubicBezTo>
                  <a:pt x="50" y="135"/>
                  <a:pt x="50" y="135"/>
                  <a:pt x="50" y="135"/>
                </a:cubicBezTo>
                <a:cubicBezTo>
                  <a:pt x="50" y="131"/>
                  <a:pt x="51" y="128"/>
                  <a:pt x="54" y="126"/>
                </a:cubicBezTo>
                <a:cubicBezTo>
                  <a:pt x="54" y="126"/>
                  <a:pt x="54" y="126"/>
                  <a:pt x="54" y="126"/>
                </a:cubicBezTo>
                <a:cubicBezTo>
                  <a:pt x="56" y="123"/>
                  <a:pt x="60" y="122"/>
                  <a:pt x="63" y="122"/>
                </a:cubicBezTo>
                <a:cubicBezTo>
                  <a:pt x="63" y="122"/>
                  <a:pt x="63" y="122"/>
                  <a:pt x="63" y="122"/>
                </a:cubicBezTo>
                <a:cubicBezTo>
                  <a:pt x="166" y="122"/>
                  <a:pt x="166" y="122"/>
                  <a:pt x="166" y="122"/>
                </a:cubicBezTo>
                <a:cubicBezTo>
                  <a:pt x="166" y="122"/>
                  <a:pt x="166" y="122"/>
                  <a:pt x="166" y="122"/>
                </a:cubicBezTo>
                <a:cubicBezTo>
                  <a:pt x="166" y="122"/>
                  <a:pt x="166" y="122"/>
                  <a:pt x="166" y="122"/>
                </a:cubicBezTo>
                <a:cubicBezTo>
                  <a:pt x="166" y="115"/>
                  <a:pt x="166" y="107"/>
                  <a:pt x="166" y="106"/>
                </a:cubicBezTo>
                <a:cubicBezTo>
                  <a:pt x="166" y="106"/>
                  <a:pt x="166" y="106"/>
                  <a:pt x="166" y="106"/>
                </a:cubicBezTo>
                <a:cubicBezTo>
                  <a:pt x="166" y="103"/>
                  <a:pt x="165" y="101"/>
                  <a:pt x="164" y="99"/>
                </a:cubicBezTo>
                <a:cubicBezTo>
                  <a:pt x="164" y="99"/>
                  <a:pt x="164" y="99"/>
                  <a:pt x="164" y="99"/>
                </a:cubicBezTo>
                <a:cubicBezTo>
                  <a:pt x="162" y="98"/>
                  <a:pt x="160" y="97"/>
                  <a:pt x="159" y="97"/>
                </a:cubicBezTo>
                <a:cubicBezTo>
                  <a:pt x="159" y="97"/>
                  <a:pt x="159" y="97"/>
                  <a:pt x="159" y="97"/>
                </a:cubicBezTo>
                <a:cubicBezTo>
                  <a:pt x="128" y="97"/>
                  <a:pt x="52" y="97"/>
                  <a:pt x="39" y="97"/>
                </a:cubicBezTo>
                <a:cubicBezTo>
                  <a:pt x="39" y="97"/>
                  <a:pt x="39" y="97"/>
                  <a:pt x="39" y="97"/>
                </a:cubicBezTo>
                <a:cubicBezTo>
                  <a:pt x="32" y="97"/>
                  <a:pt x="30" y="99"/>
                  <a:pt x="29" y="100"/>
                </a:cubicBezTo>
                <a:cubicBezTo>
                  <a:pt x="29" y="100"/>
                  <a:pt x="29" y="100"/>
                  <a:pt x="29" y="100"/>
                </a:cubicBezTo>
                <a:cubicBezTo>
                  <a:pt x="28" y="101"/>
                  <a:pt x="27" y="104"/>
                  <a:pt x="27" y="106"/>
                </a:cubicBezTo>
                <a:cubicBezTo>
                  <a:pt x="27" y="106"/>
                  <a:pt x="27" y="106"/>
                  <a:pt x="27" y="106"/>
                </a:cubicBezTo>
                <a:cubicBezTo>
                  <a:pt x="27" y="108"/>
                  <a:pt x="27" y="188"/>
                  <a:pt x="27" y="269"/>
                </a:cubicBezTo>
                <a:cubicBezTo>
                  <a:pt x="27" y="269"/>
                  <a:pt x="27" y="269"/>
                  <a:pt x="27" y="269"/>
                </a:cubicBezTo>
                <a:cubicBezTo>
                  <a:pt x="27" y="329"/>
                  <a:pt x="27" y="390"/>
                  <a:pt x="27" y="416"/>
                </a:cubicBezTo>
                <a:cubicBezTo>
                  <a:pt x="27" y="416"/>
                  <a:pt x="27" y="416"/>
                  <a:pt x="27" y="416"/>
                </a:cubicBezTo>
                <a:cubicBezTo>
                  <a:pt x="115" y="416"/>
                  <a:pt x="115" y="416"/>
                  <a:pt x="115" y="416"/>
                </a:cubicBezTo>
                <a:cubicBezTo>
                  <a:pt x="115" y="323"/>
                  <a:pt x="115" y="323"/>
                  <a:pt x="115" y="323"/>
                </a:cubicBezTo>
                <a:cubicBezTo>
                  <a:pt x="115" y="316"/>
                  <a:pt x="121" y="310"/>
                  <a:pt x="129" y="310"/>
                </a:cubicBezTo>
                <a:cubicBezTo>
                  <a:pt x="129" y="310"/>
                  <a:pt x="129" y="310"/>
                  <a:pt x="129" y="310"/>
                </a:cubicBezTo>
                <a:cubicBezTo>
                  <a:pt x="136" y="310"/>
                  <a:pt x="142" y="316"/>
                  <a:pt x="142" y="323"/>
                </a:cubicBezTo>
                <a:cubicBezTo>
                  <a:pt x="142" y="323"/>
                  <a:pt x="142" y="323"/>
                  <a:pt x="142" y="323"/>
                </a:cubicBezTo>
                <a:cubicBezTo>
                  <a:pt x="142" y="429"/>
                  <a:pt x="142" y="429"/>
                  <a:pt x="142" y="429"/>
                </a:cubicBezTo>
                <a:cubicBezTo>
                  <a:pt x="142" y="433"/>
                  <a:pt x="141" y="436"/>
                  <a:pt x="138" y="438"/>
                </a:cubicBezTo>
                <a:cubicBezTo>
                  <a:pt x="138" y="438"/>
                  <a:pt x="138" y="438"/>
                  <a:pt x="138" y="438"/>
                </a:cubicBezTo>
                <a:cubicBezTo>
                  <a:pt x="136" y="441"/>
                  <a:pt x="132" y="442"/>
                  <a:pt x="129" y="442"/>
                </a:cubicBezTo>
                <a:cubicBezTo>
                  <a:pt x="129" y="442"/>
                  <a:pt x="129" y="442"/>
                  <a:pt x="129" y="442"/>
                </a:cubicBezTo>
                <a:cubicBezTo>
                  <a:pt x="13" y="442"/>
                  <a:pt x="13" y="442"/>
                  <a:pt x="13" y="442"/>
                </a:cubicBezTo>
                <a:cubicBezTo>
                  <a:pt x="10" y="442"/>
                  <a:pt x="6" y="441"/>
                  <a:pt x="4" y="438"/>
                </a:cubicBezTo>
                <a:cubicBezTo>
                  <a:pt x="4" y="438"/>
                  <a:pt x="4" y="438"/>
                  <a:pt x="4" y="438"/>
                </a:cubicBezTo>
                <a:cubicBezTo>
                  <a:pt x="1" y="436"/>
                  <a:pt x="0" y="433"/>
                  <a:pt x="0" y="429"/>
                </a:cubicBezTo>
                <a:cubicBezTo>
                  <a:pt x="0" y="429"/>
                  <a:pt x="0" y="429"/>
                  <a:pt x="0" y="429"/>
                </a:cubicBezTo>
                <a:cubicBezTo>
                  <a:pt x="0" y="429"/>
                  <a:pt x="0" y="109"/>
                  <a:pt x="0" y="106"/>
                </a:cubicBezTo>
                <a:cubicBezTo>
                  <a:pt x="0" y="106"/>
                  <a:pt x="0" y="106"/>
                  <a:pt x="0" y="106"/>
                </a:cubicBezTo>
                <a:cubicBezTo>
                  <a:pt x="0" y="98"/>
                  <a:pt x="3" y="89"/>
                  <a:pt x="9" y="82"/>
                </a:cubicBezTo>
                <a:cubicBezTo>
                  <a:pt x="9" y="82"/>
                  <a:pt x="9" y="82"/>
                  <a:pt x="9" y="82"/>
                </a:cubicBezTo>
                <a:cubicBezTo>
                  <a:pt x="16" y="75"/>
                  <a:pt x="27" y="70"/>
                  <a:pt x="39" y="70"/>
                </a:cubicBezTo>
                <a:cubicBezTo>
                  <a:pt x="39" y="70"/>
                  <a:pt x="39" y="70"/>
                  <a:pt x="39" y="70"/>
                </a:cubicBezTo>
                <a:cubicBezTo>
                  <a:pt x="52" y="70"/>
                  <a:pt x="128" y="70"/>
                  <a:pt x="159" y="70"/>
                </a:cubicBezTo>
                <a:cubicBezTo>
                  <a:pt x="159" y="70"/>
                  <a:pt x="159" y="70"/>
                  <a:pt x="159" y="70"/>
                </a:cubicBezTo>
                <a:cubicBezTo>
                  <a:pt x="168" y="70"/>
                  <a:pt x="176" y="74"/>
                  <a:pt x="183" y="81"/>
                </a:cubicBezTo>
                <a:cubicBezTo>
                  <a:pt x="183" y="81"/>
                  <a:pt x="183" y="81"/>
                  <a:pt x="183" y="81"/>
                </a:cubicBezTo>
                <a:cubicBezTo>
                  <a:pt x="189" y="87"/>
                  <a:pt x="193" y="96"/>
                  <a:pt x="193" y="106"/>
                </a:cubicBezTo>
                <a:cubicBezTo>
                  <a:pt x="193" y="106"/>
                  <a:pt x="193" y="106"/>
                  <a:pt x="193" y="106"/>
                </a:cubicBezTo>
                <a:cubicBezTo>
                  <a:pt x="193" y="110"/>
                  <a:pt x="193" y="135"/>
                  <a:pt x="193" y="135"/>
                </a:cubicBezTo>
                <a:cubicBezTo>
                  <a:pt x="193" y="135"/>
                  <a:pt x="193" y="135"/>
                  <a:pt x="193" y="135"/>
                </a:cubicBezTo>
                <a:cubicBezTo>
                  <a:pt x="193" y="143"/>
                  <a:pt x="187" y="148"/>
                  <a:pt x="179" y="148"/>
                </a:cubicBezTo>
                <a:cubicBezTo>
                  <a:pt x="179" y="148"/>
                  <a:pt x="179" y="148"/>
                  <a:pt x="179" y="148"/>
                </a:cubicBezTo>
                <a:cubicBezTo>
                  <a:pt x="77" y="148"/>
                  <a:pt x="77" y="148"/>
                  <a:pt x="77" y="148"/>
                </a:cubicBezTo>
                <a:cubicBezTo>
                  <a:pt x="77" y="211"/>
                  <a:pt x="77" y="211"/>
                  <a:pt x="77" y="211"/>
                </a:cubicBezTo>
                <a:cubicBezTo>
                  <a:pt x="115" y="211"/>
                  <a:pt x="115" y="211"/>
                  <a:pt x="115" y="211"/>
                </a:cubicBezTo>
                <a:cubicBezTo>
                  <a:pt x="115" y="180"/>
                  <a:pt x="115" y="180"/>
                  <a:pt x="115" y="180"/>
                </a:cubicBezTo>
                <a:cubicBezTo>
                  <a:pt x="115" y="177"/>
                  <a:pt x="116" y="173"/>
                  <a:pt x="119" y="171"/>
                </a:cubicBezTo>
                <a:cubicBezTo>
                  <a:pt x="119" y="171"/>
                  <a:pt x="119" y="171"/>
                  <a:pt x="119" y="171"/>
                </a:cubicBezTo>
                <a:cubicBezTo>
                  <a:pt x="121" y="168"/>
                  <a:pt x="124" y="167"/>
                  <a:pt x="128" y="167"/>
                </a:cubicBezTo>
                <a:cubicBezTo>
                  <a:pt x="128" y="167"/>
                  <a:pt x="128" y="167"/>
                  <a:pt x="128" y="167"/>
                </a:cubicBezTo>
                <a:cubicBezTo>
                  <a:pt x="179" y="167"/>
                  <a:pt x="179" y="167"/>
                  <a:pt x="179" y="167"/>
                </a:cubicBezTo>
                <a:cubicBezTo>
                  <a:pt x="183" y="167"/>
                  <a:pt x="186" y="168"/>
                  <a:pt x="189" y="171"/>
                </a:cubicBezTo>
                <a:cubicBezTo>
                  <a:pt x="189" y="171"/>
                  <a:pt x="189" y="171"/>
                  <a:pt x="189" y="171"/>
                </a:cubicBezTo>
                <a:cubicBezTo>
                  <a:pt x="191" y="173"/>
                  <a:pt x="193" y="177"/>
                  <a:pt x="193" y="180"/>
                </a:cubicBezTo>
                <a:cubicBezTo>
                  <a:pt x="193" y="180"/>
                  <a:pt x="193" y="180"/>
                  <a:pt x="193" y="180"/>
                </a:cubicBezTo>
                <a:cubicBezTo>
                  <a:pt x="193" y="290"/>
                  <a:pt x="193" y="290"/>
                  <a:pt x="193" y="290"/>
                </a:cubicBezTo>
                <a:cubicBezTo>
                  <a:pt x="193" y="290"/>
                  <a:pt x="193" y="290"/>
                  <a:pt x="193" y="290"/>
                </a:cubicBezTo>
                <a:cubicBezTo>
                  <a:pt x="193" y="290"/>
                  <a:pt x="193" y="294"/>
                  <a:pt x="193" y="301"/>
                </a:cubicBezTo>
                <a:cubicBezTo>
                  <a:pt x="193" y="301"/>
                  <a:pt x="193" y="301"/>
                  <a:pt x="193" y="301"/>
                </a:cubicBezTo>
                <a:cubicBezTo>
                  <a:pt x="193" y="314"/>
                  <a:pt x="193" y="334"/>
                  <a:pt x="193" y="346"/>
                </a:cubicBezTo>
                <a:cubicBezTo>
                  <a:pt x="193" y="346"/>
                  <a:pt x="193" y="346"/>
                  <a:pt x="193" y="346"/>
                </a:cubicBezTo>
                <a:cubicBezTo>
                  <a:pt x="193" y="350"/>
                  <a:pt x="195" y="364"/>
                  <a:pt x="201" y="379"/>
                </a:cubicBezTo>
                <a:cubicBezTo>
                  <a:pt x="201" y="379"/>
                  <a:pt x="201" y="379"/>
                  <a:pt x="201" y="379"/>
                </a:cubicBezTo>
                <a:cubicBezTo>
                  <a:pt x="207" y="394"/>
                  <a:pt x="218" y="410"/>
                  <a:pt x="235" y="420"/>
                </a:cubicBezTo>
                <a:cubicBezTo>
                  <a:pt x="235" y="420"/>
                  <a:pt x="235" y="420"/>
                  <a:pt x="235" y="420"/>
                </a:cubicBezTo>
                <a:cubicBezTo>
                  <a:pt x="247" y="427"/>
                  <a:pt x="263" y="432"/>
                  <a:pt x="284" y="432"/>
                </a:cubicBezTo>
                <a:cubicBezTo>
                  <a:pt x="284" y="432"/>
                  <a:pt x="284" y="432"/>
                  <a:pt x="284" y="432"/>
                </a:cubicBezTo>
                <a:cubicBezTo>
                  <a:pt x="284" y="432"/>
                  <a:pt x="285" y="432"/>
                  <a:pt x="285" y="432"/>
                </a:cubicBezTo>
                <a:cubicBezTo>
                  <a:pt x="285" y="432"/>
                  <a:pt x="285" y="432"/>
                  <a:pt x="285" y="432"/>
                </a:cubicBezTo>
                <a:cubicBezTo>
                  <a:pt x="304" y="432"/>
                  <a:pt x="320" y="429"/>
                  <a:pt x="333" y="422"/>
                </a:cubicBezTo>
                <a:cubicBezTo>
                  <a:pt x="333" y="422"/>
                  <a:pt x="333" y="422"/>
                  <a:pt x="333" y="422"/>
                </a:cubicBezTo>
                <a:cubicBezTo>
                  <a:pt x="345" y="416"/>
                  <a:pt x="356" y="408"/>
                  <a:pt x="364" y="398"/>
                </a:cubicBezTo>
                <a:cubicBezTo>
                  <a:pt x="364" y="398"/>
                  <a:pt x="364" y="398"/>
                  <a:pt x="364" y="398"/>
                </a:cubicBezTo>
                <a:cubicBezTo>
                  <a:pt x="380" y="378"/>
                  <a:pt x="387" y="352"/>
                  <a:pt x="387" y="330"/>
                </a:cubicBezTo>
                <a:cubicBezTo>
                  <a:pt x="387" y="330"/>
                  <a:pt x="387" y="330"/>
                  <a:pt x="387" y="330"/>
                </a:cubicBezTo>
                <a:cubicBezTo>
                  <a:pt x="387" y="308"/>
                  <a:pt x="379" y="283"/>
                  <a:pt x="365" y="259"/>
                </a:cubicBezTo>
                <a:cubicBezTo>
                  <a:pt x="365" y="259"/>
                  <a:pt x="365" y="259"/>
                  <a:pt x="365" y="259"/>
                </a:cubicBezTo>
                <a:cubicBezTo>
                  <a:pt x="351" y="234"/>
                  <a:pt x="331" y="211"/>
                  <a:pt x="308" y="191"/>
                </a:cubicBezTo>
                <a:cubicBezTo>
                  <a:pt x="308" y="191"/>
                  <a:pt x="308" y="191"/>
                  <a:pt x="308" y="191"/>
                </a:cubicBezTo>
                <a:cubicBezTo>
                  <a:pt x="304" y="188"/>
                  <a:pt x="303" y="184"/>
                  <a:pt x="303" y="179"/>
                </a:cubicBezTo>
                <a:cubicBezTo>
                  <a:pt x="303" y="179"/>
                  <a:pt x="303" y="179"/>
                  <a:pt x="303" y="179"/>
                </a:cubicBezTo>
                <a:cubicBezTo>
                  <a:pt x="304" y="174"/>
                  <a:pt x="307" y="170"/>
                  <a:pt x="311" y="169"/>
                </a:cubicBezTo>
                <a:cubicBezTo>
                  <a:pt x="311" y="169"/>
                  <a:pt x="311" y="169"/>
                  <a:pt x="311" y="169"/>
                </a:cubicBezTo>
                <a:cubicBezTo>
                  <a:pt x="311" y="169"/>
                  <a:pt x="311" y="169"/>
                  <a:pt x="312" y="169"/>
                </a:cubicBezTo>
                <a:cubicBezTo>
                  <a:pt x="312" y="169"/>
                  <a:pt x="312" y="169"/>
                  <a:pt x="312" y="169"/>
                </a:cubicBezTo>
                <a:cubicBezTo>
                  <a:pt x="312" y="169"/>
                  <a:pt x="312" y="168"/>
                  <a:pt x="312" y="168"/>
                </a:cubicBezTo>
                <a:cubicBezTo>
                  <a:pt x="312" y="168"/>
                  <a:pt x="312" y="168"/>
                  <a:pt x="312" y="168"/>
                </a:cubicBezTo>
                <a:cubicBezTo>
                  <a:pt x="313" y="168"/>
                  <a:pt x="313" y="168"/>
                  <a:pt x="314" y="168"/>
                </a:cubicBezTo>
                <a:cubicBezTo>
                  <a:pt x="314" y="168"/>
                  <a:pt x="314" y="168"/>
                  <a:pt x="314" y="168"/>
                </a:cubicBezTo>
                <a:cubicBezTo>
                  <a:pt x="316" y="167"/>
                  <a:pt x="318" y="166"/>
                  <a:pt x="321" y="164"/>
                </a:cubicBezTo>
                <a:cubicBezTo>
                  <a:pt x="321" y="164"/>
                  <a:pt x="321" y="164"/>
                  <a:pt x="321" y="164"/>
                </a:cubicBezTo>
                <a:cubicBezTo>
                  <a:pt x="327" y="161"/>
                  <a:pt x="333" y="158"/>
                  <a:pt x="338" y="154"/>
                </a:cubicBezTo>
                <a:cubicBezTo>
                  <a:pt x="338" y="154"/>
                  <a:pt x="338" y="154"/>
                  <a:pt x="338" y="154"/>
                </a:cubicBezTo>
                <a:cubicBezTo>
                  <a:pt x="342" y="151"/>
                  <a:pt x="344" y="148"/>
                  <a:pt x="344" y="147"/>
                </a:cubicBezTo>
                <a:cubicBezTo>
                  <a:pt x="344" y="147"/>
                  <a:pt x="344" y="147"/>
                  <a:pt x="344" y="147"/>
                </a:cubicBezTo>
                <a:cubicBezTo>
                  <a:pt x="346" y="145"/>
                  <a:pt x="347" y="139"/>
                  <a:pt x="348" y="132"/>
                </a:cubicBezTo>
                <a:cubicBezTo>
                  <a:pt x="348" y="132"/>
                  <a:pt x="348" y="132"/>
                  <a:pt x="348" y="132"/>
                </a:cubicBezTo>
                <a:cubicBezTo>
                  <a:pt x="349" y="125"/>
                  <a:pt x="349" y="117"/>
                  <a:pt x="349" y="111"/>
                </a:cubicBezTo>
                <a:cubicBezTo>
                  <a:pt x="349" y="111"/>
                  <a:pt x="349" y="111"/>
                  <a:pt x="349" y="111"/>
                </a:cubicBezTo>
                <a:cubicBezTo>
                  <a:pt x="349" y="104"/>
                  <a:pt x="349" y="99"/>
                  <a:pt x="349" y="95"/>
                </a:cubicBezTo>
                <a:cubicBezTo>
                  <a:pt x="349" y="95"/>
                  <a:pt x="349" y="95"/>
                  <a:pt x="349" y="95"/>
                </a:cubicBezTo>
                <a:cubicBezTo>
                  <a:pt x="348" y="95"/>
                  <a:pt x="346" y="95"/>
                  <a:pt x="345" y="95"/>
                </a:cubicBezTo>
                <a:cubicBezTo>
                  <a:pt x="345" y="95"/>
                  <a:pt x="345" y="95"/>
                  <a:pt x="345" y="95"/>
                </a:cubicBezTo>
                <a:cubicBezTo>
                  <a:pt x="344" y="95"/>
                  <a:pt x="344" y="95"/>
                  <a:pt x="344" y="95"/>
                </a:cubicBezTo>
                <a:cubicBezTo>
                  <a:pt x="344" y="95"/>
                  <a:pt x="344" y="95"/>
                  <a:pt x="344" y="95"/>
                </a:cubicBezTo>
                <a:cubicBezTo>
                  <a:pt x="344" y="95"/>
                  <a:pt x="344" y="95"/>
                  <a:pt x="344" y="95"/>
                </a:cubicBezTo>
                <a:cubicBezTo>
                  <a:pt x="340" y="95"/>
                  <a:pt x="337" y="94"/>
                  <a:pt x="334" y="91"/>
                </a:cubicBezTo>
                <a:cubicBezTo>
                  <a:pt x="334" y="91"/>
                  <a:pt x="334" y="91"/>
                  <a:pt x="334" y="91"/>
                </a:cubicBezTo>
                <a:cubicBezTo>
                  <a:pt x="331" y="89"/>
                  <a:pt x="330" y="85"/>
                  <a:pt x="330" y="81"/>
                </a:cubicBezTo>
                <a:cubicBezTo>
                  <a:pt x="330" y="81"/>
                  <a:pt x="330" y="81"/>
                  <a:pt x="330" y="81"/>
                </a:cubicBezTo>
                <a:cubicBezTo>
                  <a:pt x="330" y="81"/>
                  <a:pt x="330" y="40"/>
                  <a:pt x="330" y="32"/>
                </a:cubicBezTo>
                <a:cubicBezTo>
                  <a:pt x="330" y="32"/>
                  <a:pt x="330" y="32"/>
                  <a:pt x="330" y="32"/>
                </a:cubicBezTo>
                <a:cubicBezTo>
                  <a:pt x="330" y="30"/>
                  <a:pt x="329" y="28"/>
                  <a:pt x="328" y="28"/>
                </a:cubicBezTo>
                <a:cubicBezTo>
                  <a:pt x="328" y="28"/>
                  <a:pt x="328" y="28"/>
                  <a:pt x="328" y="28"/>
                </a:cubicBezTo>
                <a:cubicBezTo>
                  <a:pt x="328" y="27"/>
                  <a:pt x="327" y="27"/>
                  <a:pt x="326" y="27"/>
                </a:cubicBezTo>
                <a:cubicBezTo>
                  <a:pt x="326" y="27"/>
                  <a:pt x="326" y="27"/>
                  <a:pt x="326" y="27"/>
                </a:cubicBezTo>
                <a:cubicBezTo>
                  <a:pt x="324" y="27"/>
                  <a:pt x="323" y="27"/>
                  <a:pt x="323" y="28"/>
                </a:cubicBezTo>
                <a:cubicBezTo>
                  <a:pt x="323" y="28"/>
                  <a:pt x="323" y="28"/>
                  <a:pt x="323" y="28"/>
                </a:cubicBezTo>
                <a:cubicBezTo>
                  <a:pt x="322" y="28"/>
                  <a:pt x="321" y="29"/>
                  <a:pt x="321" y="32"/>
                </a:cubicBezTo>
                <a:cubicBezTo>
                  <a:pt x="321" y="32"/>
                  <a:pt x="321" y="32"/>
                  <a:pt x="321" y="32"/>
                </a:cubicBezTo>
                <a:cubicBezTo>
                  <a:pt x="321" y="41"/>
                  <a:pt x="321" y="76"/>
                  <a:pt x="321" y="81"/>
                </a:cubicBezTo>
                <a:cubicBezTo>
                  <a:pt x="321" y="81"/>
                  <a:pt x="321" y="81"/>
                  <a:pt x="321" y="81"/>
                </a:cubicBezTo>
                <a:cubicBezTo>
                  <a:pt x="321" y="85"/>
                  <a:pt x="320" y="88"/>
                  <a:pt x="317" y="90"/>
                </a:cubicBezTo>
                <a:cubicBezTo>
                  <a:pt x="317" y="90"/>
                  <a:pt x="317" y="90"/>
                  <a:pt x="317" y="90"/>
                </a:cubicBezTo>
                <a:cubicBezTo>
                  <a:pt x="315" y="93"/>
                  <a:pt x="312" y="94"/>
                  <a:pt x="308" y="94"/>
                </a:cubicBezTo>
                <a:cubicBezTo>
                  <a:pt x="308" y="94"/>
                  <a:pt x="308" y="94"/>
                  <a:pt x="308" y="94"/>
                </a:cubicBezTo>
                <a:cubicBezTo>
                  <a:pt x="274" y="94"/>
                  <a:pt x="274" y="94"/>
                  <a:pt x="274" y="94"/>
                </a:cubicBezTo>
                <a:cubicBezTo>
                  <a:pt x="270" y="94"/>
                  <a:pt x="267" y="93"/>
                  <a:pt x="265" y="90"/>
                </a:cubicBezTo>
                <a:cubicBezTo>
                  <a:pt x="265" y="90"/>
                  <a:pt x="265" y="90"/>
                  <a:pt x="265" y="90"/>
                </a:cubicBezTo>
                <a:cubicBezTo>
                  <a:pt x="262" y="88"/>
                  <a:pt x="261" y="85"/>
                  <a:pt x="261" y="81"/>
                </a:cubicBezTo>
                <a:cubicBezTo>
                  <a:pt x="261" y="81"/>
                  <a:pt x="261" y="81"/>
                  <a:pt x="261" y="81"/>
                </a:cubicBezTo>
                <a:cubicBezTo>
                  <a:pt x="261" y="81"/>
                  <a:pt x="261" y="42"/>
                  <a:pt x="261" y="32"/>
                </a:cubicBezTo>
                <a:cubicBezTo>
                  <a:pt x="261" y="32"/>
                  <a:pt x="261" y="32"/>
                  <a:pt x="261" y="32"/>
                </a:cubicBezTo>
                <a:cubicBezTo>
                  <a:pt x="261" y="29"/>
                  <a:pt x="260" y="28"/>
                  <a:pt x="259" y="28"/>
                </a:cubicBezTo>
                <a:cubicBezTo>
                  <a:pt x="259" y="28"/>
                  <a:pt x="259" y="28"/>
                  <a:pt x="259" y="28"/>
                </a:cubicBezTo>
                <a:cubicBezTo>
                  <a:pt x="259" y="27"/>
                  <a:pt x="258" y="27"/>
                  <a:pt x="257" y="27"/>
                </a:cubicBezTo>
                <a:cubicBezTo>
                  <a:pt x="257" y="27"/>
                  <a:pt x="257" y="27"/>
                  <a:pt x="257" y="27"/>
                </a:cubicBezTo>
                <a:cubicBezTo>
                  <a:pt x="255" y="27"/>
                  <a:pt x="254" y="27"/>
                  <a:pt x="253" y="28"/>
                </a:cubicBezTo>
                <a:cubicBezTo>
                  <a:pt x="253" y="28"/>
                  <a:pt x="253" y="28"/>
                  <a:pt x="253" y="28"/>
                </a:cubicBezTo>
                <a:cubicBezTo>
                  <a:pt x="253" y="28"/>
                  <a:pt x="252" y="29"/>
                  <a:pt x="252" y="32"/>
                </a:cubicBezTo>
                <a:cubicBezTo>
                  <a:pt x="252" y="32"/>
                  <a:pt x="252" y="32"/>
                  <a:pt x="252" y="32"/>
                </a:cubicBezTo>
                <a:cubicBezTo>
                  <a:pt x="252" y="41"/>
                  <a:pt x="252" y="74"/>
                  <a:pt x="252" y="82"/>
                </a:cubicBezTo>
                <a:cubicBezTo>
                  <a:pt x="252" y="82"/>
                  <a:pt x="252" y="82"/>
                  <a:pt x="252" y="82"/>
                </a:cubicBezTo>
                <a:cubicBezTo>
                  <a:pt x="252" y="86"/>
                  <a:pt x="250" y="89"/>
                  <a:pt x="247" y="92"/>
                </a:cubicBezTo>
                <a:cubicBezTo>
                  <a:pt x="247" y="92"/>
                  <a:pt x="247" y="92"/>
                  <a:pt x="247" y="92"/>
                </a:cubicBezTo>
                <a:cubicBezTo>
                  <a:pt x="245" y="94"/>
                  <a:pt x="241" y="95"/>
                  <a:pt x="237" y="95"/>
                </a:cubicBezTo>
                <a:cubicBezTo>
                  <a:pt x="237" y="95"/>
                  <a:pt x="237" y="95"/>
                  <a:pt x="237" y="95"/>
                </a:cubicBezTo>
                <a:cubicBezTo>
                  <a:pt x="237" y="95"/>
                  <a:pt x="237" y="95"/>
                  <a:pt x="237" y="95"/>
                </a:cubicBezTo>
                <a:cubicBezTo>
                  <a:pt x="237" y="95"/>
                  <a:pt x="236" y="95"/>
                  <a:pt x="236" y="95"/>
                </a:cubicBezTo>
                <a:cubicBezTo>
                  <a:pt x="236" y="95"/>
                  <a:pt x="236" y="95"/>
                  <a:pt x="236" y="95"/>
                </a:cubicBezTo>
                <a:cubicBezTo>
                  <a:pt x="235" y="95"/>
                  <a:pt x="234" y="95"/>
                  <a:pt x="233" y="95"/>
                </a:cubicBezTo>
                <a:cubicBezTo>
                  <a:pt x="233" y="95"/>
                  <a:pt x="233" y="95"/>
                  <a:pt x="233" y="95"/>
                </a:cubicBezTo>
                <a:cubicBezTo>
                  <a:pt x="233" y="98"/>
                  <a:pt x="233" y="102"/>
                  <a:pt x="233" y="106"/>
                </a:cubicBezTo>
                <a:cubicBezTo>
                  <a:pt x="233" y="106"/>
                  <a:pt x="233" y="106"/>
                  <a:pt x="233" y="106"/>
                </a:cubicBezTo>
                <a:cubicBezTo>
                  <a:pt x="233" y="116"/>
                  <a:pt x="233" y="130"/>
                  <a:pt x="234" y="139"/>
                </a:cubicBezTo>
                <a:cubicBezTo>
                  <a:pt x="234" y="139"/>
                  <a:pt x="234" y="139"/>
                  <a:pt x="234" y="139"/>
                </a:cubicBezTo>
                <a:cubicBezTo>
                  <a:pt x="234" y="142"/>
                  <a:pt x="235" y="144"/>
                  <a:pt x="235" y="145"/>
                </a:cubicBezTo>
                <a:cubicBezTo>
                  <a:pt x="235" y="145"/>
                  <a:pt x="235" y="145"/>
                  <a:pt x="235" y="145"/>
                </a:cubicBezTo>
                <a:cubicBezTo>
                  <a:pt x="235" y="145"/>
                  <a:pt x="235" y="145"/>
                  <a:pt x="235" y="145"/>
                </a:cubicBezTo>
                <a:cubicBezTo>
                  <a:pt x="235" y="145"/>
                  <a:pt x="235" y="145"/>
                  <a:pt x="235" y="145"/>
                </a:cubicBezTo>
                <a:cubicBezTo>
                  <a:pt x="236" y="148"/>
                  <a:pt x="238" y="150"/>
                  <a:pt x="240" y="152"/>
                </a:cubicBezTo>
                <a:cubicBezTo>
                  <a:pt x="240" y="152"/>
                  <a:pt x="240" y="152"/>
                  <a:pt x="240" y="152"/>
                </a:cubicBezTo>
                <a:cubicBezTo>
                  <a:pt x="242" y="154"/>
                  <a:pt x="246" y="156"/>
                  <a:pt x="249" y="158"/>
                </a:cubicBezTo>
                <a:cubicBezTo>
                  <a:pt x="249" y="158"/>
                  <a:pt x="249" y="158"/>
                  <a:pt x="249" y="158"/>
                </a:cubicBezTo>
                <a:cubicBezTo>
                  <a:pt x="256" y="162"/>
                  <a:pt x="265" y="165"/>
                  <a:pt x="271" y="167"/>
                </a:cubicBezTo>
                <a:cubicBezTo>
                  <a:pt x="271" y="167"/>
                  <a:pt x="271" y="167"/>
                  <a:pt x="271" y="167"/>
                </a:cubicBezTo>
                <a:cubicBezTo>
                  <a:pt x="271" y="167"/>
                  <a:pt x="271" y="167"/>
                  <a:pt x="271" y="167"/>
                </a:cubicBezTo>
                <a:cubicBezTo>
                  <a:pt x="279" y="169"/>
                  <a:pt x="283" y="176"/>
                  <a:pt x="281" y="183"/>
                </a:cubicBezTo>
                <a:cubicBezTo>
                  <a:pt x="281" y="183"/>
                  <a:pt x="281" y="183"/>
                  <a:pt x="281" y="183"/>
                </a:cubicBezTo>
                <a:cubicBezTo>
                  <a:pt x="279" y="190"/>
                  <a:pt x="271" y="194"/>
                  <a:pt x="264" y="192"/>
                </a:cubicBezTo>
                <a:cubicBezTo>
                  <a:pt x="264" y="192"/>
                  <a:pt x="264" y="192"/>
                  <a:pt x="264" y="192"/>
                </a:cubicBezTo>
                <a:cubicBezTo>
                  <a:pt x="253" y="189"/>
                  <a:pt x="236" y="184"/>
                  <a:pt x="222" y="172"/>
                </a:cubicBezTo>
                <a:cubicBezTo>
                  <a:pt x="222" y="172"/>
                  <a:pt x="222" y="172"/>
                  <a:pt x="222" y="172"/>
                </a:cubicBezTo>
                <a:cubicBezTo>
                  <a:pt x="217" y="167"/>
                  <a:pt x="213" y="162"/>
                  <a:pt x="210" y="156"/>
                </a:cubicBezTo>
                <a:cubicBezTo>
                  <a:pt x="210" y="156"/>
                  <a:pt x="210" y="156"/>
                  <a:pt x="210" y="156"/>
                </a:cubicBezTo>
                <a:cubicBezTo>
                  <a:pt x="210" y="154"/>
                  <a:pt x="209" y="152"/>
                  <a:pt x="209" y="150"/>
                </a:cubicBezTo>
                <a:cubicBezTo>
                  <a:pt x="209" y="150"/>
                  <a:pt x="209" y="150"/>
                  <a:pt x="209" y="150"/>
                </a:cubicBezTo>
                <a:cubicBezTo>
                  <a:pt x="208" y="148"/>
                  <a:pt x="208" y="147"/>
                  <a:pt x="208" y="145"/>
                </a:cubicBezTo>
                <a:cubicBezTo>
                  <a:pt x="208" y="145"/>
                  <a:pt x="208" y="145"/>
                  <a:pt x="208" y="145"/>
                </a:cubicBezTo>
                <a:cubicBezTo>
                  <a:pt x="207" y="141"/>
                  <a:pt x="207" y="137"/>
                  <a:pt x="207" y="132"/>
                </a:cubicBezTo>
                <a:cubicBezTo>
                  <a:pt x="207" y="132"/>
                  <a:pt x="207" y="132"/>
                  <a:pt x="207" y="132"/>
                </a:cubicBezTo>
                <a:cubicBezTo>
                  <a:pt x="206" y="124"/>
                  <a:pt x="206" y="114"/>
                  <a:pt x="206" y="106"/>
                </a:cubicBezTo>
                <a:cubicBezTo>
                  <a:pt x="206" y="106"/>
                  <a:pt x="206" y="106"/>
                  <a:pt x="206" y="106"/>
                </a:cubicBezTo>
                <a:cubicBezTo>
                  <a:pt x="206" y="101"/>
                  <a:pt x="206" y="97"/>
                  <a:pt x="206" y="94"/>
                </a:cubicBezTo>
                <a:cubicBezTo>
                  <a:pt x="206" y="94"/>
                  <a:pt x="206" y="94"/>
                  <a:pt x="206" y="94"/>
                </a:cubicBezTo>
                <a:cubicBezTo>
                  <a:pt x="206" y="89"/>
                  <a:pt x="208" y="84"/>
                  <a:pt x="210" y="80"/>
                </a:cubicBezTo>
                <a:cubicBezTo>
                  <a:pt x="210" y="80"/>
                  <a:pt x="210" y="80"/>
                  <a:pt x="210" y="80"/>
                </a:cubicBezTo>
                <a:cubicBezTo>
                  <a:pt x="213" y="76"/>
                  <a:pt x="216" y="74"/>
                  <a:pt x="220" y="72"/>
                </a:cubicBezTo>
                <a:cubicBezTo>
                  <a:pt x="220" y="72"/>
                  <a:pt x="220" y="72"/>
                  <a:pt x="220" y="72"/>
                </a:cubicBezTo>
                <a:cubicBezTo>
                  <a:pt x="222" y="71"/>
                  <a:pt x="223" y="70"/>
                  <a:pt x="225" y="70"/>
                </a:cubicBezTo>
                <a:cubicBezTo>
                  <a:pt x="225" y="70"/>
                  <a:pt x="225" y="70"/>
                  <a:pt x="225" y="70"/>
                </a:cubicBezTo>
                <a:cubicBezTo>
                  <a:pt x="225" y="57"/>
                  <a:pt x="225" y="38"/>
                  <a:pt x="225" y="32"/>
                </a:cubicBezTo>
                <a:cubicBezTo>
                  <a:pt x="225" y="32"/>
                  <a:pt x="225" y="32"/>
                  <a:pt x="225" y="32"/>
                </a:cubicBezTo>
                <a:cubicBezTo>
                  <a:pt x="225" y="23"/>
                  <a:pt x="229" y="14"/>
                  <a:pt x="235" y="8"/>
                </a:cubicBezTo>
                <a:cubicBezTo>
                  <a:pt x="235" y="8"/>
                  <a:pt x="235" y="8"/>
                  <a:pt x="235" y="8"/>
                </a:cubicBezTo>
                <a:cubicBezTo>
                  <a:pt x="242" y="2"/>
                  <a:pt x="249" y="0"/>
                  <a:pt x="257" y="0"/>
                </a:cubicBezTo>
                <a:cubicBezTo>
                  <a:pt x="257" y="0"/>
                  <a:pt x="257" y="0"/>
                  <a:pt x="257" y="0"/>
                </a:cubicBezTo>
                <a:cubicBezTo>
                  <a:pt x="265" y="0"/>
                  <a:pt x="273" y="3"/>
                  <a:pt x="278" y="9"/>
                </a:cubicBezTo>
                <a:cubicBezTo>
                  <a:pt x="278" y="9"/>
                  <a:pt x="278" y="9"/>
                  <a:pt x="278" y="9"/>
                </a:cubicBezTo>
                <a:cubicBezTo>
                  <a:pt x="284" y="15"/>
                  <a:pt x="287" y="23"/>
                  <a:pt x="287" y="32"/>
                </a:cubicBezTo>
                <a:cubicBezTo>
                  <a:pt x="287" y="32"/>
                  <a:pt x="287" y="32"/>
                  <a:pt x="287" y="32"/>
                </a:cubicBezTo>
                <a:cubicBezTo>
                  <a:pt x="287" y="38"/>
                  <a:pt x="287" y="55"/>
                  <a:pt x="287" y="68"/>
                </a:cubicBezTo>
                <a:cubicBezTo>
                  <a:pt x="287" y="68"/>
                  <a:pt x="287" y="68"/>
                  <a:pt x="287" y="68"/>
                </a:cubicBezTo>
                <a:cubicBezTo>
                  <a:pt x="295" y="68"/>
                  <a:pt x="295" y="68"/>
                  <a:pt x="295" y="68"/>
                </a:cubicBezTo>
                <a:cubicBezTo>
                  <a:pt x="295" y="55"/>
                  <a:pt x="295" y="38"/>
                  <a:pt x="295" y="32"/>
                </a:cubicBezTo>
                <a:cubicBezTo>
                  <a:pt x="295" y="32"/>
                  <a:pt x="295" y="32"/>
                  <a:pt x="295" y="32"/>
                </a:cubicBezTo>
                <a:cubicBezTo>
                  <a:pt x="295" y="23"/>
                  <a:pt x="298" y="15"/>
                  <a:pt x="304" y="9"/>
                </a:cubicBezTo>
                <a:cubicBezTo>
                  <a:pt x="304" y="9"/>
                  <a:pt x="304" y="9"/>
                  <a:pt x="304" y="9"/>
                </a:cubicBezTo>
                <a:cubicBezTo>
                  <a:pt x="309" y="3"/>
                  <a:pt x="318" y="0"/>
                  <a:pt x="326" y="0"/>
                </a:cubicBezTo>
                <a:cubicBezTo>
                  <a:pt x="326" y="0"/>
                  <a:pt x="326" y="0"/>
                  <a:pt x="326" y="0"/>
                </a:cubicBezTo>
                <a:cubicBezTo>
                  <a:pt x="334" y="0"/>
                  <a:pt x="342" y="4"/>
                  <a:pt x="348" y="10"/>
                </a:cubicBezTo>
                <a:cubicBezTo>
                  <a:pt x="348" y="10"/>
                  <a:pt x="348" y="10"/>
                  <a:pt x="348" y="10"/>
                </a:cubicBezTo>
                <a:cubicBezTo>
                  <a:pt x="353" y="15"/>
                  <a:pt x="356" y="24"/>
                  <a:pt x="356" y="32"/>
                </a:cubicBezTo>
                <a:cubicBezTo>
                  <a:pt x="356" y="32"/>
                  <a:pt x="356" y="32"/>
                  <a:pt x="356" y="32"/>
                </a:cubicBezTo>
                <a:cubicBezTo>
                  <a:pt x="356" y="37"/>
                  <a:pt x="356" y="57"/>
                  <a:pt x="356" y="70"/>
                </a:cubicBezTo>
                <a:cubicBezTo>
                  <a:pt x="356" y="70"/>
                  <a:pt x="356" y="70"/>
                  <a:pt x="356" y="70"/>
                </a:cubicBezTo>
                <a:cubicBezTo>
                  <a:pt x="361" y="71"/>
                  <a:pt x="367" y="74"/>
                  <a:pt x="371" y="80"/>
                </a:cubicBezTo>
                <a:cubicBezTo>
                  <a:pt x="371" y="80"/>
                  <a:pt x="371" y="80"/>
                  <a:pt x="371" y="80"/>
                </a:cubicBezTo>
                <a:cubicBezTo>
                  <a:pt x="374" y="84"/>
                  <a:pt x="375" y="89"/>
                  <a:pt x="375" y="95"/>
                </a:cubicBezTo>
                <a:cubicBezTo>
                  <a:pt x="375" y="95"/>
                  <a:pt x="375" y="95"/>
                  <a:pt x="375" y="95"/>
                </a:cubicBezTo>
                <a:cubicBezTo>
                  <a:pt x="375" y="98"/>
                  <a:pt x="375" y="104"/>
                  <a:pt x="375" y="111"/>
                </a:cubicBezTo>
                <a:cubicBezTo>
                  <a:pt x="375" y="111"/>
                  <a:pt x="375" y="111"/>
                  <a:pt x="375" y="111"/>
                </a:cubicBezTo>
                <a:cubicBezTo>
                  <a:pt x="375" y="118"/>
                  <a:pt x="375" y="127"/>
                  <a:pt x="374" y="135"/>
                </a:cubicBezTo>
                <a:cubicBezTo>
                  <a:pt x="374" y="135"/>
                  <a:pt x="374" y="135"/>
                  <a:pt x="374" y="135"/>
                </a:cubicBezTo>
                <a:cubicBezTo>
                  <a:pt x="373" y="144"/>
                  <a:pt x="372" y="152"/>
                  <a:pt x="368" y="160"/>
                </a:cubicBezTo>
                <a:cubicBezTo>
                  <a:pt x="368" y="160"/>
                  <a:pt x="368" y="160"/>
                  <a:pt x="368" y="160"/>
                </a:cubicBezTo>
                <a:cubicBezTo>
                  <a:pt x="364" y="166"/>
                  <a:pt x="360" y="171"/>
                  <a:pt x="355" y="174"/>
                </a:cubicBezTo>
                <a:cubicBezTo>
                  <a:pt x="355" y="174"/>
                  <a:pt x="355" y="174"/>
                  <a:pt x="355" y="174"/>
                </a:cubicBezTo>
                <a:cubicBezTo>
                  <a:pt x="350" y="178"/>
                  <a:pt x="345" y="182"/>
                  <a:pt x="340" y="184"/>
                </a:cubicBezTo>
                <a:cubicBezTo>
                  <a:pt x="340" y="184"/>
                  <a:pt x="340" y="184"/>
                  <a:pt x="340" y="184"/>
                </a:cubicBezTo>
                <a:cubicBezTo>
                  <a:pt x="359" y="203"/>
                  <a:pt x="376" y="224"/>
                  <a:pt x="388" y="246"/>
                </a:cubicBezTo>
                <a:cubicBezTo>
                  <a:pt x="388" y="246"/>
                  <a:pt x="388" y="246"/>
                  <a:pt x="388" y="246"/>
                </a:cubicBezTo>
                <a:cubicBezTo>
                  <a:pt x="404" y="273"/>
                  <a:pt x="413" y="302"/>
                  <a:pt x="413" y="330"/>
                </a:cubicBezTo>
                <a:cubicBezTo>
                  <a:pt x="413" y="330"/>
                  <a:pt x="413" y="330"/>
                  <a:pt x="413" y="330"/>
                </a:cubicBezTo>
                <a:cubicBezTo>
                  <a:pt x="413" y="351"/>
                  <a:pt x="409" y="373"/>
                  <a:pt x="398" y="394"/>
                </a:cubicBezTo>
                <a:cubicBezTo>
                  <a:pt x="398" y="394"/>
                  <a:pt x="398" y="394"/>
                  <a:pt x="398" y="394"/>
                </a:cubicBezTo>
                <a:cubicBezTo>
                  <a:pt x="387" y="415"/>
                  <a:pt x="369" y="435"/>
                  <a:pt x="344" y="447"/>
                </a:cubicBezTo>
                <a:cubicBezTo>
                  <a:pt x="344" y="447"/>
                  <a:pt x="344" y="447"/>
                  <a:pt x="344" y="447"/>
                </a:cubicBezTo>
                <a:cubicBezTo>
                  <a:pt x="328" y="454"/>
                  <a:pt x="308" y="459"/>
                  <a:pt x="285" y="459"/>
                </a:cubicBezTo>
                <a:cubicBezTo>
                  <a:pt x="285" y="459"/>
                  <a:pt x="285" y="459"/>
                  <a:pt x="285" y="459"/>
                </a:cubicBezTo>
                <a:cubicBezTo>
                  <a:pt x="285" y="459"/>
                  <a:pt x="285" y="459"/>
                  <a:pt x="285" y="459"/>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 name="Freeform 175"/>
          <p:cNvSpPr>
            <a:spLocks/>
          </p:cNvSpPr>
          <p:nvPr userDrawn="1"/>
        </p:nvSpPr>
        <p:spPr bwMode="auto">
          <a:xfrm>
            <a:off x="438758" y="1309615"/>
            <a:ext cx="302498" cy="386954"/>
          </a:xfrm>
          <a:custGeom>
            <a:avLst/>
            <a:gdLst/>
            <a:ahLst/>
            <a:cxnLst>
              <a:cxn ang="0">
                <a:pos x="113" y="28"/>
              </a:cxn>
              <a:cxn ang="0">
                <a:pos x="89" y="84"/>
              </a:cxn>
              <a:cxn ang="0">
                <a:pos x="101" y="134"/>
              </a:cxn>
              <a:cxn ang="0">
                <a:pos x="13" y="134"/>
              </a:cxn>
              <a:cxn ang="0">
                <a:pos x="0" y="147"/>
              </a:cxn>
              <a:cxn ang="0">
                <a:pos x="0" y="266"/>
              </a:cxn>
              <a:cxn ang="0">
                <a:pos x="8" y="278"/>
              </a:cxn>
              <a:cxn ang="0">
                <a:pos x="22" y="276"/>
              </a:cxn>
              <a:cxn ang="0">
                <a:pos x="66" y="268"/>
              </a:cxn>
              <a:cxn ang="0">
                <a:pos x="79" y="329"/>
              </a:cxn>
              <a:cxn ang="0">
                <a:pos x="18" y="337"/>
              </a:cxn>
              <a:cxn ang="0">
                <a:pos x="5" y="338"/>
              </a:cxn>
              <a:cxn ang="0">
                <a:pos x="0" y="349"/>
              </a:cxn>
              <a:cxn ang="0">
                <a:pos x="0" y="444"/>
              </a:cxn>
              <a:cxn ang="0">
                <a:pos x="13" y="457"/>
              </a:cxn>
              <a:cxn ang="0">
                <a:pos x="26" y="444"/>
              </a:cxn>
              <a:cxn ang="0">
                <a:pos x="26" y="367"/>
              </a:cxn>
              <a:cxn ang="0">
                <a:pos x="102" y="342"/>
              </a:cxn>
              <a:cxn ang="0">
                <a:pos x="82" y="247"/>
              </a:cxn>
              <a:cxn ang="0">
                <a:pos x="26" y="241"/>
              </a:cxn>
              <a:cxn ang="0">
                <a:pos x="26" y="161"/>
              </a:cxn>
              <a:cxn ang="0">
                <a:pos x="123" y="161"/>
              </a:cxn>
              <a:cxn ang="0">
                <a:pos x="134" y="154"/>
              </a:cxn>
              <a:cxn ang="0">
                <a:pos x="136" y="147"/>
              </a:cxn>
              <a:cxn ang="0">
                <a:pos x="134" y="141"/>
              </a:cxn>
              <a:cxn ang="0">
                <a:pos x="116" y="83"/>
              </a:cxn>
              <a:cxn ang="0">
                <a:pos x="131" y="47"/>
              </a:cxn>
              <a:cxn ang="0">
                <a:pos x="200" y="44"/>
              </a:cxn>
              <a:cxn ang="0">
                <a:pos x="213" y="142"/>
              </a:cxn>
              <a:cxn ang="0">
                <a:pos x="214" y="155"/>
              </a:cxn>
              <a:cxn ang="0">
                <a:pos x="225" y="161"/>
              </a:cxn>
              <a:cxn ang="0">
                <a:pos x="332" y="161"/>
              </a:cxn>
              <a:cxn ang="0">
                <a:pos x="332" y="226"/>
              </a:cxn>
              <a:cxn ang="0">
                <a:pos x="253" y="245"/>
              </a:cxn>
              <a:cxn ang="0">
                <a:pos x="252" y="330"/>
              </a:cxn>
              <a:cxn ang="0">
                <a:pos x="332" y="356"/>
              </a:cxn>
              <a:cxn ang="0">
                <a:pos x="332" y="431"/>
              </a:cxn>
              <a:cxn ang="0">
                <a:pos x="122" y="431"/>
              </a:cxn>
              <a:cxn ang="0">
                <a:pos x="109" y="444"/>
              </a:cxn>
              <a:cxn ang="0">
                <a:pos x="122" y="457"/>
              </a:cxn>
              <a:cxn ang="0">
                <a:pos x="346" y="457"/>
              </a:cxn>
              <a:cxn ang="0">
                <a:pos x="359" y="444"/>
              </a:cxn>
              <a:cxn ang="0">
                <a:pos x="359" y="338"/>
              </a:cxn>
              <a:cxn ang="0">
                <a:pos x="353" y="327"/>
              </a:cxn>
              <a:cxn ang="0">
                <a:pos x="341" y="326"/>
              </a:cxn>
              <a:cxn ang="0">
                <a:pos x="274" y="314"/>
              </a:cxn>
              <a:cxn ang="0">
                <a:pos x="274" y="262"/>
              </a:cxn>
              <a:cxn ang="0">
                <a:pos x="340" y="258"/>
              </a:cxn>
              <a:cxn ang="0">
                <a:pos x="353" y="257"/>
              </a:cxn>
              <a:cxn ang="0">
                <a:pos x="359" y="245"/>
              </a:cxn>
              <a:cxn ang="0">
                <a:pos x="359" y="147"/>
              </a:cxn>
              <a:cxn ang="0">
                <a:pos x="346" y="134"/>
              </a:cxn>
              <a:cxn ang="0">
                <a:pos x="244" y="134"/>
              </a:cxn>
              <a:cxn ang="0">
                <a:pos x="250" y="93"/>
              </a:cxn>
              <a:cxn ang="0">
                <a:pos x="248" y="72"/>
              </a:cxn>
              <a:cxn ang="0">
                <a:pos x="215" y="22"/>
              </a:cxn>
              <a:cxn ang="0">
                <a:pos x="113" y="28"/>
              </a:cxn>
            </a:cxnLst>
            <a:rect l="0" t="0" r="r" b="b"/>
            <a:pathLst>
              <a:path w="359" h="457">
                <a:moveTo>
                  <a:pt x="113" y="28"/>
                </a:moveTo>
                <a:cubicBezTo>
                  <a:pt x="104" y="36"/>
                  <a:pt x="89" y="54"/>
                  <a:pt x="89" y="84"/>
                </a:cubicBezTo>
                <a:cubicBezTo>
                  <a:pt x="89" y="98"/>
                  <a:pt x="93" y="114"/>
                  <a:pt x="101" y="134"/>
                </a:cubicBezTo>
                <a:cubicBezTo>
                  <a:pt x="73" y="134"/>
                  <a:pt x="13" y="134"/>
                  <a:pt x="13" y="134"/>
                </a:cubicBezTo>
                <a:cubicBezTo>
                  <a:pt x="6" y="134"/>
                  <a:pt x="0" y="140"/>
                  <a:pt x="0" y="147"/>
                </a:cubicBezTo>
                <a:cubicBezTo>
                  <a:pt x="0" y="266"/>
                  <a:pt x="0" y="266"/>
                  <a:pt x="0" y="266"/>
                </a:cubicBezTo>
                <a:cubicBezTo>
                  <a:pt x="0" y="272"/>
                  <a:pt x="3" y="276"/>
                  <a:pt x="8" y="278"/>
                </a:cubicBezTo>
                <a:cubicBezTo>
                  <a:pt x="13" y="281"/>
                  <a:pt x="18" y="280"/>
                  <a:pt x="22" y="276"/>
                </a:cubicBezTo>
                <a:cubicBezTo>
                  <a:pt x="39" y="261"/>
                  <a:pt x="53" y="259"/>
                  <a:pt x="66" y="268"/>
                </a:cubicBezTo>
                <a:cubicBezTo>
                  <a:pt x="82" y="281"/>
                  <a:pt x="89" y="311"/>
                  <a:pt x="79" y="329"/>
                </a:cubicBezTo>
                <a:cubicBezTo>
                  <a:pt x="67" y="350"/>
                  <a:pt x="35" y="343"/>
                  <a:pt x="18" y="337"/>
                </a:cubicBezTo>
                <a:cubicBezTo>
                  <a:pt x="13" y="335"/>
                  <a:pt x="9" y="336"/>
                  <a:pt x="5" y="338"/>
                </a:cubicBezTo>
                <a:cubicBezTo>
                  <a:pt x="2" y="341"/>
                  <a:pt x="0" y="345"/>
                  <a:pt x="0" y="349"/>
                </a:cubicBezTo>
                <a:cubicBezTo>
                  <a:pt x="0" y="444"/>
                  <a:pt x="0" y="444"/>
                  <a:pt x="0" y="444"/>
                </a:cubicBezTo>
                <a:cubicBezTo>
                  <a:pt x="0" y="451"/>
                  <a:pt x="6" y="457"/>
                  <a:pt x="13" y="457"/>
                </a:cubicBezTo>
                <a:cubicBezTo>
                  <a:pt x="20" y="457"/>
                  <a:pt x="26" y="451"/>
                  <a:pt x="26" y="444"/>
                </a:cubicBezTo>
                <a:cubicBezTo>
                  <a:pt x="26" y="444"/>
                  <a:pt x="26" y="390"/>
                  <a:pt x="26" y="367"/>
                </a:cubicBezTo>
                <a:cubicBezTo>
                  <a:pt x="76" y="378"/>
                  <a:pt x="96" y="354"/>
                  <a:pt x="102" y="342"/>
                </a:cubicBezTo>
                <a:cubicBezTo>
                  <a:pt x="118" y="313"/>
                  <a:pt x="109" y="269"/>
                  <a:pt x="82" y="247"/>
                </a:cubicBezTo>
                <a:cubicBezTo>
                  <a:pt x="66" y="234"/>
                  <a:pt x="46" y="233"/>
                  <a:pt x="26" y="241"/>
                </a:cubicBezTo>
                <a:cubicBezTo>
                  <a:pt x="26" y="215"/>
                  <a:pt x="26" y="177"/>
                  <a:pt x="26" y="161"/>
                </a:cubicBezTo>
                <a:cubicBezTo>
                  <a:pt x="47" y="161"/>
                  <a:pt x="123" y="161"/>
                  <a:pt x="123" y="161"/>
                </a:cubicBezTo>
                <a:cubicBezTo>
                  <a:pt x="127" y="161"/>
                  <a:pt x="132" y="158"/>
                  <a:pt x="134" y="154"/>
                </a:cubicBezTo>
                <a:cubicBezTo>
                  <a:pt x="135" y="152"/>
                  <a:pt x="136" y="150"/>
                  <a:pt x="136" y="147"/>
                </a:cubicBezTo>
                <a:cubicBezTo>
                  <a:pt x="136" y="145"/>
                  <a:pt x="135" y="143"/>
                  <a:pt x="134" y="141"/>
                </a:cubicBezTo>
                <a:cubicBezTo>
                  <a:pt x="122" y="119"/>
                  <a:pt x="116" y="100"/>
                  <a:pt x="116" y="83"/>
                </a:cubicBezTo>
                <a:cubicBezTo>
                  <a:pt x="116" y="69"/>
                  <a:pt x="121" y="56"/>
                  <a:pt x="131" y="47"/>
                </a:cubicBezTo>
                <a:cubicBezTo>
                  <a:pt x="149" y="31"/>
                  <a:pt x="179" y="29"/>
                  <a:pt x="200" y="44"/>
                </a:cubicBezTo>
                <a:cubicBezTo>
                  <a:pt x="226" y="61"/>
                  <a:pt x="230" y="97"/>
                  <a:pt x="213" y="142"/>
                </a:cubicBezTo>
                <a:cubicBezTo>
                  <a:pt x="211" y="146"/>
                  <a:pt x="212" y="151"/>
                  <a:pt x="214" y="155"/>
                </a:cubicBezTo>
                <a:cubicBezTo>
                  <a:pt x="216" y="158"/>
                  <a:pt x="221" y="161"/>
                  <a:pt x="225" y="161"/>
                </a:cubicBezTo>
                <a:cubicBezTo>
                  <a:pt x="225" y="161"/>
                  <a:pt x="311" y="161"/>
                  <a:pt x="332" y="161"/>
                </a:cubicBezTo>
                <a:cubicBezTo>
                  <a:pt x="332" y="176"/>
                  <a:pt x="332" y="206"/>
                  <a:pt x="332" y="226"/>
                </a:cubicBezTo>
                <a:cubicBezTo>
                  <a:pt x="286" y="213"/>
                  <a:pt x="262" y="234"/>
                  <a:pt x="253" y="245"/>
                </a:cubicBezTo>
                <a:cubicBezTo>
                  <a:pt x="234" y="268"/>
                  <a:pt x="234" y="305"/>
                  <a:pt x="252" y="330"/>
                </a:cubicBezTo>
                <a:cubicBezTo>
                  <a:pt x="269" y="354"/>
                  <a:pt x="298" y="363"/>
                  <a:pt x="332" y="356"/>
                </a:cubicBezTo>
                <a:cubicBezTo>
                  <a:pt x="332" y="377"/>
                  <a:pt x="332" y="414"/>
                  <a:pt x="332" y="431"/>
                </a:cubicBezTo>
                <a:cubicBezTo>
                  <a:pt x="309" y="431"/>
                  <a:pt x="122" y="431"/>
                  <a:pt x="122" y="431"/>
                </a:cubicBezTo>
                <a:cubicBezTo>
                  <a:pt x="115" y="431"/>
                  <a:pt x="109" y="437"/>
                  <a:pt x="109" y="444"/>
                </a:cubicBezTo>
                <a:cubicBezTo>
                  <a:pt x="109" y="451"/>
                  <a:pt x="115" y="457"/>
                  <a:pt x="122" y="457"/>
                </a:cubicBezTo>
                <a:cubicBezTo>
                  <a:pt x="346" y="457"/>
                  <a:pt x="346" y="457"/>
                  <a:pt x="346" y="457"/>
                </a:cubicBezTo>
                <a:cubicBezTo>
                  <a:pt x="353" y="457"/>
                  <a:pt x="359" y="451"/>
                  <a:pt x="359" y="444"/>
                </a:cubicBezTo>
                <a:cubicBezTo>
                  <a:pt x="359" y="338"/>
                  <a:pt x="359" y="338"/>
                  <a:pt x="359" y="338"/>
                </a:cubicBezTo>
                <a:cubicBezTo>
                  <a:pt x="359" y="334"/>
                  <a:pt x="357" y="330"/>
                  <a:pt x="353" y="327"/>
                </a:cubicBezTo>
                <a:cubicBezTo>
                  <a:pt x="350" y="325"/>
                  <a:pt x="345" y="324"/>
                  <a:pt x="341" y="326"/>
                </a:cubicBezTo>
                <a:cubicBezTo>
                  <a:pt x="311" y="337"/>
                  <a:pt x="286" y="333"/>
                  <a:pt x="274" y="314"/>
                </a:cubicBezTo>
                <a:cubicBezTo>
                  <a:pt x="262" y="299"/>
                  <a:pt x="263" y="276"/>
                  <a:pt x="274" y="262"/>
                </a:cubicBezTo>
                <a:cubicBezTo>
                  <a:pt x="286" y="246"/>
                  <a:pt x="311" y="245"/>
                  <a:pt x="340" y="258"/>
                </a:cubicBezTo>
                <a:cubicBezTo>
                  <a:pt x="344" y="259"/>
                  <a:pt x="349" y="259"/>
                  <a:pt x="353" y="257"/>
                </a:cubicBezTo>
                <a:cubicBezTo>
                  <a:pt x="357" y="254"/>
                  <a:pt x="359" y="250"/>
                  <a:pt x="359" y="245"/>
                </a:cubicBezTo>
                <a:cubicBezTo>
                  <a:pt x="359" y="147"/>
                  <a:pt x="359" y="147"/>
                  <a:pt x="359" y="147"/>
                </a:cubicBezTo>
                <a:cubicBezTo>
                  <a:pt x="359" y="140"/>
                  <a:pt x="353" y="134"/>
                  <a:pt x="346" y="134"/>
                </a:cubicBezTo>
                <a:cubicBezTo>
                  <a:pt x="346" y="134"/>
                  <a:pt x="270" y="134"/>
                  <a:pt x="244" y="134"/>
                </a:cubicBezTo>
                <a:cubicBezTo>
                  <a:pt x="248" y="119"/>
                  <a:pt x="250" y="106"/>
                  <a:pt x="250" y="93"/>
                </a:cubicBezTo>
                <a:cubicBezTo>
                  <a:pt x="250" y="86"/>
                  <a:pt x="249" y="79"/>
                  <a:pt x="248" y="72"/>
                </a:cubicBezTo>
                <a:cubicBezTo>
                  <a:pt x="243" y="51"/>
                  <a:pt x="232" y="34"/>
                  <a:pt x="215" y="22"/>
                </a:cubicBezTo>
                <a:cubicBezTo>
                  <a:pt x="184" y="0"/>
                  <a:pt x="140" y="3"/>
                  <a:pt x="113" y="2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 name="Freeform 191"/>
          <p:cNvSpPr>
            <a:spLocks/>
          </p:cNvSpPr>
          <p:nvPr userDrawn="1"/>
        </p:nvSpPr>
        <p:spPr bwMode="auto">
          <a:xfrm>
            <a:off x="429231" y="1787887"/>
            <a:ext cx="321552" cy="386953"/>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 name="Freeform 195"/>
          <p:cNvSpPr>
            <a:spLocks/>
          </p:cNvSpPr>
          <p:nvPr userDrawn="1"/>
        </p:nvSpPr>
        <p:spPr bwMode="auto">
          <a:xfrm>
            <a:off x="403030" y="2247981"/>
            <a:ext cx="373954" cy="376238"/>
          </a:xfrm>
          <a:custGeom>
            <a:avLst/>
            <a:gdLst/>
            <a:ahLst/>
            <a:cxnLst>
              <a:cxn ang="0">
                <a:pos x="5" y="5"/>
              </a:cxn>
              <a:cxn ang="0">
                <a:pos x="5" y="24"/>
              </a:cxn>
              <a:cxn ang="0">
                <a:pos x="212" y="231"/>
              </a:cxn>
              <a:cxn ang="0">
                <a:pos x="221" y="235"/>
              </a:cxn>
              <a:cxn ang="0">
                <a:pos x="231" y="231"/>
              </a:cxn>
              <a:cxn ang="0">
                <a:pos x="255" y="207"/>
              </a:cxn>
              <a:cxn ang="0">
                <a:pos x="263" y="215"/>
              </a:cxn>
              <a:cxn ang="0">
                <a:pos x="263" y="234"/>
              </a:cxn>
              <a:cxn ang="0">
                <a:pos x="270" y="246"/>
              </a:cxn>
              <a:cxn ang="0">
                <a:pos x="318" y="270"/>
              </a:cxn>
              <a:cxn ang="0">
                <a:pos x="409" y="361"/>
              </a:cxn>
              <a:cxn ang="0">
                <a:pos x="415" y="376"/>
              </a:cxn>
              <a:cxn ang="0">
                <a:pos x="409" y="391"/>
              </a:cxn>
              <a:cxn ang="0">
                <a:pos x="391" y="408"/>
              </a:cxn>
              <a:cxn ang="0">
                <a:pos x="361" y="408"/>
              </a:cxn>
              <a:cxn ang="0">
                <a:pos x="270" y="317"/>
              </a:cxn>
              <a:cxn ang="0">
                <a:pos x="246" y="270"/>
              </a:cxn>
              <a:cxn ang="0">
                <a:pos x="234" y="263"/>
              </a:cxn>
              <a:cxn ang="0">
                <a:pos x="209" y="263"/>
              </a:cxn>
              <a:cxn ang="0">
                <a:pos x="196" y="276"/>
              </a:cxn>
              <a:cxn ang="0">
                <a:pos x="209" y="289"/>
              </a:cxn>
              <a:cxn ang="0">
                <a:pos x="226" y="289"/>
              </a:cxn>
              <a:cxn ang="0">
                <a:pos x="247" y="331"/>
              </a:cxn>
              <a:cxn ang="0">
                <a:pos x="250" y="335"/>
              </a:cxn>
              <a:cxn ang="0">
                <a:pos x="342" y="427"/>
              </a:cxn>
              <a:cxn ang="0">
                <a:pos x="410" y="427"/>
              </a:cxn>
              <a:cxn ang="0">
                <a:pos x="428" y="410"/>
              </a:cxn>
              <a:cxn ang="0">
                <a:pos x="442" y="376"/>
              </a:cxn>
              <a:cxn ang="0">
                <a:pos x="428" y="342"/>
              </a:cxn>
              <a:cxn ang="0">
                <a:pos x="335" y="249"/>
              </a:cxn>
              <a:cxn ang="0">
                <a:pos x="332" y="247"/>
              </a:cxn>
              <a:cxn ang="0">
                <a:pos x="290" y="226"/>
              </a:cxn>
              <a:cxn ang="0">
                <a:pos x="290" y="209"/>
              </a:cxn>
              <a:cxn ang="0">
                <a:pos x="286" y="200"/>
              </a:cxn>
              <a:cxn ang="0">
                <a:pos x="265" y="179"/>
              </a:cxn>
              <a:cxn ang="0">
                <a:pos x="255" y="175"/>
              </a:cxn>
              <a:cxn ang="0">
                <a:pos x="246" y="179"/>
              </a:cxn>
              <a:cxn ang="0">
                <a:pos x="221" y="203"/>
              </a:cxn>
              <a:cxn ang="0">
                <a:pos x="24" y="5"/>
              </a:cxn>
              <a:cxn ang="0">
                <a:pos x="5" y="5"/>
              </a:cxn>
            </a:cxnLst>
            <a:rect l="0" t="0" r="r" b="b"/>
            <a:pathLst>
              <a:path w="442" h="446">
                <a:moveTo>
                  <a:pt x="5" y="5"/>
                </a:moveTo>
                <a:cubicBezTo>
                  <a:pt x="0" y="11"/>
                  <a:pt x="0" y="19"/>
                  <a:pt x="5" y="24"/>
                </a:cubicBezTo>
                <a:cubicBezTo>
                  <a:pt x="212" y="231"/>
                  <a:pt x="212" y="231"/>
                  <a:pt x="212" y="231"/>
                </a:cubicBezTo>
                <a:cubicBezTo>
                  <a:pt x="215" y="234"/>
                  <a:pt x="218" y="235"/>
                  <a:pt x="221" y="235"/>
                </a:cubicBezTo>
                <a:cubicBezTo>
                  <a:pt x="225" y="235"/>
                  <a:pt x="228" y="234"/>
                  <a:pt x="231" y="231"/>
                </a:cubicBezTo>
                <a:cubicBezTo>
                  <a:pt x="231" y="231"/>
                  <a:pt x="246" y="217"/>
                  <a:pt x="255" y="207"/>
                </a:cubicBezTo>
                <a:cubicBezTo>
                  <a:pt x="259" y="211"/>
                  <a:pt x="261" y="212"/>
                  <a:pt x="263" y="215"/>
                </a:cubicBezTo>
                <a:cubicBezTo>
                  <a:pt x="263" y="221"/>
                  <a:pt x="263" y="234"/>
                  <a:pt x="263" y="234"/>
                </a:cubicBezTo>
                <a:cubicBezTo>
                  <a:pt x="263" y="239"/>
                  <a:pt x="266" y="244"/>
                  <a:pt x="270" y="246"/>
                </a:cubicBezTo>
                <a:cubicBezTo>
                  <a:pt x="270" y="246"/>
                  <a:pt x="314" y="268"/>
                  <a:pt x="318" y="270"/>
                </a:cubicBezTo>
                <a:cubicBezTo>
                  <a:pt x="321" y="273"/>
                  <a:pt x="409" y="361"/>
                  <a:pt x="409" y="361"/>
                </a:cubicBezTo>
                <a:cubicBezTo>
                  <a:pt x="413" y="365"/>
                  <a:pt x="415" y="370"/>
                  <a:pt x="415" y="376"/>
                </a:cubicBezTo>
                <a:cubicBezTo>
                  <a:pt x="415" y="381"/>
                  <a:pt x="413" y="387"/>
                  <a:pt x="409" y="391"/>
                </a:cubicBezTo>
                <a:cubicBezTo>
                  <a:pt x="391" y="408"/>
                  <a:pt x="391" y="408"/>
                  <a:pt x="391" y="408"/>
                </a:cubicBezTo>
                <a:cubicBezTo>
                  <a:pt x="383" y="417"/>
                  <a:pt x="369" y="417"/>
                  <a:pt x="361" y="408"/>
                </a:cubicBezTo>
                <a:cubicBezTo>
                  <a:pt x="361" y="408"/>
                  <a:pt x="273" y="320"/>
                  <a:pt x="270" y="317"/>
                </a:cubicBezTo>
                <a:cubicBezTo>
                  <a:pt x="268" y="314"/>
                  <a:pt x="246" y="270"/>
                  <a:pt x="246" y="270"/>
                </a:cubicBezTo>
                <a:cubicBezTo>
                  <a:pt x="244" y="266"/>
                  <a:pt x="239" y="263"/>
                  <a:pt x="234" y="263"/>
                </a:cubicBezTo>
                <a:cubicBezTo>
                  <a:pt x="209" y="263"/>
                  <a:pt x="209" y="263"/>
                  <a:pt x="209" y="263"/>
                </a:cubicBezTo>
                <a:cubicBezTo>
                  <a:pt x="202" y="263"/>
                  <a:pt x="196" y="269"/>
                  <a:pt x="196" y="276"/>
                </a:cubicBezTo>
                <a:cubicBezTo>
                  <a:pt x="196" y="283"/>
                  <a:pt x="202" y="289"/>
                  <a:pt x="209" y="289"/>
                </a:cubicBezTo>
                <a:cubicBezTo>
                  <a:pt x="209" y="289"/>
                  <a:pt x="219" y="289"/>
                  <a:pt x="226" y="289"/>
                </a:cubicBezTo>
                <a:cubicBezTo>
                  <a:pt x="231" y="300"/>
                  <a:pt x="247" y="331"/>
                  <a:pt x="247" y="331"/>
                </a:cubicBezTo>
                <a:cubicBezTo>
                  <a:pt x="248" y="332"/>
                  <a:pt x="249" y="334"/>
                  <a:pt x="250" y="335"/>
                </a:cubicBezTo>
                <a:cubicBezTo>
                  <a:pt x="342" y="427"/>
                  <a:pt x="342" y="427"/>
                  <a:pt x="342" y="427"/>
                </a:cubicBezTo>
                <a:cubicBezTo>
                  <a:pt x="361" y="446"/>
                  <a:pt x="391" y="446"/>
                  <a:pt x="410" y="427"/>
                </a:cubicBezTo>
                <a:cubicBezTo>
                  <a:pt x="428" y="410"/>
                  <a:pt x="428" y="410"/>
                  <a:pt x="428" y="410"/>
                </a:cubicBezTo>
                <a:cubicBezTo>
                  <a:pt x="437" y="400"/>
                  <a:pt x="442" y="388"/>
                  <a:pt x="442" y="376"/>
                </a:cubicBezTo>
                <a:cubicBezTo>
                  <a:pt x="442" y="363"/>
                  <a:pt x="437" y="351"/>
                  <a:pt x="428" y="342"/>
                </a:cubicBezTo>
                <a:cubicBezTo>
                  <a:pt x="335" y="249"/>
                  <a:pt x="335" y="249"/>
                  <a:pt x="335" y="249"/>
                </a:cubicBezTo>
                <a:cubicBezTo>
                  <a:pt x="334" y="248"/>
                  <a:pt x="333" y="247"/>
                  <a:pt x="332" y="247"/>
                </a:cubicBezTo>
                <a:cubicBezTo>
                  <a:pt x="332" y="247"/>
                  <a:pt x="300" y="231"/>
                  <a:pt x="290" y="226"/>
                </a:cubicBezTo>
                <a:cubicBezTo>
                  <a:pt x="290" y="218"/>
                  <a:pt x="290" y="209"/>
                  <a:pt x="290" y="209"/>
                </a:cubicBezTo>
                <a:cubicBezTo>
                  <a:pt x="290" y="205"/>
                  <a:pt x="288" y="202"/>
                  <a:pt x="286" y="200"/>
                </a:cubicBezTo>
                <a:cubicBezTo>
                  <a:pt x="265" y="179"/>
                  <a:pt x="265" y="179"/>
                  <a:pt x="265" y="179"/>
                </a:cubicBezTo>
                <a:cubicBezTo>
                  <a:pt x="262" y="176"/>
                  <a:pt x="259" y="175"/>
                  <a:pt x="255" y="175"/>
                </a:cubicBezTo>
                <a:cubicBezTo>
                  <a:pt x="252" y="175"/>
                  <a:pt x="248" y="176"/>
                  <a:pt x="246" y="179"/>
                </a:cubicBezTo>
                <a:cubicBezTo>
                  <a:pt x="246" y="179"/>
                  <a:pt x="231" y="193"/>
                  <a:pt x="221" y="203"/>
                </a:cubicBezTo>
                <a:cubicBezTo>
                  <a:pt x="204" y="186"/>
                  <a:pt x="24" y="5"/>
                  <a:pt x="24" y="5"/>
                </a:cubicBezTo>
                <a:cubicBezTo>
                  <a:pt x="19" y="0"/>
                  <a:pt x="10" y="0"/>
                  <a:pt x="5" y="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 name="Freeform 199"/>
          <p:cNvSpPr>
            <a:spLocks/>
          </p:cNvSpPr>
          <p:nvPr userDrawn="1"/>
        </p:nvSpPr>
        <p:spPr bwMode="auto">
          <a:xfrm>
            <a:off x="417321" y="2758424"/>
            <a:ext cx="345371" cy="388144"/>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 name="Freeform 207"/>
          <p:cNvSpPr>
            <a:spLocks/>
          </p:cNvSpPr>
          <p:nvPr userDrawn="1"/>
        </p:nvSpPr>
        <p:spPr bwMode="auto">
          <a:xfrm>
            <a:off x="413748" y="3314914"/>
            <a:ext cx="352517" cy="361950"/>
          </a:xfrm>
          <a:custGeom>
            <a:avLst/>
            <a:gdLst/>
            <a:ahLst/>
            <a:cxnLst>
              <a:cxn ang="0">
                <a:pos x="199" y="31"/>
              </a:cxn>
              <a:cxn ang="0">
                <a:pos x="197" y="40"/>
              </a:cxn>
              <a:cxn ang="0">
                <a:pos x="194" y="53"/>
              </a:cxn>
              <a:cxn ang="0">
                <a:pos x="183" y="63"/>
              </a:cxn>
              <a:cxn ang="0">
                <a:pos x="117" y="123"/>
              </a:cxn>
              <a:cxn ang="0">
                <a:pos x="99" y="197"/>
              </a:cxn>
              <a:cxn ang="0">
                <a:pos x="91" y="286"/>
              </a:cxn>
              <a:cxn ang="0">
                <a:pos x="53" y="351"/>
              </a:cxn>
              <a:cxn ang="0">
                <a:pos x="31" y="363"/>
              </a:cxn>
              <a:cxn ang="0">
                <a:pos x="31" y="376"/>
              </a:cxn>
              <a:cxn ang="0">
                <a:pos x="117" y="376"/>
              </a:cxn>
              <a:cxn ang="0">
                <a:pos x="154" y="376"/>
              </a:cxn>
              <a:cxn ang="0">
                <a:pos x="157" y="377"/>
              </a:cxn>
              <a:cxn ang="0">
                <a:pos x="163" y="380"/>
              </a:cxn>
              <a:cxn ang="0">
                <a:pos x="202" y="397"/>
              </a:cxn>
              <a:cxn ang="0">
                <a:pos x="233" y="381"/>
              </a:cxn>
              <a:cxn ang="0">
                <a:pos x="233" y="381"/>
              </a:cxn>
              <a:cxn ang="0">
                <a:pos x="255" y="378"/>
              </a:cxn>
              <a:cxn ang="0">
                <a:pos x="258" y="399"/>
              </a:cxn>
              <a:cxn ang="0">
                <a:pos x="244" y="414"/>
              </a:cxn>
              <a:cxn ang="0">
                <a:pos x="202" y="428"/>
              </a:cxn>
              <a:cxn ang="0">
                <a:pos x="202" y="428"/>
              </a:cxn>
              <a:cxn ang="0">
                <a:pos x="148" y="407"/>
              </a:cxn>
              <a:cxn ang="0">
                <a:pos x="143" y="407"/>
              </a:cxn>
              <a:cxn ang="0">
                <a:pos x="117" y="407"/>
              </a:cxn>
              <a:cxn ang="0">
                <a:pos x="16" y="407"/>
              </a:cxn>
              <a:cxn ang="0">
                <a:pos x="5" y="403"/>
              </a:cxn>
              <a:cxn ang="0">
                <a:pos x="0" y="392"/>
              </a:cxn>
              <a:cxn ang="0">
                <a:pos x="0" y="352"/>
              </a:cxn>
              <a:cxn ang="0">
                <a:pos x="12" y="337"/>
              </a:cxn>
              <a:cxn ang="0">
                <a:pos x="12" y="337"/>
              </a:cxn>
              <a:cxn ang="0">
                <a:pos x="14" y="336"/>
              </a:cxn>
              <a:cxn ang="0">
                <a:pos x="19" y="335"/>
              </a:cxn>
              <a:cxn ang="0">
                <a:pos x="36" y="326"/>
              </a:cxn>
              <a:cxn ang="0">
                <a:pos x="60" y="284"/>
              </a:cxn>
              <a:cxn ang="0">
                <a:pos x="68" y="193"/>
              </a:cxn>
              <a:cxn ang="0">
                <a:pos x="90" y="108"/>
              </a:cxn>
              <a:cxn ang="0">
                <a:pos x="166" y="37"/>
              </a:cxn>
              <a:cxn ang="0">
                <a:pos x="167" y="35"/>
              </a:cxn>
              <a:cxn ang="0">
                <a:pos x="177" y="9"/>
              </a:cxn>
              <a:cxn ang="0">
                <a:pos x="202" y="0"/>
              </a:cxn>
              <a:cxn ang="0">
                <a:pos x="235" y="11"/>
              </a:cxn>
              <a:cxn ang="0">
                <a:pos x="247" y="39"/>
              </a:cxn>
              <a:cxn ang="0">
                <a:pos x="267" y="47"/>
              </a:cxn>
              <a:cxn ang="0">
                <a:pos x="324" y="110"/>
              </a:cxn>
              <a:cxn ang="0">
                <a:pos x="355" y="282"/>
              </a:cxn>
              <a:cxn ang="0">
                <a:pos x="376" y="322"/>
              </a:cxn>
              <a:cxn ang="0">
                <a:pos x="402" y="335"/>
              </a:cxn>
              <a:cxn ang="0">
                <a:pos x="404" y="335"/>
              </a:cxn>
              <a:cxn ang="0">
                <a:pos x="417" y="350"/>
              </a:cxn>
              <a:cxn ang="0">
                <a:pos x="412" y="402"/>
              </a:cxn>
              <a:cxn ang="0">
                <a:pos x="401" y="406"/>
              </a:cxn>
              <a:cxn ang="0">
                <a:pos x="301" y="406"/>
              </a:cxn>
              <a:cxn ang="0">
                <a:pos x="285" y="391"/>
              </a:cxn>
              <a:cxn ang="0">
                <a:pos x="301" y="376"/>
              </a:cxn>
              <a:cxn ang="0">
                <a:pos x="386" y="362"/>
              </a:cxn>
              <a:cxn ang="0">
                <a:pos x="364" y="352"/>
              </a:cxn>
              <a:cxn ang="0">
                <a:pos x="324" y="285"/>
              </a:cxn>
              <a:cxn ang="0">
                <a:pos x="296" y="123"/>
              </a:cxn>
              <a:cxn ang="0">
                <a:pos x="260" y="78"/>
              </a:cxn>
              <a:cxn ang="0">
                <a:pos x="231" y="66"/>
              </a:cxn>
              <a:cxn ang="0">
                <a:pos x="222" y="61"/>
              </a:cxn>
              <a:cxn ang="0">
                <a:pos x="216" y="49"/>
              </a:cxn>
            </a:cxnLst>
            <a:rect l="0" t="0" r="r" b="b"/>
            <a:pathLst>
              <a:path w="417" h="428">
                <a:moveTo>
                  <a:pt x="214" y="32"/>
                </a:moveTo>
                <a:cubicBezTo>
                  <a:pt x="214" y="32"/>
                  <a:pt x="208" y="30"/>
                  <a:pt x="199" y="31"/>
                </a:cubicBezTo>
                <a:cubicBezTo>
                  <a:pt x="199" y="31"/>
                  <a:pt x="199" y="31"/>
                  <a:pt x="199" y="31"/>
                </a:cubicBezTo>
                <a:cubicBezTo>
                  <a:pt x="198" y="32"/>
                  <a:pt x="197" y="35"/>
                  <a:pt x="197" y="40"/>
                </a:cubicBezTo>
                <a:cubicBezTo>
                  <a:pt x="197" y="40"/>
                  <a:pt x="197" y="40"/>
                  <a:pt x="197" y="40"/>
                </a:cubicBezTo>
                <a:cubicBezTo>
                  <a:pt x="196" y="44"/>
                  <a:pt x="196" y="47"/>
                  <a:pt x="194" y="53"/>
                </a:cubicBezTo>
                <a:cubicBezTo>
                  <a:pt x="194" y="53"/>
                  <a:pt x="194" y="53"/>
                  <a:pt x="194" y="53"/>
                </a:cubicBezTo>
                <a:cubicBezTo>
                  <a:pt x="192" y="56"/>
                  <a:pt x="189" y="61"/>
                  <a:pt x="183" y="63"/>
                </a:cubicBezTo>
                <a:cubicBezTo>
                  <a:pt x="183" y="63"/>
                  <a:pt x="183" y="63"/>
                  <a:pt x="183" y="63"/>
                </a:cubicBezTo>
                <a:cubicBezTo>
                  <a:pt x="150" y="77"/>
                  <a:pt x="137" y="86"/>
                  <a:pt x="117" y="123"/>
                </a:cubicBezTo>
                <a:cubicBezTo>
                  <a:pt x="117" y="123"/>
                  <a:pt x="117" y="123"/>
                  <a:pt x="117" y="123"/>
                </a:cubicBezTo>
                <a:cubicBezTo>
                  <a:pt x="109" y="139"/>
                  <a:pt x="102" y="167"/>
                  <a:pt x="99" y="197"/>
                </a:cubicBezTo>
                <a:cubicBezTo>
                  <a:pt x="99" y="197"/>
                  <a:pt x="99" y="197"/>
                  <a:pt x="99" y="197"/>
                </a:cubicBezTo>
                <a:cubicBezTo>
                  <a:pt x="95" y="227"/>
                  <a:pt x="93" y="259"/>
                  <a:pt x="91" y="286"/>
                </a:cubicBezTo>
                <a:cubicBezTo>
                  <a:pt x="91" y="286"/>
                  <a:pt x="91" y="286"/>
                  <a:pt x="91" y="286"/>
                </a:cubicBezTo>
                <a:cubicBezTo>
                  <a:pt x="89" y="319"/>
                  <a:pt x="70" y="340"/>
                  <a:pt x="53" y="351"/>
                </a:cubicBezTo>
                <a:cubicBezTo>
                  <a:pt x="53" y="351"/>
                  <a:pt x="53" y="351"/>
                  <a:pt x="53" y="351"/>
                </a:cubicBezTo>
                <a:cubicBezTo>
                  <a:pt x="45" y="357"/>
                  <a:pt x="37" y="361"/>
                  <a:pt x="31" y="363"/>
                </a:cubicBezTo>
                <a:cubicBezTo>
                  <a:pt x="31" y="363"/>
                  <a:pt x="31" y="363"/>
                  <a:pt x="31" y="363"/>
                </a:cubicBezTo>
                <a:cubicBezTo>
                  <a:pt x="31" y="376"/>
                  <a:pt x="31" y="376"/>
                  <a:pt x="31" y="376"/>
                </a:cubicBezTo>
                <a:cubicBezTo>
                  <a:pt x="52" y="376"/>
                  <a:pt x="89" y="376"/>
                  <a:pt x="117" y="376"/>
                </a:cubicBezTo>
                <a:cubicBezTo>
                  <a:pt x="117" y="376"/>
                  <a:pt x="117" y="376"/>
                  <a:pt x="117" y="376"/>
                </a:cubicBezTo>
                <a:cubicBezTo>
                  <a:pt x="137" y="376"/>
                  <a:pt x="150" y="376"/>
                  <a:pt x="154" y="376"/>
                </a:cubicBezTo>
                <a:cubicBezTo>
                  <a:pt x="154" y="376"/>
                  <a:pt x="154" y="376"/>
                  <a:pt x="154" y="376"/>
                </a:cubicBezTo>
                <a:cubicBezTo>
                  <a:pt x="155" y="376"/>
                  <a:pt x="154" y="376"/>
                  <a:pt x="157" y="377"/>
                </a:cubicBezTo>
                <a:cubicBezTo>
                  <a:pt x="157" y="377"/>
                  <a:pt x="157" y="377"/>
                  <a:pt x="157" y="377"/>
                </a:cubicBezTo>
                <a:cubicBezTo>
                  <a:pt x="158" y="377"/>
                  <a:pt x="159" y="377"/>
                  <a:pt x="163" y="380"/>
                </a:cubicBezTo>
                <a:cubicBezTo>
                  <a:pt x="163" y="380"/>
                  <a:pt x="163" y="380"/>
                  <a:pt x="163" y="380"/>
                </a:cubicBezTo>
                <a:cubicBezTo>
                  <a:pt x="180" y="394"/>
                  <a:pt x="193" y="397"/>
                  <a:pt x="202" y="397"/>
                </a:cubicBezTo>
                <a:cubicBezTo>
                  <a:pt x="202" y="397"/>
                  <a:pt x="202" y="397"/>
                  <a:pt x="202" y="397"/>
                </a:cubicBezTo>
                <a:cubicBezTo>
                  <a:pt x="220" y="397"/>
                  <a:pt x="232" y="383"/>
                  <a:pt x="233" y="381"/>
                </a:cubicBezTo>
                <a:cubicBezTo>
                  <a:pt x="233" y="381"/>
                  <a:pt x="233" y="381"/>
                  <a:pt x="233" y="381"/>
                </a:cubicBezTo>
                <a:cubicBezTo>
                  <a:pt x="233" y="381"/>
                  <a:pt x="233" y="381"/>
                  <a:pt x="233" y="381"/>
                </a:cubicBezTo>
                <a:cubicBezTo>
                  <a:pt x="233" y="381"/>
                  <a:pt x="233" y="381"/>
                  <a:pt x="233" y="381"/>
                </a:cubicBezTo>
                <a:cubicBezTo>
                  <a:pt x="233" y="381"/>
                  <a:pt x="233" y="381"/>
                  <a:pt x="233" y="381"/>
                </a:cubicBezTo>
                <a:cubicBezTo>
                  <a:pt x="238" y="374"/>
                  <a:pt x="248" y="373"/>
                  <a:pt x="255" y="378"/>
                </a:cubicBezTo>
                <a:cubicBezTo>
                  <a:pt x="255" y="378"/>
                  <a:pt x="255" y="378"/>
                  <a:pt x="255" y="378"/>
                </a:cubicBezTo>
                <a:cubicBezTo>
                  <a:pt x="262" y="383"/>
                  <a:pt x="263" y="392"/>
                  <a:pt x="258" y="399"/>
                </a:cubicBezTo>
                <a:cubicBezTo>
                  <a:pt x="258" y="399"/>
                  <a:pt x="258" y="399"/>
                  <a:pt x="258" y="399"/>
                </a:cubicBezTo>
                <a:cubicBezTo>
                  <a:pt x="258" y="400"/>
                  <a:pt x="253" y="407"/>
                  <a:pt x="244" y="414"/>
                </a:cubicBezTo>
                <a:cubicBezTo>
                  <a:pt x="244" y="414"/>
                  <a:pt x="244" y="414"/>
                  <a:pt x="244" y="414"/>
                </a:cubicBezTo>
                <a:cubicBezTo>
                  <a:pt x="234" y="421"/>
                  <a:pt x="220" y="428"/>
                  <a:pt x="202" y="428"/>
                </a:cubicBezTo>
                <a:cubicBezTo>
                  <a:pt x="202" y="428"/>
                  <a:pt x="202" y="428"/>
                  <a:pt x="202" y="428"/>
                </a:cubicBezTo>
                <a:cubicBezTo>
                  <a:pt x="202" y="428"/>
                  <a:pt x="202" y="428"/>
                  <a:pt x="202" y="428"/>
                </a:cubicBezTo>
                <a:cubicBezTo>
                  <a:pt x="202" y="428"/>
                  <a:pt x="202" y="428"/>
                  <a:pt x="202" y="428"/>
                </a:cubicBezTo>
                <a:cubicBezTo>
                  <a:pt x="185" y="428"/>
                  <a:pt x="167" y="422"/>
                  <a:pt x="148" y="407"/>
                </a:cubicBezTo>
                <a:cubicBezTo>
                  <a:pt x="148" y="407"/>
                  <a:pt x="148" y="407"/>
                  <a:pt x="148" y="407"/>
                </a:cubicBezTo>
                <a:cubicBezTo>
                  <a:pt x="146" y="407"/>
                  <a:pt x="145" y="407"/>
                  <a:pt x="143" y="407"/>
                </a:cubicBezTo>
                <a:cubicBezTo>
                  <a:pt x="143" y="407"/>
                  <a:pt x="143" y="407"/>
                  <a:pt x="143" y="407"/>
                </a:cubicBezTo>
                <a:cubicBezTo>
                  <a:pt x="136" y="407"/>
                  <a:pt x="128" y="407"/>
                  <a:pt x="117" y="407"/>
                </a:cubicBezTo>
                <a:cubicBezTo>
                  <a:pt x="117" y="407"/>
                  <a:pt x="117" y="407"/>
                  <a:pt x="117" y="407"/>
                </a:cubicBezTo>
                <a:cubicBezTo>
                  <a:pt x="77" y="407"/>
                  <a:pt x="16" y="407"/>
                  <a:pt x="16" y="407"/>
                </a:cubicBezTo>
                <a:cubicBezTo>
                  <a:pt x="16" y="407"/>
                  <a:pt x="16" y="407"/>
                  <a:pt x="16" y="407"/>
                </a:cubicBezTo>
                <a:cubicBezTo>
                  <a:pt x="12" y="407"/>
                  <a:pt x="8" y="406"/>
                  <a:pt x="5" y="403"/>
                </a:cubicBezTo>
                <a:cubicBezTo>
                  <a:pt x="5" y="403"/>
                  <a:pt x="5" y="403"/>
                  <a:pt x="5" y="403"/>
                </a:cubicBezTo>
                <a:cubicBezTo>
                  <a:pt x="2" y="400"/>
                  <a:pt x="0" y="396"/>
                  <a:pt x="0" y="392"/>
                </a:cubicBezTo>
                <a:cubicBezTo>
                  <a:pt x="0" y="392"/>
                  <a:pt x="0" y="392"/>
                  <a:pt x="0" y="392"/>
                </a:cubicBezTo>
                <a:cubicBezTo>
                  <a:pt x="0" y="352"/>
                  <a:pt x="0" y="352"/>
                  <a:pt x="0" y="352"/>
                </a:cubicBezTo>
                <a:cubicBezTo>
                  <a:pt x="0" y="345"/>
                  <a:pt x="5" y="338"/>
                  <a:pt x="12" y="337"/>
                </a:cubicBezTo>
                <a:cubicBezTo>
                  <a:pt x="12" y="337"/>
                  <a:pt x="12" y="337"/>
                  <a:pt x="12" y="337"/>
                </a:cubicBezTo>
                <a:cubicBezTo>
                  <a:pt x="12" y="337"/>
                  <a:pt x="12" y="337"/>
                  <a:pt x="12" y="337"/>
                </a:cubicBezTo>
                <a:cubicBezTo>
                  <a:pt x="12" y="337"/>
                  <a:pt x="12" y="337"/>
                  <a:pt x="12" y="337"/>
                </a:cubicBezTo>
                <a:cubicBezTo>
                  <a:pt x="13" y="337"/>
                  <a:pt x="13" y="337"/>
                  <a:pt x="14" y="336"/>
                </a:cubicBezTo>
                <a:cubicBezTo>
                  <a:pt x="14" y="336"/>
                  <a:pt x="14" y="336"/>
                  <a:pt x="14" y="336"/>
                </a:cubicBezTo>
                <a:cubicBezTo>
                  <a:pt x="15" y="336"/>
                  <a:pt x="17" y="335"/>
                  <a:pt x="19" y="335"/>
                </a:cubicBezTo>
                <a:cubicBezTo>
                  <a:pt x="19" y="335"/>
                  <a:pt x="19" y="335"/>
                  <a:pt x="19" y="335"/>
                </a:cubicBezTo>
                <a:cubicBezTo>
                  <a:pt x="24" y="333"/>
                  <a:pt x="30" y="330"/>
                  <a:pt x="36" y="326"/>
                </a:cubicBezTo>
                <a:cubicBezTo>
                  <a:pt x="36" y="326"/>
                  <a:pt x="36" y="326"/>
                  <a:pt x="36" y="326"/>
                </a:cubicBezTo>
                <a:cubicBezTo>
                  <a:pt x="48" y="317"/>
                  <a:pt x="59" y="305"/>
                  <a:pt x="60" y="284"/>
                </a:cubicBezTo>
                <a:cubicBezTo>
                  <a:pt x="60" y="284"/>
                  <a:pt x="60" y="284"/>
                  <a:pt x="60" y="284"/>
                </a:cubicBezTo>
                <a:cubicBezTo>
                  <a:pt x="62" y="257"/>
                  <a:pt x="64" y="224"/>
                  <a:pt x="68" y="193"/>
                </a:cubicBezTo>
                <a:cubicBezTo>
                  <a:pt x="68" y="193"/>
                  <a:pt x="68" y="193"/>
                  <a:pt x="68" y="193"/>
                </a:cubicBezTo>
                <a:cubicBezTo>
                  <a:pt x="72" y="161"/>
                  <a:pt x="78" y="131"/>
                  <a:pt x="90" y="108"/>
                </a:cubicBezTo>
                <a:cubicBezTo>
                  <a:pt x="90" y="108"/>
                  <a:pt x="90" y="108"/>
                  <a:pt x="90" y="108"/>
                </a:cubicBezTo>
                <a:cubicBezTo>
                  <a:pt x="110" y="69"/>
                  <a:pt x="133" y="50"/>
                  <a:pt x="166" y="37"/>
                </a:cubicBezTo>
                <a:cubicBezTo>
                  <a:pt x="166" y="37"/>
                  <a:pt x="166" y="37"/>
                  <a:pt x="166" y="37"/>
                </a:cubicBezTo>
                <a:cubicBezTo>
                  <a:pt x="166" y="36"/>
                  <a:pt x="166" y="35"/>
                  <a:pt x="167" y="35"/>
                </a:cubicBezTo>
                <a:cubicBezTo>
                  <a:pt x="167" y="35"/>
                  <a:pt x="167" y="35"/>
                  <a:pt x="167" y="35"/>
                </a:cubicBezTo>
                <a:cubicBezTo>
                  <a:pt x="168" y="29"/>
                  <a:pt x="168" y="18"/>
                  <a:pt x="177" y="9"/>
                </a:cubicBezTo>
                <a:cubicBezTo>
                  <a:pt x="177" y="9"/>
                  <a:pt x="177" y="9"/>
                  <a:pt x="177" y="9"/>
                </a:cubicBezTo>
                <a:cubicBezTo>
                  <a:pt x="184" y="3"/>
                  <a:pt x="193" y="0"/>
                  <a:pt x="202" y="0"/>
                </a:cubicBezTo>
                <a:cubicBezTo>
                  <a:pt x="202" y="0"/>
                  <a:pt x="202" y="0"/>
                  <a:pt x="202" y="0"/>
                </a:cubicBezTo>
                <a:cubicBezTo>
                  <a:pt x="215" y="0"/>
                  <a:pt x="225" y="1"/>
                  <a:pt x="235" y="11"/>
                </a:cubicBezTo>
                <a:cubicBezTo>
                  <a:pt x="235" y="11"/>
                  <a:pt x="235" y="11"/>
                  <a:pt x="235" y="11"/>
                </a:cubicBezTo>
                <a:cubicBezTo>
                  <a:pt x="243" y="18"/>
                  <a:pt x="246" y="28"/>
                  <a:pt x="247" y="39"/>
                </a:cubicBezTo>
                <a:cubicBezTo>
                  <a:pt x="247" y="39"/>
                  <a:pt x="247" y="39"/>
                  <a:pt x="247" y="39"/>
                </a:cubicBezTo>
                <a:cubicBezTo>
                  <a:pt x="252" y="40"/>
                  <a:pt x="259" y="43"/>
                  <a:pt x="267" y="47"/>
                </a:cubicBezTo>
                <a:cubicBezTo>
                  <a:pt x="267" y="47"/>
                  <a:pt x="267" y="47"/>
                  <a:pt x="267" y="47"/>
                </a:cubicBezTo>
                <a:cubicBezTo>
                  <a:pt x="285" y="56"/>
                  <a:pt x="308" y="74"/>
                  <a:pt x="324" y="110"/>
                </a:cubicBezTo>
                <a:cubicBezTo>
                  <a:pt x="324" y="110"/>
                  <a:pt x="324" y="110"/>
                  <a:pt x="324" y="110"/>
                </a:cubicBezTo>
                <a:cubicBezTo>
                  <a:pt x="359" y="184"/>
                  <a:pt x="352" y="249"/>
                  <a:pt x="355" y="282"/>
                </a:cubicBezTo>
                <a:cubicBezTo>
                  <a:pt x="355" y="282"/>
                  <a:pt x="355" y="282"/>
                  <a:pt x="355" y="282"/>
                </a:cubicBezTo>
                <a:cubicBezTo>
                  <a:pt x="356" y="303"/>
                  <a:pt x="365" y="314"/>
                  <a:pt x="376" y="322"/>
                </a:cubicBezTo>
                <a:cubicBezTo>
                  <a:pt x="376" y="322"/>
                  <a:pt x="376" y="322"/>
                  <a:pt x="376" y="322"/>
                </a:cubicBezTo>
                <a:cubicBezTo>
                  <a:pt x="386" y="330"/>
                  <a:pt x="398" y="334"/>
                  <a:pt x="402" y="335"/>
                </a:cubicBezTo>
                <a:cubicBezTo>
                  <a:pt x="402" y="335"/>
                  <a:pt x="402" y="335"/>
                  <a:pt x="402" y="335"/>
                </a:cubicBezTo>
                <a:cubicBezTo>
                  <a:pt x="404" y="335"/>
                  <a:pt x="404" y="335"/>
                  <a:pt x="404" y="335"/>
                </a:cubicBezTo>
                <a:cubicBezTo>
                  <a:pt x="404" y="335"/>
                  <a:pt x="404" y="335"/>
                  <a:pt x="404" y="335"/>
                </a:cubicBezTo>
                <a:cubicBezTo>
                  <a:pt x="411" y="336"/>
                  <a:pt x="417" y="343"/>
                  <a:pt x="417" y="350"/>
                </a:cubicBezTo>
                <a:cubicBezTo>
                  <a:pt x="417" y="350"/>
                  <a:pt x="417" y="350"/>
                  <a:pt x="417" y="350"/>
                </a:cubicBezTo>
                <a:cubicBezTo>
                  <a:pt x="417" y="391"/>
                  <a:pt x="417" y="391"/>
                  <a:pt x="417" y="391"/>
                </a:cubicBezTo>
                <a:cubicBezTo>
                  <a:pt x="417" y="395"/>
                  <a:pt x="415" y="399"/>
                  <a:pt x="412" y="402"/>
                </a:cubicBezTo>
                <a:cubicBezTo>
                  <a:pt x="412" y="402"/>
                  <a:pt x="412" y="402"/>
                  <a:pt x="412" y="402"/>
                </a:cubicBezTo>
                <a:cubicBezTo>
                  <a:pt x="409" y="405"/>
                  <a:pt x="405" y="406"/>
                  <a:pt x="401" y="406"/>
                </a:cubicBezTo>
                <a:cubicBezTo>
                  <a:pt x="401" y="406"/>
                  <a:pt x="401" y="406"/>
                  <a:pt x="401" y="406"/>
                </a:cubicBezTo>
                <a:cubicBezTo>
                  <a:pt x="301" y="406"/>
                  <a:pt x="301" y="406"/>
                  <a:pt x="301" y="406"/>
                </a:cubicBezTo>
                <a:cubicBezTo>
                  <a:pt x="292" y="406"/>
                  <a:pt x="285" y="399"/>
                  <a:pt x="285" y="391"/>
                </a:cubicBezTo>
                <a:cubicBezTo>
                  <a:pt x="285" y="391"/>
                  <a:pt x="285" y="391"/>
                  <a:pt x="285" y="391"/>
                </a:cubicBezTo>
                <a:cubicBezTo>
                  <a:pt x="285" y="382"/>
                  <a:pt x="292" y="376"/>
                  <a:pt x="301" y="376"/>
                </a:cubicBezTo>
                <a:cubicBezTo>
                  <a:pt x="301" y="376"/>
                  <a:pt x="301" y="376"/>
                  <a:pt x="301" y="376"/>
                </a:cubicBezTo>
                <a:cubicBezTo>
                  <a:pt x="386" y="376"/>
                  <a:pt x="386" y="376"/>
                  <a:pt x="386" y="376"/>
                </a:cubicBezTo>
                <a:cubicBezTo>
                  <a:pt x="386" y="362"/>
                  <a:pt x="386" y="362"/>
                  <a:pt x="386" y="362"/>
                </a:cubicBezTo>
                <a:cubicBezTo>
                  <a:pt x="380" y="360"/>
                  <a:pt x="372" y="357"/>
                  <a:pt x="364" y="352"/>
                </a:cubicBezTo>
                <a:cubicBezTo>
                  <a:pt x="364" y="352"/>
                  <a:pt x="364" y="352"/>
                  <a:pt x="364" y="352"/>
                </a:cubicBezTo>
                <a:cubicBezTo>
                  <a:pt x="346" y="341"/>
                  <a:pt x="326" y="319"/>
                  <a:pt x="324" y="285"/>
                </a:cubicBezTo>
                <a:cubicBezTo>
                  <a:pt x="324" y="285"/>
                  <a:pt x="324" y="285"/>
                  <a:pt x="324" y="285"/>
                </a:cubicBezTo>
                <a:cubicBezTo>
                  <a:pt x="321" y="246"/>
                  <a:pt x="327" y="190"/>
                  <a:pt x="296" y="123"/>
                </a:cubicBezTo>
                <a:cubicBezTo>
                  <a:pt x="296" y="123"/>
                  <a:pt x="296" y="123"/>
                  <a:pt x="296" y="123"/>
                </a:cubicBezTo>
                <a:cubicBezTo>
                  <a:pt x="285" y="99"/>
                  <a:pt x="271" y="86"/>
                  <a:pt x="260" y="78"/>
                </a:cubicBezTo>
                <a:cubicBezTo>
                  <a:pt x="260" y="78"/>
                  <a:pt x="260" y="78"/>
                  <a:pt x="260" y="78"/>
                </a:cubicBezTo>
                <a:cubicBezTo>
                  <a:pt x="248" y="71"/>
                  <a:pt x="239" y="69"/>
                  <a:pt x="231" y="66"/>
                </a:cubicBezTo>
                <a:cubicBezTo>
                  <a:pt x="231" y="66"/>
                  <a:pt x="231" y="66"/>
                  <a:pt x="231" y="66"/>
                </a:cubicBezTo>
                <a:cubicBezTo>
                  <a:pt x="229" y="65"/>
                  <a:pt x="227" y="65"/>
                  <a:pt x="222" y="61"/>
                </a:cubicBezTo>
                <a:cubicBezTo>
                  <a:pt x="222" y="61"/>
                  <a:pt x="222" y="61"/>
                  <a:pt x="222" y="61"/>
                </a:cubicBezTo>
                <a:cubicBezTo>
                  <a:pt x="220" y="60"/>
                  <a:pt x="217" y="55"/>
                  <a:pt x="216" y="49"/>
                </a:cubicBezTo>
                <a:cubicBezTo>
                  <a:pt x="216" y="49"/>
                  <a:pt x="216" y="49"/>
                  <a:pt x="216" y="49"/>
                </a:cubicBezTo>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 name="Freeform 230"/>
          <p:cNvSpPr>
            <a:spLocks/>
          </p:cNvSpPr>
          <p:nvPr userDrawn="1"/>
        </p:nvSpPr>
        <p:spPr bwMode="auto">
          <a:xfrm>
            <a:off x="395884" y="3817296"/>
            <a:ext cx="388245" cy="350044"/>
          </a:xfrm>
          <a:custGeom>
            <a:avLst/>
            <a:gdLst/>
            <a:ahLst/>
            <a:cxnLst>
              <a:cxn ang="0">
                <a:pos x="357" y="34"/>
              </a:cxn>
              <a:cxn ang="0">
                <a:pos x="75" y="90"/>
              </a:cxn>
              <a:cxn ang="0">
                <a:pos x="43" y="164"/>
              </a:cxn>
              <a:cxn ang="0">
                <a:pos x="45" y="176"/>
              </a:cxn>
              <a:cxn ang="0">
                <a:pos x="76" y="181"/>
              </a:cxn>
              <a:cxn ang="0">
                <a:pos x="76" y="154"/>
              </a:cxn>
              <a:cxn ang="0">
                <a:pos x="85" y="116"/>
              </a:cxn>
              <a:cxn ang="0">
                <a:pos x="383" y="93"/>
              </a:cxn>
              <a:cxn ang="0">
                <a:pos x="424" y="42"/>
              </a:cxn>
              <a:cxn ang="0">
                <a:pos x="407" y="248"/>
              </a:cxn>
              <a:cxn ang="0">
                <a:pos x="383" y="145"/>
              </a:cxn>
              <a:cxn ang="0">
                <a:pos x="260" y="132"/>
              </a:cxn>
              <a:cxn ang="0">
                <a:pos x="247" y="145"/>
              </a:cxn>
              <a:cxn ang="0">
                <a:pos x="283" y="387"/>
              </a:cxn>
              <a:cxn ang="0">
                <a:pos x="220" y="147"/>
              </a:cxn>
              <a:cxn ang="0">
                <a:pos x="217" y="136"/>
              </a:cxn>
              <a:cxn ang="0">
                <a:pos x="136" y="132"/>
              </a:cxn>
              <a:cxn ang="0">
                <a:pos x="119" y="154"/>
              </a:cxn>
              <a:cxn ang="0">
                <a:pos x="96" y="166"/>
              </a:cxn>
              <a:cxn ang="0">
                <a:pos x="76" y="291"/>
              </a:cxn>
              <a:cxn ang="0">
                <a:pos x="89" y="305"/>
              </a:cxn>
              <a:cxn ang="0">
                <a:pos x="99" y="387"/>
              </a:cxn>
              <a:cxn ang="0">
                <a:pos x="45" y="305"/>
              </a:cxn>
              <a:cxn ang="0">
                <a:pos x="72" y="291"/>
              </a:cxn>
              <a:cxn ang="0">
                <a:pos x="33" y="278"/>
              </a:cxn>
              <a:cxn ang="0">
                <a:pos x="1" y="398"/>
              </a:cxn>
              <a:cxn ang="0">
                <a:pos x="14" y="414"/>
              </a:cxn>
              <a:cxn ang="0">
                <a:pos x="123" y="402"/>
              </a:cxn>
              <a:cxn ang="0">
                <a:pos x="137" y="283"/>
              </a:cxn>
              <a:cxn ang="0">
                <a:pos x="105" y="278"/>
              </a:cxn>
              <a:cxn ang="0">
                <a:pos x="129" y="181"/>
              </a:cxn>
              <a:cxn ang="0">
                <a:pos x="146" y="158"/>
              </a:cxn>
              <a:cxn ang="0">
                <a:pos x="156" y="398"/>
              </a:cxn>
              <a:cxn ang="0">
                <a:pos x="159" y="409"/>
              </a:cxn>
              <a:cxn ang="0">
                <a:pos x="299" y="414"/>
              </a:cxn>
              <a:cxn ang="0">
                <a:pos x="312" y="400"/>
              </a:cxn>
              <a:cxn ang="0">
                <a:pos x="276" y="158"/>
              </a:cxn>
              <a:cxn ang="0">
                <a:pos x="357" y="262"/>
              </a:cxn>
              <a:cxn ang="0">
                <a:pos x="416" y="275"/>
              </a:cxn>
              <a:cxn ang="0">
                <a:pos x="460" y="135"/>
              </a:cxn>
              <a:cxn ang="0">
                <a:pos x="438" y="19"/>
              </a:cxn>
            </a:cxnLst>
            <a:rect l="0" t="0" r="r" b="b"/>
            <a:pathLst>
              <a:path w="460" h="414">
                <a:moveTo>
                  <a:pt x="362" y="24"/>
                </a:moveTo>
                <a:cubicBezTo>
                  <a:pt x="359" y="26"/>
                  <a:pt x="357" y="30"/>
                  <a:pt x="357" y="34"/>
                </a:cubicBezTo>
                <a:cubicBezTo>
                  <a:pt x="357" y="34"/>
                  <a:pt x="357" y="64"/>
                  <a:pt x="357" y="80"/>
                </a:cubicBezTo>
                <a:cubicBezTo>
                  <a:pt x="333" y="81"/>
                  <a:pt x="75" y="90"/>
                  <a:pt x="75" y="90"/>
                </a:cubicBezTo>
                <a:cubicBezTo>
                  <a:pt x="69" y="90"/>
                  <a:pt x="64" y="94"/>
                  <a:pt x="62" y="99"/>
                </a:cubicBezTo>
                <a:cubicBezTo>
                  <a:pt x="43" y="164"/>
                  <a:pt x="43" y="164"/>
                  <a:pt x="43" y="164"/>
                </a:cubicBezTo>
                <a:cubicBezTo>
                  <a:pt x="43" y="165"/>
                  <a:pt x="42" y="166"/>
                  <a:pt x="42" y="168"/>
                </a:cubicBezTo>
                <a:cubicBezTo>
                  <a:pt x="42" y="171"/>
                  <a:pt x="43" y="173"/>
                  <a:pt x="45" y="176"/>
                </a:cubicBezTo>
                <a:cubicBezTo>
                  <a:pt x="48" y="179"/>
                  <a:pt x="52" y="181"/>
                  <a:pt x="56" y="181"/>
                </a:cubicBezTo>
                <a:cubicBezTo>
                  <a:pt x="76" y="181"/>
                  <a:pt x="76" y="181"/>
                  <a:pt x="76" y="181"/>
                </a:cubicBezTo>
                <a:cubicBezTo>
                  <a:pt x="83" y="181"/>
                  <a:pt x="89" y="175"/>
                  <a:pt x="89" y="168"/>
                </a:cubicBezTo>
                <a:cubicBezTo>
                  <a:pt x="89" y="160"/>
                  <a:pt x="83" y="154"/>
                  <a:pt x="76" y="154"/>
                </a:cubicBezTo>
                <a:cubicBezTo>
                  <a:pt x="76" y="154"/>
                  <a:pt x="74" y="154"/>
                  <a:pt x="74" y="154"/>
                </a:cubicBezTo>
                <a:cubicBezTo>
                  <a:pt x="78" y="140"/>
                  <a:pt x="82" y="126"/>
                  <a:pt x="85" y="116"/>
                </a:cubicBezTo>
                <a:cubicBezTo>
                  <a:pt x="103" y="116"/>
                  <a:pt x="370" y="106"/>
                  <a:pt x="370" y="106"/>
                </a:cubicBezTo>
                <a:cubicBezTo>
                  <a:pt x="378" y="106"/>
                  <a:pt x="383" y="100"/>
                  <a:pt x="383" y="93"/>
                </a:cubicBezTo>
                <a:cubicBezTo>
                  <a:pt x="383" y="93"/>
                  <a:pt x="383" y="53"/>
                  <a:pt x="383" y="42"/>
                </a:cubicBezTo>
                <a:cubicBezTo>
                  <a:pt x="399" y="34"/>
                  <a:pt x="418" y="40"/>
                  <a:pt x="424" y="42"/>
                </a:cubicBezTo>
                <a:cubicBezTo>
                  <a:pt x="428" y="54"/>
                  <a:pt x="433" y="98"/>
                  <a:pt x="433" y="135"/>
                </a:cubicBezTo>
                <a:cubicBezTo>
                  <a:pt x="433" y="161"/>
                  <a:pt x="416" y="219"/>
                  <a:pt x="407" y="248"/>
                </a:cubicBezTo>
                <a:cubicBezTo>
                  <a:pt x="399" y="248"/>
                  <a:pt x="393" y="248"/>
                  <a:pt x="383" y="248"/>
                </a:cubicBezTo>
                <a:cubicBezTo>
                  <a:pt x="383" y="227"/>
                  <a:pt x="383" y="145"/>
                  <a:pt x="383" y="145"/>
                </a:cubicBezTo>
                <a:cubicBezTo>
                  <a:pt x="383" y="138"/>
                  <a:pt x="377" y="132"/>
                  <a:pt x="370" y="132"/>
                </a:cubicBezTo>
                <a:cubicBezTo>
                  <a:pt x="260" y="132"/>
                  <a:pt x="260" y="132"/>
                  <a:pt x="260" y="132"/>
                </a:cubicBezTo>
                <a:cubicBezTo>
                  <a:pt x="257" y="132"/>
                  <a:pt x="253" y="133"/>
                  <a:pt x="250" y="136"/>
                </a:cubicBezTo>
                <a:cubicBezTo>
                  <a:pt x="248" y="139"/>
                  <a:pt x="247" y="142"/>
                  <a:pt x="247" y="145"/>
                </a:cubicBezTo>
                <a:cubicBezTo>
                  <a:pt x="247" y="146"/>
                  <a:pt x="247" y="146"/>
                  <a:pt x="247" y="147"/>
                </a:cubicBezTo>
                <a:cubicBezTo>
                  <a:pt x="247" y="147"/>
                  <a:pt x="279" y="360"/>
                  <a:pt x="283" y="387"/>
                </a:cubicBezTo>
                <a:cubicBezTo>
                  <a:pt x="263" y="387"/>
                  <a:pt x="205" y="387"/>
                  <a:pt x="184" y="387"/>
                </a:cubicBezTo>
                <a:cubicBezTo>
                  <a:pt x="188" y="360"/>
                  <a:pt x="220" y="147"/>
                  <a:pt x="220" y="147"/>
                </a:cubicBezTo>
                <a:cubicBezTo>
                  <a:pt x="220" y="146"/>
                  <a:pt x="220" y="146"/>
                  <a:pt x="220" y="145"/>
                </a:cubicBezTo>
                <a:cubicBezTo>
                  <a:pt x="220" y="142"/>
                  <a:pt x="219" y="139"/>
                  <a:pt x="217" y="136"/>
                </a:cubicBezTo>
                <a:cubicBezTo>
                  <a:pt x="215" y="133"/>
                  <a:pt x="211" y="132"/>
                  <a:pt x="207" y="132"/>
                </a:cubicBezTo>
                <a:cubicBezTo>
                  <a:pt x="136" y="132"/>
                  <a:pt x="136" y="132"/>
                  <a:pt x="136" y="132"/>
                </a:cubicBezTo>
                <a:cubicBezTo>
                  <a:pt x="130" y="132"/>
                  <a:pt x="125" y="135"/>
                  <a:pt x="123" y="141"/>
                </a:cubicBezTo>
                <a:cubicBezTo>
                  <a:pt x="123" y="141"/>
                  <a:pt x="121" y="148"/>
                  <a:pt x="119" y="154"/>
                </a:cubicBezTo>
                <a:cubicBezTo>
                  <a:pt x="114" y="154"/>
                  <a:pt x="109" y="154"/>
                  <a:pt x="109" y="154"/>
                </a:cubicBezTo>
                <a:cubicBezTo>
                  <a:pt x="102" y="154"/>
                  <a:pt x="97" y="159"/>
                  <a:pt x="96" y="166"/>
                </a:cubicBezTo>
                <a:cubicBezTo>
                  <a:pt x="76" y="289"/>
                  <a:pt x="76" y="289"/>
                  <a:pt x="76" y="289"/>
                </a:cubicBezTo>
                <a:cubicBezTo>
                  <a:pt x="76" y="290"/>
                  <a:pt x="76" y="291"/>
                  <a:pt x="76" y="291"/>
                </a:cubicBezTo>
                <a:cubicBezTo>
                  <a:pt x="76" y="294"/>
                  <a:pt x="77" y="297"/>
                  <a:pt x="79" y="300"/>
                </a:cubicBezTo>
                <a:cubicBezTo>
                  <a:pt x="82" y="303"/>
                  <a:pt x="86" y="305"/>
                  <a:pt x="89" y="305"/>
                </a:cubicBezTo>
                <a:cubicBezTo>
                  <a:pt x="89" y="305"/>
                  <a:pt x="101" y="305"/>
                  <a:pt x="112" y="305"/>
                </a:cubicBezTo>
                <a:cubicBezTo>
                  <a:pt x="109" y="325"/>
                  <a:pt x="101" y="372"/>
                  <a:pt x="99" y="387"/>
                </a:cubicBezTo>
                <a:cubicBezTo>
                  <a:pt x="84" y="387"/>
                  <a:pt x="49" y="387"/>
                  <a:pt x="30" y="387"/>
                </a:cubicBezTo>
                <a:cubicBezTo>
                  <a:pt x="34" y="367"/>
                  <a:pt x="42" y="320"/>
                  <a:pt x="45" y="305"/>
                </a:cubicBezTo>
                <a:cubicBezTo>
                  <a:pt x="51" y="305"/>
                  <a:pt x="58" y="305"/>
                  <a:pt x="58" y="305"/>
                </a:cubicBezTo>
                <a:cubicBezTo>
                  <a:pt x="66" y="305"/>
                  <a:pt x="72" y="299"/>
                  <a:pt x="72" y="291"/>
                </a:cubicBezTo>
                <a:cubicBezTo>
                  <a:pt x="72" y="284"/>
                  <a:pt x="66" y="278"/>
                  <a:pt x="58" y="278"/>
                </a:cubicBezTo>
                <a:cubicBezTo>
                  <a:pt x="33" y="278"/>
                  <a:pt x="33" y="278"/>
                  <a:pt x="33" y="278"/>
                </a:cubicBezTo>
                <a:cubicBezTo>
                  <a:pt x="27" y="278"/>
                  <a:pt x="21" y="283"/>
                  <a:pt x="20" y="289"/>
                </a:cubicBezTo>
                <a:cubicBezTo>
                  <a:pt x="1" y="398"/>
                  <a:pt x="1" y="398"/>
                  <a:pt x="1" y="398"/>
                </a:cubicBezTo>
                <a:cubicBezTo>
                  <a:pt x="0" y="402"/>
                  <a:pt x="1" y="406"/>
                  <a:pt x="4" y="409"/>
                </a:cubicBezTo>
                <a:cubicBezTo>
                  <a:pt x="6" y="412"/>
                  <a:pt x="10" y="414"/>
                  <a:pt x="14" y="414"/>
                </a:cubicBezTo>
                <a:cubicBezTo>
                  <a:pt x="110" y="414"/>
                  <a:pt x="110" y="414"/>
                  <a:pt x="110" y="414"/>
                </a:cubicBezTo>
                <a:cubicBezTo>
                  <a:pt x="117" y="414"/>
                  <a:pt x="122" y="409"/>
                  <a:pt x="123" y="402"/>
                </a:cubicBezTo>
                <a:cubicBezTo>
                  <a:pt x="140" y="293"/>
                  <a:pt x="140" y="293"/>
                  <a:pt x="140" y="293"/>
                </a:cubicBezTo>
                <a:cubicBezTo>
                  <a:pt x="141" y="289"/>
                  <a:pt x="140" y="286"/>
                  <a:pt x="137" y="283"/>
                </a:cubicBezTo>
                <a:cubicBezTo>
                  <a:pt x="135" y="280"/>
                  <a:pt x="131" y="278"/>
                  <a:pt x="127" y="278"/>
                </a:cubicBezTo>
                <a:cubicBezTo>
                  <a:pt x="127" y="278"/>
                  <a:pt x="116" y="278"/>
                  <a:pt x="105" y="278"/>
                </a:cubicBezTo>
                <a:cubicBezTo>
                  <a:pt x="108" y="257"/>
                  <a:pt x="118" y="197"/>
                  <a:pt x="120" y="181"/>
                </a:cubicBezTo>
                <a:cubicBezTo>
                  <a:pt x="124" y="181"/>
                  <a:pt x="129" y="181"/>
                  <a:pt x="129" y="181"/>
                </a:cubicBezTo>
                <a:cubicBezTo>
                  <a:pt x="135" y="181"/>
                  <a:pt x="140" y="177"/>
                  <a:pt x="142" y="172"/>
                </a:cubicBezTo>
                <a:cubicBezTo>
                  <a:pt x="142" y="172"/>
                  <a:pt x="144" y="165"/>
                  <a:pt x="146" y="158"/>
                </a:cubicBezTo>
                <a:cubicBezTo>
                  <a:pt x="157" y="158"/>
                  <a:pt x="176" y="158"/>
                  <a:pt x="192" y="158"/>
                </a:cubicBezTo>
                <a:cubicBezTo>
                  <a:pt x="188" y="185"/>
                  <a:pt x="156" y="398"/>
                  <a:pt x="156" y="398"/>
                </a:cubicBezTo>
                <a:cubicBezTo>
                  <a:pt x="156" y="399"/>
                  <a:pt x="155" y="400"/>
                  <a:pt x="155" y="400"/>
                </a:cubicBezTo>
                <a:cubicBezTo>
                  <a:pt x="155" y="403"/>
                  <a:pt x="157" y="407"/>
                  <a:pt x="159" y="409"/>
                </a:cubicBezTo>
                <a:cubicBezTo>
                  <a:pt x="161" y="412"/>
                  <a:pt x="165" y="414"/>
                  <a:pt x="169" y="414"/>
                </a:cubicBezTo>
                <a:cubicBezTo>
                  <a:pt x="299" y="414"/>
                  <a:pt x="299" y="414"/>
                  <a:pt x="299" y="414"/>
                </a:cubicBezTo>
                <a:cubicBezTo>
                  <a:pt x="303" y="414"/>
                  <a:pt x="306" y="412"/>
                  <a:pt x="309" y="409"/>
                </a:cubicBezTo>
                <a:cubicBezTo>
                  <a:pt x="311" y="407"/>
                  <a:pt x="312" y="403"/>
                  <a:pt x="312" y="400"/>
                </a:cubicBezTo>
                <a:cubicBezTo>
                  <a:pt x="312" y="400"/>
                  <a:pt x="312" y="399"/>
                  <a:pt x="312" y="398"/>
                </a:cubicBezTo>
                <a:cubicBezTo>
                  <a:pt x="312" y="398"/>
                  <a:pt x="280" y="185"/>
                  <a:pt x="276" y="158"/>
                </a:cubicBezTo>
                <a:cubicBezTo>
                  <a:pt x="296" y="158"/>
                  <a:pt x="339" y="158"/>
                  <a:pt x="357" y="158"/>
                </a:cubicBezTo>
                <a:cubicBezTo>
                  <a:pt x="357" y="179"/>
                  <a:pt x="357" y="262"/>
                  <a:pt x="357" y="262"/>
                </a:cubicBezTo>
                <a:cubicBezTo>
                  <a:pt x="357" y="269"/>
                  <a:pt x="363" y="275"/>
                  <a:pt x="370" y="275"/>
                </a:cubicBezTo>
                <a:cubicBezTo>
                  <a:pt x="416" y="275"/>
                  <a:pt x="416" y="275"/>
                  <a:pt x="416" y="275"/>
                </a:cubicBezTo>
                <a:cubicBezTo>
                  <a:pt x="422" y="275"/>
                  <a:pt x="427" y="271"/>
                  <a:pt x="429" y="266"/>
                </a:cubicBezTo>
                <a:cubicBezTo>
                  <a:pt x="430" y="262"/>
                  <a:pt x="460" y="174"/>
                  <a:pt x="460" y="135"/>
                </a:cubicBezTo>
                <a:cubicBezTo>
                  <a:pt x="460" y="116"/>
                  <a:pt x="458" y="90"/>
                  <a:pt x="456" y="69"/>
                </a:cubicBezTo>
                <a:cubicBezTo>
                  <a:pt x="452" y="33"/>
                  <a:pt x="446" y="23"/>
                  <a:pt x="438" y="19"/>
                </a:cubicBezTo>
                <a:cubicBezTo>
                  <a:pt x="433" y="17"/>
                  <a:pt x="394" y="0"/>
                  <a:pt x="362" y="2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2" name="Freeform 151"/>
          <p:cNvSpPr>
            <a:spLocks/>
          </p:cNvSpPr>
          <p:nvPr userDrawn="1"/>
        </p:nvSpPr>
        <p:spPr bwMode="auto">
          <a:xfrm>
            <a:off x="902595" y="873028"/>
            <a:ext cx="288206" cy="386954"/>
          </a:xfrm>
          <a:custGeom>
            <a:avLst/>
            <a:gdLst/>
            <a:ahLst/>
            <a:cxnLst>
              <a:cxn ang="0">
                <a:pos x="8" y="21"/>
              </a:cxn>
              <a:cxn ang="0">
                <a:pos x="0" y="48"/>
              </a:cxn>
              <a:cxn ang="0">
                <a:pos x="4" y="67"/>
              </a:cxn>
              <a:cxn ang="0">
                <a:pos x="31" y="89"/>
              </a:cxn>
              <a:cxn ang="0">
                <a:pos x="31" y="433"/>
              </a:cxn>
              <a:cxn ang="0">
                <a:pos x="38" y="445"/>
              </a:cxn>
              <a:cxn ang="0">
                <a:pos x="89" y="444"/>
              </a:cxn>
              <a:cxn ang="0">
                <a:pos x="95" y="433"/>
              </a:cxn>
              <a:cxn ang="0">
                <a:pos x="95" y="257"/>
              </a:cxn>
              <a:cxn ang="0">
                <a:pos x="133" y="239"/>
              </a:cxn>
              <a:cxn ang="0">
                <a:pos x="210" y="252"/>
              </a:cxn>
              <a:cxn ang="0">
                <a:pos x="294" y="276"/>
              </a:cxn>
              <a:cxn ang="0">
                <a:pos x="334" y="262"/>
              </a:cxn>
              <a:cxn ang="0">
                <a:pos x="341" y="251"/>
              </a:cxn>
              <a:cxn ang="0">
                <a:pos x="341" y="94"/>
              </a:cxn>
              <a:cxn ang="0">
                <a:pos x="334" y="83"/>
              </a:cxn>
              <a:cxn ang="0">
                <a:pos x="320" y="83"/>
              </a:cxn>
              <a:cxn ang="0">
                <a:pos x="239" y="90"/>
              </a:cxn>
              <a:cxn ang="0">
                <a:pos x="238" y="89"/>
              </a:cxn>
              <a:cxn ang="0">
                <a:pos x="127" y="61"/>
              </a:cxn>
              <a:cxn ang="0">
                <a:pos x="74" y="85"/>
              </a:cxn>
              <a:cxn ang="0">
                <a:pos x="73" y="85"/>
              </a:cxn>
              <a:cxn ang="0">
                <a:pos x="74" y="85"/>
              </a:cxn>
              <a:cxn ang="0">
                <a:pos x="72" y="86"/>
              </a:cxn>
              <a:cxn ang="0">
                <a:pos x="68" y="96"/>
              </a:cxn>
              <a:cxn ang="0">
                <a:pos x="68" y="97"/>
              </a:cxn>
              <a:cxn ang="0">
                <a:pos x="68" y="202"/>
              </a:cxn>
              <a:cxn ang="0">
                <a:pos x="81" y="216"/>
              </a:cxn>
              <a:cxn ang="0">
                <a:pos x="81" y="216"/>
              </a:cxn>
              <a:cxn ang="0">
                <a:pos x="95" y="202"/>
              </a:cxn>
              <a:cxn ang="0">
                <a:pos x="95" y="103"/>
              </a:cxn>
              <a:cxn ang="0">
                <a:pos x="219" y="109"/>
              </a:cxn>
              <a:cxn ang="0">
                <a:pos x="294" y="124"/>
              </a:cxn>
              <a:cxn ang="0">
                <a:pos x="314" y="117"/>
              </a:cxn>
              <a:cxn ang="0">
                <a:pos x="314" y="242"/>
              </a:cxn>
              <a:cxn ang="0">
                <a:pos x="228" y="232"/>
              </a:cxn>
              <a:cxn ang="0">
                <a:pos x="124" y="214"/>
              </a:cxn>
              <a:cxn ang="0">
                <a:pos x="73" y="240"/>
              </a:cxn>
              <a:cxn ang="0">
                <a:pos x="68" y="251"/>
              </a:cxn>
              <a:cxn ang="0">
                <a:pos x="68" y="424"/>
              </a:cxn>
              <a:cxn ang="0">
                <a:pos x="57" y="424"/>
              </a:cxn>
              <a:cxn ang="0">
                <a:pos x="57" y="78"/>
              </a:cxn>
              <a:cxn ang="0">
                <a:pos x="46" y="65"/>
              </a:cxn>
              <a:cxn ang="0">
                <a:pos x="28" y="55"/>
              </a:cxn>
              <a:cxn ang="0">
                <a:pos x="27" y="48"/>
              </a:cxn>
              <a:cxn ang="0">
                <a:pos x="30" y="35"/>
              </a:cxn>
              <a:cxn ang="0">
                <a:pos x="46" y="28"/>
              </a:cxn>
              <a:cxn ang="0">
                <a:pos x="62" y="36"/>
              </a:cxn>
              <a:cxn ang="0">
                <a:pos x="63" y="50"/>
              </a:cxn>
              <a:cxn ang="0">
                <a:pos x="69" y="68"/>
              </a:cxn>
              <a:cxn ang="0">
                <a:pos x="87" y="62"/>
              </a:cxn>
              <a:cxn ang="0">
                <a:pos x="86" y="22"/>
              </a:cxn>
              <a:cxn ang="0">
                <a:pos x="47" y="1"/>
              </a:cxn>
              <a:cxn ang="0">
                <a:pos x="8" y="21"/>
              </a:cxn>
            </a:cxnLst>
            <a:rect l="0" t="0" r="r" b="b"/>
            <a:pathLst>
              <a:path w="341" h="457">
                <a:moveTo>
                  <a:pt x="8" y="21"/>
                </a:moveTo>
                <a:cubicBezTo>
                  <a:pt x="3" y="29"/>
                  <a:pt x="0" y="38"/>
                  <a:pt x="0" y="48"/>
                </a:cubicBezTo>
                <a:cubicBezTo>
                  <a:pt x="0" y="55"/>
                  <a:pt x="1" y="61"/>
                  <a:pt x="4" y="67"/>
                </a:cubicBezTo>
                <a:cubicBezTo>
                  <a:pt x="11" y="80"/>
                  <a:pt x="22" y="86"/>
                  <a:pt x="31" y="89"/>
                </a:cubicBezTo>
                <a:cubicBezTo>
                  <a:pt x="31" y="109"/>
                  <a:pt x="31" y="433"/>
                  <a:pt x="31" y="433"/>
                </a:cubicBezTo>
                <a:cubicBezTo>
                  <a:pt x="31" y="438"/>
                  <a:pt x="33" y="442"/>
                  <a:pt x="38" y="445"/>
                </a:cubicBezTo>
                <a:cubicBezTo>
                  <a:pt x="60" y="457"/>
                  <a:pt x="81" y="450"/>
                  <a:pt x="89" y="444"/>
                </a:cubicBezTo>
                <a:cubicBezTo>
                  <a:pt x="92" y="441"/>
                  <a:pt x="95" y="437"/>
                  <a:pt x="95" y="433"/>
                </a:cubicBezTo>
                <a:cubicBezTo>
                  <a:pt x="95" y="433"/>
                  <a:pt x="95" y="270"/>
                  <a:pt x="95" y="257"/>
                </a:cubicBezTo>
                <a:cubicBezTo>
                  <a:pt x="102" y="253"/>
                  <a:pt x="116" y="244"/>
                  <a:pt x="133" y="239"/>
                </a:cubicBezTo>
                <a:cubicBezTo>
                  <a:pt x="163" y="229"/>
                  <a:pt x="190" y="233"/>
                  <a:pt x="210" y="252"/>
                </a:cubicBezTo>
                <a:cubicBezTo>
                  <a:pt x="233" y="273"/>
                  <a:pt x="262" y="281"/>
                  <a:pt x="294" y="276"/>
                </a:cubicBezTo>
                <a:cubicBezTo>
                  <a:pt x="317" y="272"/>
                  <a:pt x="334" y="263"/>
                  <a:pt x="334" y="262"/>
                </a:cubicBezTo>
                <a:cubicBezTo>
                  <a:pt x="338" y="260"/>
                  <a:pt x="341" y="255"/>
                  <a:pt x="341" y="251"/>
                </a:cubicBezTo>
                <a:cubicBezTo>
                  <a:pt x="341" y="94"/>
                  <a:pt x="341" y="94"/>
                  <a:pt x="341" y="94"/>
                </a:cubicBezTo>
                <a:cubicBezTo>
                  <a:pt x="341" y="89"/>
                  <a:pt x="338" y="85"/>
                  <a:pt x="334" y="83"/>
                </a:cubicBezTo>
                <a:cubicBezTo>
                  <a:pt x="330" y="80"/>
                  <a:pt x="324" y="80"/>
                  <a:pt x="320" y="83"/>
                </a:cubicBezTo>
                <a:cubicBezTo>
                  <a:pt x="320" y="84"/>
                  <a:pt x="264" y="121"/>
                  <a:pt x="239" y="90"/>
                </a:cubicBezTo>
                <a:cubicBezTo>
                  <a:pt x="238" y="90"/>
                  <a:pt x="238" y="90"/>
                  <a:pt x="238" y="89"/>
                </a:cubicBezTo>
                <a:cubicBezTo>
                  <a:pt x="207" y="60"/>
                  <a:pt x="168" y="51"/>
                  <a:pt x="127" y="61"/>
                </a:cubicBezTo>
                <a:cubicBezTo>
                  <a:pt x="100" y="67"/>
                  <a:pt x="80" y="81"/>
                  <a:pt x="74" y="85"/>
                </a:cubicBezTo>
                <a:cubicBezTo>
                  <a:pt x="73" y="85"/>
                  <a:pt x="73" y="85"/>
                  <a:pt x="73" y="85"/>
                </a:cubicBezTo>
                <a:cubicBezTo>
                  <a:pt x="73" y="85"/>
                  <a:pt x="73" y="85"/>
                  <a:pt x="74" y="85"/>
                </a:cubicBezTo>
                <a:cubicBezTo>
                  <a:pt x="73" y="86"/>
                  <a:pt x="72" y="86"/>
                  <a:pt x="72" y="86"/>
                </a:cubicBezTo>
                <a:cubicBezTo>
                  <a:pt x="69" y="89"/>
                  <a:pt x="68" y="92"/>
                  <a:pt x="68" y="96"/>
                </a:cubicBezTo>
                <a:cubicBezTo>
                  <a:pt x="68" y="96"/>
                  <a:pt x="68" y="97"/>
                  <a:pt x="68" y="97"/>
                </a:cubicBezTo>
                <a:cubicBezTo>
                  <a:pt x="68" y="101"/>
                  <a:pt x="68" y="202"/>
                  <a:pt x="68" y="202"/>
                </a:cubicBezTo>
                <a:cubicBezTo>
                  <a:pt x="68" y="210"/>
                  <a:pt x="74" y="216"/>
                  <a:pt x="81" y="216"/>
                </a:cubicBezTo>
                <a:cubicBezTo>
                  <a:pt x="81" y="216"/>
                  <a:pt x="81" y="216"/>
                  <a:pt x="81" y="216"/>
                </a:cubicBezTo>
                <a:cubicBezTo>
                  <a:pt x="89" y="216"/>
                  <a:pt x="95" y="210"/>
                  <a:pt x="95" y="202"/>
                </a:cubicBezTo>
                <a:cubicBezTo>
                  <a:pt x="95" y="202"/>
                  <a:pt x="95" y="115"/>
                  <a:pt x="95" y="103"/>
                </a:cubicBezTo>
                <a:cubicBezTo>
                  <a:pt x="112" y="92"/>
                  <a:pt x="170" y="63"/>
                  <a:pt x="219" y="109"/>
                </a:cubicBezTo>
                <a:cubicBezTo>
                  <a:pt x="232" y="123"/>
                  <a:pt x="254" y="136"/>
                  <a:pt x="294" y="124"/>
                </a:cubicBezTo>
                <a:cubicBezTo>
                  <a:pt x="302" y="122"/>
                  <a:pt x="308" y="119"/>
                  <a:pt x="314" y="117"/>
                </a:cubicBezTo>
                <a:cubicBezTo>
                  <a:pt x="314" y="148"/>
                  <a:pt x="314" y="230"/>
                  <a:pt x="314" y="242"/>
                </a:cubicBezTo>
                <a:cubicBezTo>
                  <a:pt x="299" y="249"/>
                  <a:pt x="260" y="261"/>
                  <a:pt x="228" y="232"/>
                </a:cubicBezTo>
                <a:cubicBezTo>
                  <a:pt x="200" y="207"/>
                  <a:pt x="164" y="200"/>
                  <a:pt x="124" y="214"/>
                </a:cubicBezTo>
                <a:cubicBezTo>
                  <a:pt x="95" y="223"/>
                  <a:pt x="74" y="239"/>
                  <a:pt x="73" y="240"/>
                </a:cubicBezTo>
                <a:cubicBezTo>
                  <a:pt x="70" y="243"/>
                  <a:pt x="68" y="246"/>
                  <a:pt x="68" y="251"/>
                </a:cubicBezTo>
                <a:cubicBezTo>
                  <a:pt x="68" y="251"/>
                  <a:pt x="68" y="408"/>
                  <a:pt x="68" y="424"/>
                </a:cubicBezTo>
                <a:cubicBezTo>
                  <a:pt x="65" y="425"/>
                  <a:pt x="62" y="425"/>
                  <a:pt x="57" y="424"/>
                </a:cubicBezTo>
                <a:cubicBezTo>
                  <a:pt x="57" y="407"/>
                  <a:pt x="57" y="78"/>
                  <a:pt x="57" y="78"/>
                </a:cubicBezTo>
                <a:cubicBezTo>
                  <a:pt x="57" y="71"/>
                  <a:pt x="52" y="66"/>
                  <a:pt x="46" y="65"/>
                </a:cubicBezTo>
                <a:cubicBezTo>
                  <a:pt x="45" y="65"/>
                  <a:pt x="32" y="63"/>
                  <a:pt x="28" y="55"/>
                </a:cubicBezTo>
                <a:cubicBezTo>
                  <a:pt x="27" y="53"/>
                  <a:pt x="27" y="51"/>
                  <a:pt x="27" y="48"/>
                </a:cubicBezTo>
                <a:cubicBezTo>
                  <a:pt x="27" y="44"/>
                  <a:pt x="28" y="39"/>
                  <a:pt x="30" y="35"/>
                </a:cubicBezTo>
                <a:cubicBezTo>
                  <a:pt x="34" y="30"/>
                  <a:pt x="39" y="28"/>
                  <a:pt x="46" y="28"/>
                </a:cubicBezTo>
                <a:cubicBezTo>
                  <a:pt x="54" y="28"/>
                  <a:pt x="60" y="31"/>
                  <a:pt x="62" y="36"/>
                </a:cubicBezTo>
                <a:cubicBezTo>
                  <a:pt x="65" y="41"/>
                  <a:pt x="65" y="47"/>
                  <a:pt x="63" y="50"/>
                </a:cubicBezTo>
                <a:cubicBezTo>
                  <a:pt x="60" y="57"/>
                  <a:pt x="63" y="65"/>
                  <a:pt x="69" y="68"/>
                </a:cubicBezTo>
                <a:cubicBezTo>
                  <a:pt x="76" y="71"/>
                  <a:pt x="84" y="69"/>
                  <a:pt x="87" y="62"/>
                </a:cubicBezTo>
                <a:cubicBezTo>
                  <a:pt x="93" y="50"/>
                  <a:pt x="92" y="34"/>
                  <a:pt x="86" y="22"/>
                </a:cubicBezTo>
                <a:cubicBezTo>
                  <a:pt x="78" y="10"/>
                  <a:pt x="65" y="2"/>
                  <a:pt x="47" y="1"/>
                </a:cubicBezTo>
                <a:cubicBezTo>
                  <a:pt x="31" y="0"/>
                  <a:pt x="16" y="8"/>
                  <a:pt x="8" y="2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3" name="Freeform 183"/>
          <p:cNvSpPr>
            <a:spLocks/>
          </p:cNvSpPr>
          <p:nvPr userDrawn="1"/>
        </p:nvSpPr>
        <p:spPr bwMode="auto">
          <a:xfrm>
            <a:off x="854958" y="1306044"/>
            <a:ext cx="383481" cy="394097"/>
          </a:xfrm>
          <a:custGeom>
            <a:avLst/>
            <a:gdLst/>
            <a:ahLst/>
            <a:cxnLst>
              <a:cxn ang="0">
                <a:pos x="58" y="463"/>
              </a:cxn>
              <a:cxn ang="0">
                <a:pos x="54" y="452"/>
              </a:cxn>
              <a:cxn ang="0">
                <a:pos x="54" y="148"/>
              </a:cxn>
              <a:cxn ang="0">
                <a:pos x="4" y="144"/>
              </a:cxn>
              <a:cxn ang="0">
                <a:pos x="0" y="134"/>
              </a:cxn>
              <a:cxn ang="0">
                <a:pos x="0" y="71"/>
              </a:cxn>
              <a:cxn ang="0">
                <a:pos x="4" y="61"/>
              </a:cxn>
              <a:cxn ang="0">
                <a:pos x="14" y="57"/>
              </a:cxn>
              <a:cxn ang="0">
                <a:pos x="54" y="14"/>
              </a:cxn>
              <a:cxn ang="0">
                <a:pos x="58" y="4"/>
              </a:cxn>
              <a:cxn ang="0">
                <a:pos x="68" y="0"/>
              </a:cxn>
              <a:cxn ang="0">
                <a:pos x="143" y="14"/>
              </a:cxn>
              <a:cxn ang="0">
                <a:pos x="143" y="57"/>
              </a:cxn>
              <a:cxn ang="0">
                <a:pos x="454" y="71"/>
              </a:cxn>
              <a:cxn ang="0">
                <a:pos x="454" y="133"/>
              </a:cxn>
              <a:cxn ang="0">
                <a:pos x="450" y="143"/>
              </a:cxn>
              <a:cxn ang="0">
                <a:pos x="440" y="147"/>
              </a:cxn>
              <a:cxn ang="0">
                <a:pos x="142" y="157"/>
              </a:cxn>
              <a:cxn ang="0">
                <a:pos x="398" y="161"/>
              </a:cxn>
              <a:cxn ang="0">
                <a:pos x="402" y="171"/>
              </a:cxn>
              <a:cxn ang="0">
                <a:pos x="402" y="325"/>
              </a:cxn>
              <a:cxn ang="0">
                <a:pos x="398" y="335"/>
              </a:cxn>
              <a:cxn ang="0">
                <a:pos x="388" y="339"/>
              </a:cxn>
              <a:cxn ang="0">
                <a:pos x="119" y="335"/>
              </a:cxn>
              <a:cxn ang="0">
                <a:pos x="115" y="325"/>
              </a:cxn>
              <a:cxn ang="0">
                <a:pos x="115" y="219"/>
              </a:cxn>
              <a:cxn ang="0">
                <a:pos x="129" y="205"/>
              </a:cxn>
              <a:cxn ang="0">
                <a:pos x="143" y="219"/>
              </a:cxn>
              <a:cxn ang="0">
                <a:pos x="373" y="310"/>
              </a:cxn>
              <a:cxn ang="0">
                <a:pos x="128" y="185"/>
              </a:cxn>
              <a:cxn ang="0">
                <a:pos x="118" y="181"/>
              </a:cxn>
              <a:cxn ang="0">
                <a:pos x="113" y="171"/>
              </a:cxn>
              <a:cxn ang="0">
                <a:pos x="118" y="123"/>
              </a:cxn>
              <a:cxn ang="0">
                <a:pos x="128" y="119"/>
              </a:cxn>
              <a:cxn ang="0">
                <a:pos x="426" y="119"/>
              </a:cxn>
              <a:cxn ang="0">
                <a:pos x="129" y="85"/>
              </a:cxn>
              <a:cxn ang="0">
                <a:pos x="114" y="71"/>
              </a:cxn>
              <a:cxn ang="0">
                <a:pos x="82" y="28"/>
              </a:cxn>
              <a:cxn ang="0">
                <a:pos x="78" y="81"/>
              </a:cxn>
              <a:cxn ang="0">
                <a:pos x="68" y="85"/>
              </a:cxn>
              <a:cxn ang="0">
                <a:pos x="28" y="85"/>
              </a:cxn>
              <a:cxn ang="0">
                <a:pos x="68" y="119"/>
              </a:cxn>
              <a:cxn ang="0">
                <a:pos x="78" y="123"/>
              </a:cxn>
              <a:cxn ang="0">
                <a:pos x="82" y="134"/>
              </a:cxn>
              <a:cxn ang="0">
                <a:pos x="114" y="438"/>
              </a:cxn>
              <a:cxn ang="0">
                <a:pos x="129" y="357"/>
              </a:cxn>
              <a:cxn ang="0">
                <a:pos x="143" y="372"/>
              </a:cxn>
              <a:cxn ang="0">
                <a:pos x="143" y="452"/>
              </a:cxn>
              <a:cxn ang="0">
                <a:pos x="139" y="463"/>
              </a:cxn>
              <a:cxn ang="0">
                <a:pos x="129" y="467"/>
              </a:cxn>
            </a:cxnLst>
            <a:rect l="0" t="0" r="r" b="b"/>
            <a:pathLst>
              <a:path w="454" h="467">
                <a:moveTo>
                  <a:pt x="68" y="467"/>
                </a:moveTo>
                <a:cubicBezTo>
                  <a:pt x="64" y="467"/>
                  <a:pt x="60" y="465"/>
                  <a:pt x="58" y="463"/>
                </a:cubicBezTo>
                <a:cubicBezTo>
                  <a:pt x="58" y="463"/>
                  <a:pt x="58" y="463"/>
                  <a:pt x="58" y="463"/>
                </a:cubicBezTo>
                <a:cubicBezTo>
                  <a:pt x="55" y="460"/>
                  <a:pt x="54" y="456"/>
                  <a:pt x="54" y="452"/>
                </a:cubicBezTo>
                <a:cubicBezTo>
                  <a:pt x="54" y="452"/>
                  <a:pt x="54" y="452"/>
                  <a:pt x="54" y="452"/>
                </a:cubicBezTo>
                <a:cubicBezTo>
                  <a:pt x="54" y="148"/>
                  <a:pt x="54" y="148"/>
                  <a:pt x="54" y="148"/>
                </a:cubicBezTo>
                <a:cubicBezTo>
                  <a:pt x="14" y="148"/>
                  <a:pt x="14" y="148"/>
                  <a:pt x="14" y="148"/>
                </a:cubicBezTo>
                <a:cubicBezTo>
                  <a:pt x="10" y="148"/>
                  <a:pt x="7" y="146"/>
                  <a:pt x="4" y="144"/>
                </a:cubicBezTo>
                <a:cubicBezTo>
                  <a:pt x="4" y="144"/>
                  <a:pt x="4" y="144"/>
                  <a:pt x="4" y="144"/>
                </a:cubicBezTo>
                <a:cubicBezTo>
                  <a:pt x="1" y="141"/>
                  <a:pt x="0" y="137"/>
                  <a:pt x="0" y="134"/>
                </a:cubicBezTo>
                <a:cubicBezTo>
                  <a:pt x="0" y="134"/>
                  <a:pt x="0" y="134"/>
                  <a:pt x="0" y="134"/>
                </a:cubicBezTo>
                <a:cubicBezTo>
                  <a:pt x="0" y="71"/>
                  <a:pt x="0" y="71"/>
                  <a:pt x="0" y="71"/>
                </a:cubicBezTo>
                <a:cubicBezTo>
                  <a:pt x="0" y="67"/>
                  <a:pt x="1" y="64"/>
                  <a:pt x="4" y="61"/>
                </a:cubicBezTo>
                <a:cubicBezTo>
                  <a:pt x="4" y="61"/>
                  <a:pt x="4" y="61"/>
                  <a:pt x="4" y="61"/>
                </a:cubicBezTo>
                <a:cubicBezTo>
                  <a:pt x="7" y="58"/>
                  <a:pt x="10" y="57"/>
                  <a:pt x="14" y="57"/>
                </a:cubicBezTo>
                <a:cubicBezTo>
                  <a:pt x="14" y="57"/>
                  <a:pt x="14" y="57"/>
                  <a:pt x="14" y="57"/>
                </a:cubicBezTo>
                <a:cubicBezTo>
                  <a:pt x="54" y="57"/>
                  <a:pt x="54" y="57"/>
                  <a:pt x="54" y="57"/>
                </a:cubicBezTo>
                <a:cubicBezTo>
                  <a:pt x="54" y="14"/>
                  <a:pt x="54" y="14"/>
                  <a:pt x="54" y="14"/>
                </a:cubicBezTo>
                <a:cubicBezTo>
                  <a:pt x="54" y="10"/>
                  <a:pt x="55" y="7"/>
                  <a:pt x="58" y="4"/>
                </a:cubicBezTo>
                <a:cubicBezTo>
                  <a:pt x="58" y="4"/>
                  <a:pt x="58" y="4"/>
                  <a:pt x="58" y="4"/>
                </a:cubicBezTo>
                <a:cubicBezTo>
                  <a:pt x="61" y="2"/>
                  <a:pt x="64" y="0"/>
                  <a:pt x="68" y="0"/>
                </a:cubicBezTo>
                <a:cubicBezTo>
                  <a:pt x="68" y="0"/>
                  <a:pt x="68" y="0"/>
                  <a:pt x="68" y="0"/>
                </a:cubicBezTo>
                <a:cubicBezTo>
                  <a:pt x="129" y="0"/>
                  <a:pt x="129" y="0"/>
                  <a:pt x="129" y="0"/>
                </a:cubicBezTo>
                <a:cubicBezTo>
                  <a:pt x="136" y="0"/>
                  <a:pt x="143" y="6"/>
                  <a:pt x="143" y="14"/>
                </a:cubicBezTo>
                <a:cubicBezTo>
                  <a:pt x="143" y="14"/>
                  <a:pt x="143" y="14"/>
                  <a:pt x="143" y="14"/>
                </a:cubicBezTo>
                <a:cubicBezTo>
                  <a:pt x="143" y="57"/>
                  <a:pt x="143" y="57"/>
                  <a:pt x="143" y="57"/>
                </a:cubicBezTo>
                <a:cubicBezTo>
                  <a:pt x="440" y="57"/>
                  <a:pt x="440" y="57"/>
                  <a:pt x="440" y="57"/>
                </a:cubicBezTo>
                <a:cubicBezTo>
                  <a:pt x="448" y="57"/>
                  <a:pt x="454" y="63"/>
                  <a:pt x="454" y="71"/>
                </a:cubicBezTo>
                <a:cubicBezTo>
                  <a:pt x="454" y="71"/>
                  <a:pt x="454" y="71"/>
                  <a:pt x="454" y="71"/>
                </a:cubicBezTo>
                <a:cubicBezTo>
                  <a:pt x="454" y="133"/>
                  <a:pt x="454" y="133"/>
                  <a:pt x="454" y="133"/>
                </a:cubicBezTo>
                <a:cubicBezTo>
                  <a:pt x="454" y="137"/>
                  <a:pt x="453" y="140"/>
                  <a:pt x="450" y="143"/>
                </a:cubicBezTo>
                <a:cubicBezTo>
                  <a:pt x="450" y="143"/>
                  <a:pt x="450" y="143"/>
                  <a:pt x="450" y="143"/>
                </a:cubicBezTo>
                <a:cubicBezTo>
                  <a:pt x="448" y="146"/>
                  <a:pt x="444" y="147"/>
                  <a:pt x="440" y="147"/>
                </a:cubicBezTo>
                <a:cubicBezTo>
                  <a:pt x="440" y="147"/>
                  <a:pt x="440" y="147"/>
                  <a:pt x="440" y="147"/>
                </a:cubicBezTo>
                <a:cubicBezTo>
                  <a:pt x="142" y="147"/>
                  <a:pt x="142" y="147"/>
                  <a:pt x="142" y="147"/>
                </a:cubicBezTo>
                <a:cubicBezTo>
                  <a:pt x="142" y="157"/>
                  <a:pt x="142" y="157"/>
                  <a:pt x="142" y="157"/>
                </a:cubicBezTo>
                <a:cubicBezTo>
                  <a:pt x="388" y="157"/>
                  <a:pt x="388" y="157"/>
                  <a:pt x="388" y="157"/>
                </a:cubicBezTo>
                <a:cubicBezTo>
                  <a:pt x="391" y="157"/>
                  <a:pt x="395" y="158"/>
                  <a:pt x="398" y="161"/>
                </a:cubicBezTo>
                <a:cubicBezTo>
                  <a:pt x="398" y="161"/>
                  <a:pt x="398" y="161"/>
                  <a:pt x="398" y="161"/>
                </a:cubicBezTo>
                <a:cubicBezTo>
                  <a:pt x="400" y="164"/>
                  <a:pt x="402" y="167"/>
                  <a:pt x="402" y="171"/>
                </a:cubicBezTo>
                <a:cubicBezTo>
                  <a:pt x="402" y="171"/>
                  <a:pt x="402" y="171"/>
                  <a:pt x="402" y="171"/>
                </a:cubicBezTo>
                <a:cubicBezTo>
                  <a:pt x="402" y="325"/>
                  <a:pt x="402" y="325"/>
                  <a:pt x="402" y="325"/>
                </a:cubicBezTo>
                <a:cubicBezTo>
                  <a:pt x="402" y="328"/>
                  <a:pt x="400" y="332"/>
                  <a:pt x="398" y="335"/>
                </a:cubicBezTo>
                <a:cubicBezTo>
                  <a:pt x="398" y="335"/>
                  <a:pt x="398" y="335"/>
                  <a:pt x="398" y="335"/>
                </a:cubicBezTo>
                <a:cubicBezTo>
                  <a:pt x="395" y="337"/>
                  <a:pt x="391" y="339"/>
                  <a:pt x="388" y="339"/>
                </a:cubicBezTo>
                <a:cubicBezTo>
                  <a:pt x="388" y="339"/>
                  <a:pt x="388" y="339"/>
                  <a:pt x="388" y="339"/>
                </a:cubicBezTo>
                <a:cubicBezTo>
                  <a:pt x="129" y="339"/>
                  <a:pt x="129" y="339"/>
                  <a:pt x="129" y="339"/>
                </a:cubicBezTo>
                <a:cubicBezTo>
                  <a:pt x="125" y="339"/>
                  <a:pt x="122" y="337"/>
                  <a:pt x="119" y="335"/>
                </a:cubicBezTo>
                <a:cubicBezTo>
                  <a:pt x="119" y="335"/>
                  <a:pt x="119" y="335"/>
                  <a:pt x="119" y="335"/>
                </a:cubicBezTo>
                <a:cubicBezTo>
                  <a:pt x="116" y="332"/>
                  <a:pt x="115" y="328"/>
                  <a:pt x="115" y="325"/>
                </a:cubicBezTo>
                <a:cubicBezTo>
                  <a:pt x="115" y="325"/>
                  <a:pt x="115" y="325"/>
                  <a:pt x="115" y="325"/>
                </a:cubicBezTo>
                <a:cubicBezTo>
                  <a:pt x="115" y="219"/>
                  <a:pt x="115" y="219"/>
                  <a:pt x="115" y="219"/>
                </a:cubicBezTo>
                <a:cubicBezTo>
                  <a:pt x="115" y="212"/>
                  <a:pt x="121" y="205"/>
                  <a:pt x="129" y="205"/>
                </a:cubicBezTo>
                <a:cubicBezTo>
                  <a:pt x="129" y="205"/>
                  <a:pt x="129" y="205"/>
                  <a:pt x="129" y="205"/>
                </a:cubicBezTo>
                <a:cubicBezTo>
                  <a:pt x="137" y="205"/>
                  <a:pt x="143" y="212"/>
                  <a:pt x="143" y="219"/>
                </a:cubicBezTo>
                <a:cubicBezTo>
                  <a:pt x="143" y="219"/>
                  <a:pt x="143" y="219"/>
                  <a:pt x="143" y="219"/>
                </a:cubicBezTo>
                <a:cubicBezTo>
                  <a:pt x="143" y="310"/>
                  <a:pt x="143" y="310"/>
                  <a:pt x="143" y="310"/>
                </a:cubicBezTo>
                <a:cubicBezTo>
                  <a:pt x="373" y="310"/>
                  <a:pt x="373" y="310"/>
                  <a:pt x="373" y="310"/>
                </a:cubicBezTo>
                <a:cubicBezTo>
                  <a:pt x="373" y="185"/>
                  <a:pt x="373" y="185"/>
                  <a:pt x="373" y="185"/>
                </a:cubicBezTo>
                <a:cubicBezTo>
                  <a:pt x="128" y="185"/>
                  <a:pt x="128" y="185"/>
                  <a:pt x="128" y="185"/>
                </a:cubicBezTo>
                <a:cubicBezTo>
                  <a:pt x="124" y="185"/>
                  <a:pt x="120" y="184"/>
                  <a:pt x="118" y="181"/>
                </a:cubicBezTo>
                <a:cubicBezTo>
                  <a:pt x="118" y="181"/>
                  <a:pt x="118" y="181"/>
                  <a:pt x="118" y="181"/>
                </a:cubicBezTo>
                <a:cubicBezTo>
                  <a:pt x="115" y="179"/>
                  <a:pt x="113" y="175"/>
                  <a:pt x="113" y="171"/>
                </a:cubicBezTo>
                <a:cubicBezTo>
                  <a:pt x="113" y="171"/>
                  <a:pt x="113" y="171"/>
                  <a:pt x="113" y="171"/>
                </a:cubicBezTo>
                <a:cubicBezTo>
                  <a:pt x="113" y="133"/>
                  <a:pt x="113" y="133"/>
                  <a:pt x="113" y="133"/>
                </a:cubicBezTo>
                <a:cubicBezTo>
                  <a:pt x="113" y="129"/>
                  <a:pt x="115" y="125"/>
                  <a:pt x="118" y="123"/>
                </a:cubicBezTo>
                <a:cubicBezTo>
                  <a:pt x="118" y="123"/>
                  <a:pt x="118" y="123"/>
                  <a:pt x="118" y="123"/>
                </a:cubicBezTo>
                <a:cubicBezTo>
                  <a:pt x="120" y="120"/>
                  <a:pt x="124" y="119"/>
                  <a:pt x="128" y="119"/>
                </a:cubicBezTo>
                <a:cubicBezTo>
                  <a:pt x="128" y="119"/>
                  <a:pt x="128" y="119"/>
                  <a:pt x="128" y="119"/>
                </a:cubicBezTo>
                <a:cubicBezTo>
                  <a:pt x="426" y="119"/>
                  <a:pt x="426" y="119"/>
                  <a:pt x="426" y="119"/>
                </a:cubicBezTo>
                <a:cubicBezTo>
                  <a:pt x="426" y="85"/>
                  <a:pt x="426" y="85"/>
                  <a:pt x="426" y="85"/>
                </a:cubicBezTo>
                <a:cubicBezTo>
                  <a:pt x="129" y="85"/>
                  <a:pt x="129" y="85"/>
                  <a:pt x="129" y="85"/>
                </a:cubicBezTo>
                <a:cubicBezTo>
                  <a:pt x="121" y="85"/>
                  <a:pt x="114" y="79"/>
                  <a:pt x="114" y="71"/>
                </a:cubicBezTo>
                <a:cubicBezTo>
                  <a:pt x="114" y="71"/>
                  <a:pt x="114" y="71"/>
                  <a:pt x="114" y="71"/>
                </a:cubicBezTo>
                <a:cubicBezTo>
                  <a:pt x="114" y="28"/>
                  <a:pt x="114" y="28"/>
                  <a:pt x="114" y="28"/>
                </a:cubicBezTo>
                <a:cubicBezTo>
                  <a:pt x="82" y="28"/>
                  <a:pt x="82" y="28"/>
                  <a:pt x="82" y="28"/>
                </a:cubicBezTo>
                <a:cubicBezTo>
                  <a:pt x="82" y="71"/>
                  <a:pt x="82" y="71"/>
                  <a:pt x="82" y="71"/>
                </a:cubicBezTo>
                <a:cubicBezTo>
                  <a:pt x="82" y="75"/>
                  <a:pt x="81" y="78"/>
                  <a:pt x="78" y="81"/>
                </a:cubicBezTo>
                <a:cubicBezTo>
                  <a:pt x="78" y="81"/>
                  <a:pt x="78" y="81"/>
                  <a:pt x="78" y="81"/>
                </a:cubicBezTo>
                <a:cubicBezTo>
                  <a:pt x="75" y="84"/>
                  <a:pt x="72" y="85"/>
                  <a:pt x="68" y="85"/>
                </a:cubicBezTo>
                <a:cubicBezTo>
                  <a:pt x="68" y="85"/>
                  <a:pt x="68" y="85"/>
                  <a:pt x="68" y="85"/>
                </a:cubicBezTo>
                <a:cubicBezTo>
                  <a:pt x="28" y="85"/>
                  <a:pt x="28" y="85"/>
                  <a:pt x="28" y="85"/>
                </a:cubicBezTo>
                <a:cubicBezTo>
                  <a:pt x="28" y="119"/>
                  <a:pt x="28" y="119"/>
                  <a:pt x="28" y="119"/>
                </a:cubicBezTo>
                <a:cubicBezTo>
                  <a:pt x="68" y="119"/>
                  <a:pt x="68" y="119"/>
                  <a:pt x="68" y="119"/>
                </a:cubicBezTo>
                <a:cubicBezTo>
                  <a:pt x="72" y="119"/>
                  <a:pt x="75" y="121"/>
                  <a:pt x="78" y="123"/>
                </a:cubicBezTo>
                <a:cubicBezTo>
                  <a:pt x="78" y="123"/>
                  <a:pt x="78" y="123"/>
                  <a:pt x="78" y="123"/>
                </a:cubicBezTo>
                <a:cubicBezTo>
                  <a:pt x="81" y="126"/>
                  <a:pt x="82" y="130"/>
                  <a:pt x="82" y="134"/>
                </a:cubicBezTo>
                <a:cubicBezTo>
                  <a:pt x="82" y="134"/>
                  <a:pt x="82" y="134"/>
                  <a:pt x="82" y="134"/>
                </a:cubicBezTo>
                <a:cubicBezTo>
                  <a:pt x="82" y="438"/>
                  <a:pt x="82" y="438"/>
                  <a:pt x="82" y="438"/>
                </a:cubicBezTo>
                <a:cubicBezTo>
                  <a:pt x="114" y="438"/>
                  <a:pt x="114" y="438"/>
                  <a:pt x="114" y="438"/>
                </a:cubicBezTo>
                <a:cubicBezTo>
                  <a:pt x="114" y="372"/>
                  <a:pt x="114" y="372"/>
                  <a:pt x="114" y="372"/>
                </a:cubicBezTo>
                <a:cubicBezTo>
                  <a:pt x="114" y="364"/>
                  <a:pt x="121" y="357"/>
                  <a:pt x="129" y="357"/>
                </a:cubicBezTo>
                <a:cubicBezTo>
                  <a:pt x="129" y="357"/>
                  <a:pt x="129" y="357"/>
                  <a:pt x="129" y="357"/>
                </a:cubicBezTo>
                <a:cubicBezTo>
                  <a:pt x="136" y="357"/>
                  <a:pt x="143" y="364"/>
                  <a:pt x="143" y="372"/>
                </a:cubicBezTo>
                <a:cubicBezTo>
                  <a:pt x="143" y="372"/>
                  <a:pt x="143" y="372"/>
                  <a:pt x="143" y="372"/>
                </a:cubicBezTo>
                <a:cubicBezTo>
                  <a:pt x="143" y="452"/>
                  <a:pt x="143" y="452"/>
                  <a:pt x="143" y="452"/>
                </a:cubicBezTo>
                <a:cubicBezTo>
                  <a:pt x="143" y="456"/>
                  <a:pt x="141" y="460"/>
                  <a:pt x="139" y="463"/>
                </a:cubicBezTo>
                <a:cubicBezTo>
                  <a:pt x="139" y="463"/>
                  <a:pt x="139" y="463"/>
                  <a:pt x="139" y="463"/>
                </a:cubicBezTo>
                <a:cubicBezTo>
                  <a:pt x="136" y="465"/>
                  <a:pt x="132" y="467"/>
                  <a:pt x="129" y="467"/>
                </a:cubicBezTo>
                <a:cubicBezTo>
                  <a:pt x="129" y="467"/>
                  <a:pt x="129" y="467"/>
                  <a:pt x="129" y="467"/>
                </a:cubicBezTo>
                <a:cubicBezTo>
                  <a:pt x="68" y="467"/>
                  <a:pt x="68" y="467"/>
                  <a:pt x="68" y="46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 name="Freeform 187"/>
          <p:cNvSpPr>
            <a:spLocks/>
          </p:cNvSpPr>
          <p:nvPr userDrawn="1"/>
        </p:nvSpPr>
        <p:spPr bwMode="auto">
          <a:xfrm>
            <a:off x="855552" y="1843250"/>
            <a:ext cx="382291" cy="276225"/>
          </a:xfrm>
          <a:custGeom>
            <a:avLst/>
            <a:gdLst/>
            <a:ahLst/>
            <a:cxnLst>
              <a:cxn ang="0">
                <a:pos x="398" y="134"/>
              </a:cxn>
              <a:cxn ang="0">
                <a:pos x="408" y="93"/>
              </a:cxn>
              <a:cxn ang="0">
                <a:pos x="395" y="79"/>
              </a:cxn>
              <a:cxn ang="0">
                <a:pos x="303" y="93"/>
              </a:cxn>
              <a:cxn ang="0">
                <a:pos x="377" y="106"/>
              </a:cxn>
              <a:cxn ang="0">
                <a:pos x="367" y="147"/>
              </a:cxn>
              <a:cxn ang="0">
                <a:pos x="381" y="161"/>
              </a:cxn>
              <a:cxn ang="0">
                <a:pos x="426" y="241"/>
              </a:cxn>
              <a:cxn ang="0">
                <a:pos x="349" y="214"/>
              </a:cxn>
              <a:cxn ang="0">
                <a:pos x="329" y="232"/>
              </a:cxn>
              <a:cxn ang="0">
                <a:pos x="300" y="301"/>
              </a:cxn>
              <a:cxn ang="0">
                <a:pos x="260" y="251"/>
              </a:cxn>
              <a:cxn ang="0">
                <a:pos x="246" y="234"/>
              </a:cxn>
              <a:cxn ang="0">
                <a:pos x="154" y="234"/>
              </a:cxn>
              <a:cxn ang="0">
                <a:pos x="121" y="213"/>
              </a:cxn>
              <a:cxn ang="0">
                <a:pos x="132" y="260"/>
              </a:cxn>
              <a:cxn ang="0">
                <a:pos x="50" y="260"/>
              </a:cxn>
              <a:cxn ang="0">
                <a:pos x="62" y="231"/>
              </a:cxn>
              <a:cxn ang="0">
                <a:pos x="64" y="223"/>
              </a:cxn>
              <a:cxn ang="0">
                <a:pos x="55" y="175"/>
              </a:cxn>
              <a:cxn ang="0">
                <a:pos x="28" y="164"/>
              </a:cxn>
              <a:cxn ang="0">
                <a:pos x="294" y="81"/>
              </a:cxn>
              <a:cxn ang="0">
                <a:pos x="345" y="49"/>
              </a:cxn>
              <a:cxn ang="0">
                <a:pos x="449" y="15"/>
              </a:cxn>
              <a:cxn ang="0">
                <a:pos x="433" y="2"/>
              </a:cxn>
              <a:cxn ang="0">
                <a:pos x="332" y="25"/>
              </a:cxn>
              <a:cxn ang="0">
                <a:pos x="19" y="99"/>
              </a:cxn>
              <a:cxn ang="0">
                <a:pos x="0" y="164"/>
              </a:cxn>
              <a:cxn ang="0">
                <a:pos x="1" y="171"/>
              </a:cxn>
              <a:cxn ang="0">
                <a:pos x="14" y="189"/>
              </a:cxn>
              <a:cxn ang="0">
                <a:pos x="37" y="219"/>
              </a:cxn>
              <a:cxn ang="0">
                <a:pos x="91" y="328"/>
              </a:cxn>
              <a:cxn ang="0">
                <a:pos x="232" y="261"/>
              </a:cxn>
              <a:cxn ang="0">
                <a:pos x="365" y="277"/>
              </a:cxn>
              <a:cxn ang="0">
                <a:pos x="453" y="253"/>
              </a:cxn>
              <a:cxn ang="0">
                <a:pos x="440" y="134"/>
              </a:cxn>
            </a:cxnLst>
            <a:rect l="0" t="0" r="r" b="b"/>
            <a:pathLst>
              <a:path w="453" h="328">
                <a:moveTo>
                  <a:pt x="440" y="134"/>
                </a:moveTo>
                <a:cubicBezTo>
                  <a:pt x="440" y="134"/>
                  <a:pt x="416" y="134"/>
                  <a:pt x="398" y="134"/>
                </a:cubicBezTo>
                <a:cubicBezTo>
                  <a:pt x="402" y="118"/>
                  <a:pt x="408" y="96"/>
                  <a:pt x="408" y="96"/>
                </a:cubicBezTo>
                <a:cubicBezTo>
                  <a:pt x="408" y="95"/>
                  <a:pt x="408" y="94"/>
                  <a:pt x="408" y="93"/>
                </a:cubicBezTo>
                <a:cubicBezTo>
                  <a:pt x="408" y="90"/>
                  <a:pt x="407" y="87"/>
                  <a:pt x="406" y="84"/>
                </a:cubicBezTo>
                <a:cubicBezTo>
                  <a:pt x="403" y="81"/>
                  <a:pt x="399" y="79"/>
                  <a:pt x="395" y="79"/>
                </a:cubicBezTo>
                <a:cubicBezTo>
                  <a:pt x="317" y="79"/>
                  <a:pt x="317" y="79"/>
                  <a:pt x="317" y="79"/>
                </a:cubicBezTo>
                <a:cubicBezTo>
                  <a:pt x="309" y="79"/>
                  <a:pt x="303" y="85"/>
                  <a:pt x="303" y="93"/>
                </a:cubicBezTo>
                <a:cubicBezTo>
                  <a:pt x="303" y="100"/>
                  <a:pt x="309" y="106"/>
                  <a:pt x="317" y="106"/>
                </a:cubicBezTo>
                <a:cubicBezTo>
                  <a:pt x="317" y="106"/>
                  <a:pt x="356" y="106"/>
                  <a:pt x="377" y="106"/>
                </a:cubicBezTo>
                <a:cubicBezTo>
                  <a:pt x="373" y="122"/>
                  <a:pt x="368" y="144"/>
                  <a:pt x="368" y="144"/>
                </a:cubicBezTo>
                <a:cubicBezTo>
                  <a:pt x="367" y="145"/>
                  <a:pt x="367" y="146"/>
                  <a:pt x="367" y="147"/>
                </a:cubicBezTo>
                <a:cubicBezTo>
                  <a:pt x="367" y="150"/>
                  <a:pt x="368" y="153"/>
                  <a:pt x="370" y="155"/>
                </a:cubicBezTo>
                <a:cubicBezTo>
                  <a:pt x="373" y="159"/>
                  <a:pt x="377" y="161"/>
                  <a:pt x="381" y="161"/>
                </a:cubicBezTo>
                <a:cubicBezTo>
                  <a:pt x="381" y="161"/>
                  <a:pt x="410" y="161"/>
                  <a:pt x="426" y="161"/>
                </a:cubicBezTo>
                <a:cubicBezTo>
                  <a:pt x="426" y="241"/>
                  <a:pt x="426" y="241"/>
                  <a:pt x="426" y="241"/>
                </a:cubicBezTo>
                <a:cubicBezTo>
                  <a:pt x="414" y="243"/>
                  <a:pt x="384" y="247"/>
                  <a:pt x="367" y="249"/>
                </a:cubicBezTo>
                <a:cubicBezTo>
                  <a:pt x="364" y="236"/>
                  <a:pt x="358" y="224"/>
                  <a:pt x="349" y="214"/>
                </a:cubicBezTo>
                <a:cubicBezTo>
                  <a:pt x="344" y="208"/>
                  <a:pt x="335" y="208"/>
                  <a:pt x="330" y="213"/>
                </a:cubicBezTo>
                <a:cubicBezTo>
                  <a:pt x="324" y="218"/>
                  <a:pt x="324" y="227"/>
                  <a:pt x="329" y="232"/>
                </a:cubicBezTo>
                <a:cubicBezTo>
                  <a:pt x="336" y="240"/>
                  <a:pt x="340" y="250"/>
                  <a:pt x="340" y="260"/>
                </a:cubicBezTo>
                <a:cubicBezTo>
                  <a:pt x="340" y="283"/>
                  <a:pt x="322" y="301"/>
                  <a:pt x="300" y="301"/>
                </a:cubicBezTo>
                <a:cubicBezTo>
                  <a:pt x="277" y="301"/>
                  <a:pt x="259" y="283"/>
                  <a:pt x="259" y="260"/>
                </a:cubicBezTo>
                <a:cubicBezTo>
                  <a:pt x="259" y="257"/>
                  <a:pt x="259" y="254"/>
                  <a:pt x="260" y="251"/>
                </a:cubicBezTo>
                <a:cubicBezTo>
                  <a:pt x="261" y="247"/>
                  <a:pt x="260" y="243"/>
                  <a:pt x="257" y="239"/>
                </a:cubicBezTo>
                <a:cubicBezTo>
                  <a:pt x="255" y="236"/>
                  <a:pt x="251" y="234"/>
                  <a:pt x="246" y="234"/>
                </a:cubicBezTo>
                <a:cubicBezTo>
                  <a:pt x="245" y="234"/>
                  <a:pt x="245" y="234"/>
                  <a:pt x="245" y="234"/>
                </a:cubicBezTo>
                <a:cubicBezTo>
                  <a:pt x="154" y="234"/>
                  <a:pt x="154" y="234"/>
                  <a:pt x="154" y="234"/>
                </a:cubicBezTo>
                <a:cubicBezTo>
                  <a:pt x="150" y="227"/>
                  <a:pt x="146" y="219"/>
                  <a:pt x="140" y="213"/>
                </a:cubicBezTo>
                <a:cubicBezTo>
                  <a:pt x="134" y="208"/>
                  <a:pt x="126" y="208"/>
                  <a:pt x="121" y="213"/>
                </a:cubicBezTo>
                <a:cubicBezTo>
                  <a:pt x="115" y="218"/>
                  <a:pt x="115" y="226"/>
                  <a:pt x="120" y="232"/>
                </a:cubicBezTo>
                <a:cubicBezTo>
                  <a:pt x="128" y="239"/>
                  <a:pt x="132" y="250"/>
                  <a:pt x="132" y="260"/>
                </a:cubicBezTo>
                <a:cubicBezTo>
                  <a:pt x="132" y="283"/>
                  <a:pt x="113" y="301"/>
                  <a:pt x="91" y="301"/>
                </a:cubicBezTo>
                <a:cubicBezTo>
                  <a:pt x="68" y="301"/>
                  <a:pt x="50" y="283"/>
                  <a:pt x="50" y="260"/>
                </a:cubicBezTo>
                <a:cubicBezTo>
                  <a:pt x="50" y="250"/>
                  <a:pt x="54" y="241"/>
                  <a:pt x="60" y="233"/>
                </a:cubicBezTo>
                <a:cubicBezTo>
                  <a:pt x="61" y="232"/>
                  <a:pt x="61" y="231"/>
                  <a:pt x="62" y="231"/>
                </a:cubicBezTo>
                <a:cubicBezTo>
                  <a:pt x="63" y="229"/>
                  <a:pt x="63" y="229"/>
                  <a:pt x="63" y="229"/>
                </a:cubicBezTo>
                <a:cubicBezTo>
                  <a:pt x="64" y="227"/>
                  <a:pt x="64" y="225"/>
                  <a:pt x="64" y="223"/>
                </a:cubicBezTo>
                <a:cubicBezTo>
                  <a:pt x="64" y="188"/>
                  <a:pt x="64" y="188"/>
                  <a:pt x="64" y="188"/>
                </a:cubicBezTo>
                <a:cubicBezTo>
                  <a:pt x="64" y="182"/>
                  <a:pt x="61" y="177"/>
                  <a:pt x="55" y="175"/>
                </a:cubicBezTo>
                <a:cubicBezTo>
                  <a:pt x="55" y="175"/>
                  <a:pt x="36" y="168"/>
                  <a:pt x="28" y="165"/>
                </a:cubicBezTo>
                <a:cubicBezTo>
                  <a:pt x="28" y="164"/>
                  <a:pt x="28" y="164"/>
                  <a:pt x="28" y="164"/>
                </a:cubicBezTo>
                <a:cubicBezTo>
                  <a:pt x="28" y="158"/>
                  <a:pt x="31" y="136"/>
                  <a:pt x="33" y="124"/>
                </a:cubicBezTo>
                <a:cubicBezTo>
                  <a:pt x="51" y="121"/>
                  <a:pt x="294" y="81"/>
                  <a:pt x="294" y="81"/>
                </a:cubicBezTo>
                <a:cubicBezTo>
                  <a:pt x="296" y="81"/>
                  <a:pt x="298" y="80"/>
                  <a:pt x="299" y="79"/>
                </a:cubicBezTo>
                <a:cubicBezTo>
                  <a:pt x="299" y="79"/>
                  <a:pt x="341" y="52"/>
                  <a:pt x="345" y="49"/>
                </a:cubicBezTo>
                <a:cubicBezTo>
                  <a:pt x="350" y="48"/>
                  <a:pt x="439" y="29"/>
                  <a:pt x="439" y="29"/>
                </a:cubicBezTo>
                <a:cubicBezTo>
                  <a:pt x="445" y="27"/>
                  <a:pt x="449" y="22"/>
                  <a:pt x="449" y="15"/>
                </a:cubicBezTo>
                <a:cubicBezTo>
                  <a:pt x="449" y="14"/>
                  <a:pt x="449" y="13"/>
                  <a:pt x="449" y="12"/>
                </a:cubicBezTo>
                <a:cubicBezTo>
                  <a:pt x="447" y="5"/>
                  <a:pt x="440" y="0"/>
                  <a:pt x="433" y="2"/>
                </a:cubicBezTo>
                <a:cubicBezTo>
                  <a:pt x="337" y="24"/>
                  <a:pt x="337" y="24"/>
                  <a:pt x="337" y="24"/>
                </a:cubicBezTo>
                <a:cubicBezTo>
                  <a:pt x="335" y="24"/>
                  <a:pt x="334" y="25"/>
                  <a:pt x="332" y="25"/>
                </a:cubicBezTo>
                <a:cubicBezTo>
                  <a:pt x="332" y="25"/>
                  <a:pt x="291" y="52"/>
                  <a:pt x="287" y="55"/>
                </a:cubicBezTo>
                <a:cubicBezTo>
                  <a:pt x="281" y="56"/>
                  <a:pt x="19" y="99"/>
                  <a:pt x="19" y="99"/>
                </a:cubicBezTo>
                <a:cubicBezTo>
                  <a:pt x="13" y="100"/>
                  <a:pt x="8" y="104"/>
                  <a:pt x="7" y="110"/>
                </a:cubicBezTo>
                <a:cubicBezTo>
                  <a:pt x="0" y="164"/>
                  <a:pt x="0" y="164"/>
                  <a:pt x="0" y="164"/>
                </a:cubicBezTo>
                <a:cubicBezTo>
                  <a:pt x="0" y="164"/>
                  <a:pt x="0" y="165"/>
                  <a:pt x="0" y="166"/>
                </a:cubicBezTo>
                <a:cubicBezTo>
                  <a:pt x="0" y="168"/>
                  <a:pt x="1" y="170"/>
                  <a:pt x="1" y="171"/>
                </a:cubicBezTo>
                <a:cubicBezTo>
                  <a:pt x="6" y="182"/>
                  <a:pt x="6" y="182"/>
                  <a:pt x="6" y="182"/>
                </a:cubicBezTo>
                <a:cubicBezTo>
                  <a:pt x="8" y="185"/>
                  <a:pt x="10" y="187"/>
                  <a:pt x="14" y="189"/>
                </a:cubicBezTo>
                <a:cubicBezTo>
                  <a:pt x="14" y="189"/>
                  <a:pt x="28" y="194"/>
                  <a:pt x="37" y="197"/>
                </a:cubicBezTo>
                <a:cubicBezTo>
                  <a:pt x="37" y="219"/>
                  <a:pt x="37" y="219"/>
                  <a:pt x="37" y="219"/>
                </a:cubicBezTo>
                <a:cubicBezTo>
                  <a:pt x="28" y="231"/>
                  <a:pt x="23" y="245"/>
                  <a:pt x="23" y="260"/>
                </a:cubicBezTo>
                <a:cubicBezTo>
                  <a:pt x="23" y="298"/>
                  <a:pt x="53" y="328"/>
                  <a:pt x="91" y="328"/>
                </a:cubicBezTo>
                <a:cubicBezTo>
                  <a:pt x="128" y="328"/>
                  <a:pt x="158" y="298"/>
                  <a:pt x="159" y="261"/>
                </a:cubicBezTo>
                <a:cubicBezTo>
                  <a:pt x="232" y="261"/>
                  <a:pt x="232" y="261"/>
                  <a:pt x="232" y="261"/>
                </a:cubicBezTo>
                <a:cubicBezTo>
                  <a:pt x="233" y="298"/>
                  <a:pt x="263" y="328"/>
                  <a:pt x="300" y="328"/>
                </a:cubicBezTo>
                <a:cubicBezTo>
                  <a:pt x="331" y="328"/>
                  <a:pt x="358" y="306"/>
                  <a:pt x="365" y="277"/>
                </a:cubicBezTo>
                <a:cubicBezTo>
                  <a:pt x="442" y="266"/>
                  <a:pt x="442" y="266"/>
                  <a:pt x="442" y="266"/>
                </a:cubicBezTo>
                <a:cubicBezTo>
                  <a:pt x="448" y="265"/>
                  <a:pt x="453" y="260"/>
                  <a:pt x="453" y="253"/>
                </a:cubicBezTo>
                <a:cubicBezTo>
                  <a:pt x="453" y="147"/>
                  <a:pt x="453" y="147"/>
                  <a:pt x="453" y="147"/>
                </a:cubicBezTo>
                <a:cubicBezTo>
                  <a:pt x="453" y="140"/>
                  <a:pt x="447" y="134"/>
                  <a:pt x="440" y="13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5" name="Freeform 203"/>
          <p:cNvSpPr>
            <a:spLocks/>
          </p:cNvSpPr>
          <p:nvPr userDrawn="1"/>
        </p:nvSpPr>
        <p:spPr bwMode="auto">
          <a:xfrm>
            <a:off x="848406" y="3303008"/>
            <a:ext cx="396582" cy="385763"/>
          </a:xfrm>
          <a:custGeom>
            <a:avLst/>
            <a:gdLst/>
            <a:ahLst/>
            <a:cxnLst>
              <a:cxn ang="0">
                <a:pos x="217" y="41"/>
              </a:cxn>
              <a:cxn ang="0">
                <a:pos x="184" y="188"/>
              </a:cxn>
              <a:cxn ang="0">
                <a:pos x="0" y="389"/>
              </a:cxn>
              <a:cxn ang="0">
                <a:pos x="5" y="453"/>
              </a:cxn>
              <a:cxn ang="0">
                <a:pos x="14" y="457"/>
              </a:cxn>
              <a:cxn ang="0">
                <a:pos x="88" y="453"/>
              </a:cxn>
              <a:cxn ang="0">
                <a:pos x="112" y="429"/>
              </a:cxn>
              <a:cxn ang="0">
                <a:pos x="113" y="410"/>
              </a:cxn>
              <a:cxn ang="0">
                <a:pos x="132" y="391"/>
              </a:cxn>
              <a:cxn ang="0">
                <a:pos x="172" y="370"/>
              </a:cxn>
              <a:cxn ang="0">
                <a:pos x="175" y="365"/>
              </a:cxn>
              <a:cxn ang="0">
                <a:pos x="172" y="339"/>
              </a:cxn>
              <a:cxn ang="0">
                <a:pos x="184" y="339"/>
              </a:cxn>
              <a:cxn ang="0">
                <a:pos x="203" y="339"/>
              </a:cxn>
              <a:cxn ang="0">
                <a:pos x="416" y="240"/>
              </a:cxn>
              <a:cxn ang="0">
                <a:pos x="425" y="73"/>
              </a:cxn>
              <a:cxn ang="0">
                <a:pos x="397" y="221"/>
              </a:cxn>
              <a:cxn ang="0">
                <a:pos x="266" y="244"/>
              </a:cxn>
              <a:cxn ang="0">
                <a:pos x="255" y="248"/>
              </a:cxn>
              <a:cxn ang="0">
                <a:pos x="178" y="310"/>
              </a:cxn>
              <a:cxn ang="0">
                <a:pos x="143" y="345"/>
              </a:cxn>
              <a:cxn ang="0">
                <a:pos x="140" y="364"/>
              </a:cxn>
              <a:cxn ang="0">
                <a:pos x="82" y="400"/>
              </a:cxn>
              <a:cxn ang="0">
                <a:pos x="73" y="430"/>
              </a:cxn>
              <a:cxn ang="0">
                <a:pos x="26" y="394"/>
              </a:cxn>
              <a:cxn ang="0">
                <a:pos x="212" y="194"/>
              </a:cxn>
              <a:cxn ang="0">
                <a:pos x="213" y="190"/>
              </a:cxn>
              <a:cxn ang="0">
                <a:pos x="202" y="140"/>
              </a:cxn>
              <a:cxn ang="0">
                <a:pos x="316" y="27"/>
              </a:cxn>
              <a:cxn ang="0">
                <a:pos x="373" y="65"/>
              </a:cxn>
              <a:cxn ang="0">
                <a:pos x="334" y="123"/>
              </a:cxn>
              <a:cxn ang="0">
                <a:pos x="383" y="109"/>
              </a:cxn>
              <a:cxn ang="0">
                <a:pos x="352" y="104"/>
              </a:cxn>
              <a:cxn ang="0">
                <a:pos x="365" y="91"/>
              </a:cxn>
              <a:cxn ang="0">
                <a:pos x="384" y="92"/>
              </a:cxn>
              <a:cxn ang="0">
                <a:pos x="418" y="46"/>
              </a:cxn>
              <a:cxn ang="0">
                <a:pos x="414" y="40"/>
              </a:cxn>
            </a:cxnLst>
            <a:rect l="0" t="0" r="r" b="b"/>
            <a:pathLst>
              <a:path w="469" h="457">
                <a:moveTo>
                  <a:pt x="315" y="0"/>
                </a:moveTo>
                <a:cubicBezTo>
                  <a:pt x="278" y="0"/>
                  <a:pt x="243" y="15"/>
                  <a:pt x="217" y="41"/>
                </a:cubicBezTo>
                <a:cubicBezTo>
                  <a:pt x="190" y="68"/>
                  <a:pt x="176" y="104"/>
                  <a:pt x="176" y="140"/>
                </a:cubicBezTo>
                <a:cubicBezTo>
                  <a:pt x="176" y="156"/>
                  <a:pt x="179" y="173"/>
                  <a:pt x="184" y="188"/>
                </a:cubicBezTo>
                <a:cubicBezTo>
                  <a:pt x="175" y="198"/>
                  <a:pt x="3" y="380"/>
                  <a:pt x="3" y="380"/>
                </a:cubicBezTo>
                <a:cubicBezTo>
                  <a:pt x="1" y="382"/>
                  <a:pt x="0" y="385"/>
                  <a:pt x="0" y="389"/>
                </a:cubicBezTo>
                <a:cubicBezTo>
                  <a:pt x="0" y="443"/>
                  <a:pt x="0" y="443"/>
                  <a:pt x="0" y="443"/>
                </a:cubicBezTo>
                <a:cubicBezTo>
                  <a:pt x="0" y="447"/>
                  <a:pt x="2" y="451"/>
                  <a:pt x="5" y="453"/>
                </a:cubicBezTo>
                <a:cubicBezTo>
                  <a:pt x="6" y="454"/>
                  <a:pt x="6" y="454"/>
                  <a:pt x="6" y="454"/>
                </a:cubicBezTo>
                <a:cubicBezTo>
                  <a:pt x="8" y="456"/>
                  <a:pt x="11" y="457"/>
                  <a:pt x="14" y="457"/>
                </a:cubicBezTo>
                <a:cubicBezTo>
                  <a:pt x="78" y="457"/>
                  <a:pt x="78" y="457"/>
                  <a:pt x="78" y="457"/>
                </a:cubicBezTo>
                <a:cubicBezTo>
                  <a:pt x="82" y="457"/>
                  <a:pt x="85" y="455"/>
                  <a:pt x="88" y="453"/>
                </a:cubicBezTo>
                <a:cubicBezTo>
                  <a:pt x="112" y="430"/>
                  <a:pt x="112" y="430"/>
                  <a:pt x="112" y="430"/>
                </a:cubicBezTo>
                <a:cubicBezTo>
                  <a:pt x="112" y="430"/>
                  <a:pt x="112" y="429"/>
                  <a:pt x="112" y="429"/>
                </a:cubicBezTo>
                <a:cubicBezTo>
                  <a:pt x="113" y="429"/>
                  <a:pt x="113" y="429"/>
                  <a:pt x="113" y="429"/>
                </a:cubicBezTo>
                <a:cubicBezTo>
                  <a:pt x="118" y="423"/>
                  <a:pt x="118" y="415"/>
                  <a:pt x="113" y="410"/>
                </a:cubicBezTo>
                <a:cubicBezTo>
                  <a:pt x="107" y="405"/>
                  <a:pt x="107" y="396"/>
                  <a:pt x="113" y="391"/>
                </a:cubicBezTo>
                <a:cubicBezTo>
                  <a:pt x="118" y="385"/>
                  <a:pt x="127" y="385"/>
                  <a:pt x="132" y="391"/>
                </a:cubicBezTo>
                <a:cubicBezTo>
                  <a:pt x="137" y="396"/>
                  <a:pt x="146" y="396"/>
                  <a:pt x="151" y="391"/>
                </a:cubicBezTo>
                <a:cubicBezTo>
                  <a:pt x="172" y="370"/>
                  <a:pt x="172" y="370"/>
                  <a:pt x="172" y="370"/>
                </a:cubicBezTo>
                <a:cubicBezTo>
                  <a:pt x="173" y="368"/>
                  <a:pt x="174" y="367"/>
                  <a:pt x="175" y="365"/>
                </a:cubicBezTo>
                <a:cubicBezTo>
                  <a:pt x="175" y="365"/>
                  <a:pt x="175" y="365"/>
                  <a:pt x="175" y="365"/>
                </a:cubicBezTo>
                <a:cubicBezTo>
                  <a:pt x="177" y="360"/>
                  <a:pt x="176" y="354"/>
                  <a:pt x="172" y="350"/>
                </a:cubicBezTo>
                <a:cubicBezTo>
                  <a:pt x="169" y="347"/>
                  <a:pt x="169" y="342"/>
                  <a:pt x="172" y="339"/>
                </a:cubicBezTo>
                <a:cubicBezTo>
                  <a:pt x="174" y="337"/>
                  <a:pt x="176" y="336"/>
                  <a:pt x="178" y="336"/>
                </a:cubicBezTo>
                <a:cubicBezTo>
                  <a:pt x="180" y="336"/>
                  <a:pt x="182" y="337"/>
                  <a:pt x="184" y="339"/>
                </a:cubicBezTo>
                <a:cubicBezTo>
                  <a:pt x="186" y="341"/>
                  <a:pt x="190" y="343"/>
                  <a:pt x="193" y="343"/>
                </a:cubicBezTo>
                <a:cubicBezTo>
                  <a:pt x="197" y="343"/>
                  <a:pt x="200" y="341"/>
                  <a:pt x="203" y="339"/>
                </a:cubicBezTo>
                <a:cubicBezTo>
                  <a:pt x="203" y="339"/>
                  <a:pt x="260" y="282"/>
                  <a:pt x="269" y="273"/>
                </a:cubicBezTo>
                <a:cubicBezTo>
                  <a:pt x="320" y="291"/>
                  <a:pt x="377" y="279"/>
                  <a:pt x="416" y="240"/>
                </a:cubicBezTo>
                <a:cubicBezTo>
                  <a:pt x="458" y="197"/>
                  <a:pt x="469" y="133"/>
                  <a:pt x="443" y="79"/>
                </a:cubicBezTo>
                <a:cubicBezTo>
                  <a:pt x="440" y="72"/>
                  <a:pt x="432" y="70"/>
                  <a:pt x="425" y="73"/>
                </a:cubicBezTo>
                <a:cubicBezTo>
                  <a:pt x="418" y="76"/>
                  <a:pt x="416" y="84"/>
                  <a:pt x="419" y="91"/>
                </a:cubicBezTo>
                <a:cubicBezTo>
                  <a:pt x="440" y="134"/>
                  <a:pt x="431" y="187"/>
                  <a:pt x="397" y="221"/>
                </a:cubicBezTo>
                <a:cubicBezTo>
                  <a:pt x="364" y="254"/>
                  <a:pt x="315" y="263"/>
                  <a:pt x="272" y="245"/>
                </a:cubicBezTo>
                <a:cubicBezTo>
                  <a:pt x="270" y="244"/>
                  <a:pt x="268" y="244"/>
                  <a:pt x="266" y="244"/>
                </a:cubicBezTo>
                <a:cubicBezTo>
                  <a:pt x="263" y="245"/>
                  <a:pt x="263" y="245"/>
                  <a:pt x="263" y="245"/>
                </a:cubicBezTo>
                <a:cubicBezTo>
                  <a:pt x="260" y="245"/>
                  <a:pt x="258" y="246"/>
                  <a:pt x="255" y="248"/>
                </a:cubicBezTo>
                <a:cubicBezTo>
                  <a:pt x="255" y="248"/>
                  <a:pt x="203" y="301"/>
                  <a:pt x="191" y="312"/>
                </a:cubicBezTo>
                <a:cubicBezTo>
                  <a:pt x="187" y="311"/>
                  <a:pt x="183" y="310"/>
                  <a:pt x="178" y="310"/>
                </a:cubicBezTo>
                <a:cubicBezTo>
                  <a:pt x="169" y="310"/>
                  <a:pt x="160" y="313"/>
                  <a:pt x="153" y="320"/>
                </a:cubicBezTo>
                <a:cubicBezTo>
                  <a:pt x="147" y="327"/>
                  <a:pt x="143" y="336"/>
                  <a:pt x="143" y="345"/>
                </a:cubicBezTo>
                <a:cubicBezTo>
                  <a:pt x="143" y="349"/>
                  <a:pt x="144" y="354"/>
                  <a:pt x="146" y="358"/>
                </a:cubicBezTo>
                <a:cubicBezTo>
                  <a:pt x="143" y="361"/>
                  <a:pt x="143" y="361"/>
                  <a:pt x="140" y="364"/>
                </a:cubicBezTo>
                <a:cubicBezTo>
                  <a:pt x="125" y="357"/>
                  <a:pt x="106" y="359"/>
                  <a:pt x="94" y="372"/>
                </a:cubicBezTo>
                <a:cubicBezTo>
                  <a:pt x="86" y="380"/>
                  <a:pt x="82" y="390"/>
                  <a:pt x="82" y="400"/>
                </a:cubicBezTo>
                <a:cubicBezTo>
                  <a:pt x="82" y="406"/>
                  <a:pt x="83" y="412"/>
                  <a:pt x="86" y="417"/>
                </a:cubicBezTo>
                <a:cubicBezTo>
                  <a:pt x="80" y="423"/>
                  <a:pt x="76" y="427"/>
                  <a:pt x="73" y="430"/>
                </a:cubicBezTo>
                <a:cubicBezTo>
                  <a:pt x="66" y="430"/>
                  <a:pt x="41" y="430"/>
                  <a:pt x="26" y="430"/>
                </a:cubicBezTo>
                <a:cubicBezTo>
                  <a:pt x="26" y="417"/>
                  <a:pt x="26" y="400"/>
                  <a:pt x="26" y="394"/>
                </a:cubicBezTo>
                <a:cubicBezTo>
                  <a:pt x="33" y="387"/>
                  <a:pt x="209" y="201"/>
                  <a:pt x="209" y="201"/>
                </a:cubicBezTo>
                <a:cubicBezTo>
                  <a:pt x="210" y="199"/>
                  <a:pt x="212" y="197"/>
                  <a:pt x="212" y="194"/>
                </a:cubicBezTo>
                <a:cubicBezTo>
                  <a:pt x="212" y="192"/>
                  <a:pt x="212" y="192"/>
                  <a:pt x="212" y="192"/>
                </a:cubicBezTo>
                <a:cubicBezTo>
                  <a:pt x="213" y="191"/>
                  <a:pt x="213" y="191"/>
                  <a:pt x="213" y="190"/>
                </a:cubicBezTo>
                <a:cubicBezTo>
                  <a:pt x="213" y="188"/>
                  <a:pt x="212" y="187"/>
                  <a:pt x="212" y="185"/>
                </a:cubicBezTo>
                <a:cubicBezTo>
                  <a:pt x="205" y="170"/>
                  <a:pt x="202" y="155"/>
                  <a:pt x="202" y="140"/>
                </a:cubicBezTo>
                <a:cubicBezTo>
                  <a:pt x="202" y="111"/>
                  <a:pt x="214" y="82"/>
                  <a:pt x="236" y="60"/>
                </a:cubicBezTo>
                <a:cubicBezTo>
                  <a:pt x="257" y="39"/>
                  <a:pt x="285" y="27"/>
                  <a:pt x="316" y="27"/>
                </a:cubicBezTo>
                <a:cubicBezTo>
                  <a:pt x="342" y="26"/>
                  <a:pt x="367" y="35"/>
                  <a:pt x="387" y="51"/>
                </a:cubicBezTo>
                <a:cubicBezTo>
                  <a:pt x="381" y="57"/>
                  <a:pt x="378" y="60"/>
                  <a:pt x="373" y="65"/>
                </a:cubicBezTo>
                <a:cubicBezTo>
                  <a:pt x="360" y="60"/>
                  <a:pt x="344" y="62"/>
                  <a:pt x="334" y="73"/>
                </a:cubicBezTo>
                <a:cubicBezTo>
                  <a:pt x="320" y="87"/>
                  <a:pt x="320" y="109"/>
                  <a:pt x="334" y="123"/>
                </a:cubicBezTo>
                <a:cubicBezTo>
                  <a:pt x="346" y="136"/>
                  <a:pt x="365" y="137"/>
                  <a:pt x="379" y="127"/>
                </a:cubicBezTo>
                <a:cubicBezTo>
                  <a:pt x="385" y="123"/>
                  <a:pt x="387" y="115"/>
                  <a:pt x="383" y="109"/>
                </a:cubicBezTo>
                <a:cubicBezTo>
                  <a:pt x="378" y="103"/>
                  <a:pt x="370" y="101"/>
                  <a:pt x="364" y="105"/>
                </a:cubicBezTo>
                <a:cubicBezTo>
                  <a:pt x="360" y="108"/>
                  <a:pt x="356" y="108"/>
                  <a:pt x="352" y="104"/>
                </a:cubicBezTo>
                <a:cubicBezTo>
                  <a:pt x="349" y="101"/>
                  <a:pt x="349" y="95"/>
                  <a:pt x="352" y="92"/>
                </a:cubicBezTo>
                <a:cubicBezTo>
                  <a:pt x="356" y="88"/>
                  <a:pt x="361" y="88"/>
                  <a:pt x="365" y="91"/>
                </a:cubicBezTo>
                <a:cubicBezTo>
                  <a:pt x="365" y="92"/>
                  <a:pt x="365" y="92"/>
                  <a:pt x="365" y="92"/>
                </a:cubicBezTo>
                <a:cubicBezTo>
                  <a:pt x="371" y="97"/>
                  <a:pt x="379" y="97"/>
                  <a:pt x="384" y="92"/>
                </a:cubicBezTo>
                <a:cubicBezTo>
                  <a:pt x="415" y="61"/>
                  <a:pt x="415" y="61"/>
                  <a:pt x="415" y="61"/>
                </a:cubicBezTo>
                <a:cubicBezTo>
                  <a:pt x="419" y="57"/>
                  <a:pt x="420" y="51"/>
                  <a:pt x="418" y="46"/>
                </a:cubicBezTo>
                <a:cubicBezTo>
                  <a:pt x="417" y="44"/>
                  <a:pt x="417" y="44"/>
                  <a:pt x="417" y="44"/>
                </a:cubicBezTo>
                <a:cubicBezTo>
                  <a:pt x="417" y="43"/>
                  <a:pt x="416" y="41"/>
                  <a:pt x="414" y="40"/>
                </a:cubicBezTo>
                <a:cubicBezTo>
                  <a:pt x="388" y="14"/>
                  <a:pt x="353" y="0"/>
                  <a:pt x="315" y="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6" name="Freeform 211"/>
          <p:cNvSpPr>
            <a:spLocks/>
          </p:cNvSpPr>
          <p:nvPr userDrawn="1"/>
        </p:nvSpPr>
        <p:spPr bwMode="auto">
          <a:xfrm>
            <a:off x="869249" y="2307512"/>
            <a:ext cx="354899" cy="257175"/>
          </a:xfrm>
          <a:custGeom>
            <a:avLst/>
            <a:gdLst/>
            <a:ahLst/>
            <a:cxnLst>
              <a:cxn ang="0">
                <a:pos x="63" y="199"/>
              </a:cxn>
              <a:cxn ang="0">
                <a:pos x="83" y="36"/>
              </a:cxn>
              <a:cxn ang="0">
                <a:pos x="219" y="1"/>
              </a:cxn>
              <a:cxn ang="0">
                <a:pos x="420" y="133"/>
              </a:cxn>
              <a:cxn ang="0">
                <a:pos x="156" y="262"/>
              </a:cxn>
              <a:cxn ang="0">
                <a:pos x="64" y="302"/>
              </a:cxn>
              <a:cxn ang="0">
                <a:pos x="81" y="231"/>
              </a:cxn>
            </a:cxnLst>
            <a:rect l="0" t="0" r="r" b="b"/>
            <a:pathLst>
              <a:path w="420" h="303">
                <a:moveTo>
                  <a:pt x="63" y="199"/>
                </a:moveTo>
                <a:cubicBezTo>
                  <a:pt x="0" y="159"/>
                  <a:pt x="2" y="83"/>
                  <a:pt x="83" y="36"/>
                </a:cubicBezTo>
                <a:cubicBezTo>
                  <a:pt x="83" y="36"/>
                  <a:pt x="140" y="0"/>
                  <a:pt x="219" y="1"/>
                </a:cubicBezTo>
                <a:cubicBezTo>
                  <a:pt x="360" y="4"/>
                  <a:pt x="420" y="60"/>
                  <a:pt x="420" y="133"/>
                </a:cubicBezTo>
                <a:cubicBezTo>
                  <a:pt x="420" y="198"/>
                  <a:pt x="344" y="303"/>
                  <a:pt x="156" y="262"/>
                </a:cubicBezTo>
                <a:cubicBezTo>
                  <a:pt x="87" y="291"/>
                  <a:pt x="64" y="302"/>
                  <a:pt x="64" y="302"/>
                </a:cubicBezTo>
                <a:cubicBezTo>
                  <a:pt x="64" y="302"/>
                  <a:pt x="98" y="268"/>
                  <a:pt x="81" y="231"/>
                </a:cubicBezTo>
              </a:path>
            </a:pathLst>
          </a:custGeom>
          <a:noFill/>
          <a:ln w="30163" cap="rnd">
            <a:solidFill>
              <a:srgbClr val="FFFFFF"/>
            </a:solidFill>
            <a:prstDash val="solid"/>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7" name="Freeform 234"/>
          <p:cNvSpPr>
            <a:spLocks/>
          </p:cNvSpPr>
          <p:nvPr userDrawn="1"/>
        </p:nvSpPr>
        <p:spPr bwMode="auto">
          <a:xfrm>
            <a:off x="850194" y="3826821"/>
            <a:ext cx="393009" cy="330994"/>
          </a:xfrm>
          <a:custGeom>
            <a:avLst/>
            <a:gdLst/>
            <a:ahLst/>
            <a:cxnLst>
              <a:cxn ang="0">
                <a:pos x="110" y="376"/>
              </a:cxn>
              <a:cxn ang="0">
                <a:pos x="110" y="149"/>
              </a:cxn>
              <a:cxn ang="0">
                <a:pos x="110" y="148"/>
              </a:cxn>
              <a:cxn ang="0">
                <a:pos x="99" y="133"/>
              </a:cxn>
              <a:cxn ang="0">
                <a:pos x="64" y="119"/>
              </a:cxn>
              <a:cxn ang="0">
                <a:pos x="63" y="119"/>
              </a:cxn>
              <a:cxn ang="0">
                <a:pos x="28" y="138"/>
              </a:cxn>
              <a:cxn ang="0">
                <a:pos x="79" y="350"/>
              </a:cxn>
              <a:cxn ang="0">
                <a:pos x="83" y="370"/>
              </a:cxn>
              <a:cxn ang="0">
                <a:pos x="6" y="336"/>
              </a:cxn>
              <a:cxn ang="0">
                <a:pos x="0" y="135"/>
              </a:cxn>
              <a:cxn ang="0">
                <a:pos x="13" y="110"/>
              </a:cxn>
              <a:cxn ang="0">
                <a:pos x="63" y="91"/>
              </a:cxn>
              <a:cxn ang="0">
                <a:pos x="108" y="104"/>
              </a:cxn>
              <a:cxn ang="0">
                <a:pos x="133" y="130"/>
              </a:cxn>
              <a:cxn ang="0">
                <a:pos x="138" y="358"/>
              </a:cxn>
              <a:cxn ang="0">
                <a:pos x="435" y="125"/>
              </a:cxn>
              <a:cxn ang="0">
                <a:pos x="361" y="115"/>
              </a:cxn>
              <a:cxn ang="0">
                <a:pos x="341" y="116"/>
              </a:cxn>
              <a:cxn ang="0">
                <a:pos x="240" y="169"/>
              </a:cxn>
              <a:cxn ang="0">
                <a:pos x="249" y="205"/>
              </a:cxn>
              <a:cxn ang="0">
                <a:pos x="244" y="225"/>
              </a:cxn>
              <a:cxn ang="0">
                <a:pos x="205" y="243"/>
              </a:cxn>
              <a:cxn ang="0">
                <a:pos x="178" y="237"/>
              </a:cxn>
              <a:cxn ang="0">
                <a:pos x="160" y="205"/>
              </a:cxn>
              <a:cxn ang="0">
                <a:pos x="165" y="181"/>
              </a:cxn>
              <a:cxn ang="0">
                <a:pos x="172" y="15"/>
              </a:cxn>
              <a:cxn ang="0">
                <a:pos x="186" y="0"/>
              </a:cxn>
              <a:cxn ang="0">
                <a:pos x="268" y="5"/>
              </a:cxn>
              <a:cxn ang="0">
                <a:pos x="272" y="15"/>
              </a:cxn>
              <a:cxn ang="0">
                <a:pos x="268" y="70"/>
              </a:cxn>
              <a:cxn ang="0">
                <a:pos x="228" y="74"/>
              </a:cxn>
              <a:cxn ang="0">
                <a:pos x="228" y="46"/>
              </a:cxn>
              <a:cxn ang="0">
                <a:pos x="244" y="29"/>
              </a:cxn>
              <a:cxn ang="0">
                <a:pos x="197" y="182"/>
              </a:cxn>
              <a:cxn ang="0">
                <a:pos x="191" y="192"/>
              </a:cxn>
              <a:cxn ang="0">
                <a:pos x="190" y="210"/>
              </a:cxn>
              <a:cxn ang="0">
                <a:pos x="194" y="213"/>
              </a:cxn>
              <a:cxn ang="0">
                <a:pos x="218" y="212"/>
              </a:cxn>
              <a:cxn ang="0">
                <a:pos x="220" y="209"/>
              </a:cxn>
              <a:cxn ang="0">
                <a:pos x="217" y="189"/>
              </a:cxn>
              <a:cxn ang="0">
                <a:pos x="213" y="180"/>
              </a:cxn>
              <a:cxn ang="0">
                <a:pos x="212" y="173"/>
              </a:cxn>
              <a:cxn ang="0">
                <a:pos x="222" y="105"/>
              </a:cxn>
              <a:cxn ang="0">
                <a:pos x="361" y="87"/>
              </a:cxn>
              <a:cxn ang="0">
                <a:pos x="456" y="104"/>
              </a:cxn>
              <a:cxn ang="0">
                <a:pos x="463" y="295"/>
              </a:cxn>
              <a:cxn ang="0">
                <a:pos x="128" y="390"/>
              </a:cxn>
              <a:cxn ang="0">
                <a:pos x="115" y="388"/>
              </a:cxn>
            </a:cxnLst>
            <a:rect l="0" t="0" r="r" b="b"/>
            <a:pathLst>
              <a:path w="464" h="391">
                <a:moveTo>
                  <a:pt x="115" y="388"/>
                </a:moveTo>
                <a:cubicBezTo>
                  <a:pt x="112" y="385"/>
                  <a:pt x="110" y="381"/>
                  <a:pt x="110" y="376"/>
                </a:cubicBezTo>
                <a:cubicBezTo>
                  <a:pt x="110" y="376"/>
                  <a:pt x="110" y="376"/>
                  <a:pt x="110" y="376"/>
                </a:cubicBezTo>
                <a:cubicBezTo>
                  <a:pt x="110" y="376"/>
                  <a:pt x="110" y="163"/>
                  <a:pt x="110" y="149"/>
                </a:cubicBezTo>
                <a:cubicBezTo>
                  <a:pt x="110" y="149"/>
                  <a:pt x="110" y="149"/>
                  <a:pt x="110" y="149"/>
                </a:cubicBezTo>
                <a:cubicBezTo>
                  <a:pt x="110" y="149"/>
                  <a:pt x="110" y="149"/>
                  <a:pt x="110" y="149"/>
                </a:cubicBezTo>
                <a:cubicBezTo>
                  <a:pt x="110" y="149"/>
                  <a:pt x="110" y="149"/>
                  <a:pt x="110" y="149"/>
                </a:cubicBezTo>
                <a:cubicBezTo>
                  <a:pt x="110" y="149"/>
                  <a:pt x="110" y="149"/>
                  <a:pt x="110" y="148"/>
                </a:cubicBezTo>
                <a:cubicBezTo>
                  <a:pt x="110" y="148"/>
                  <a:pt x="110" y="148"/>
                  <a:pt x="110" y="148"/>
                </a:cubicBezTo>
                <a:cubicBezTo>
                  <a:pt x="109" y="147"/>
                  <a:pt x="109" y="146"/>
                  <a:pt x="108" y="144"/>
                </a:cubicBezTo>
                <a:cubicBezTo>
                  <a:pt x="108" y="144"/>
                  <a:pt x="108" y="144"/>
                  <a:pt x="108" y="144"/>
                </a:cubicBezTo>
                <a:cubicBezTo>
                  <a:pt x="106" y="141"/>
                  <a:pt x="103" y="137"/>
                  <a:pt x="99" y="133"/>
                </a:cubicBezTo>
                <a:cubicBezTo>
                  <a:pt x="99" y="133"/>
                  <a:pt x="99" y="133"/>
                  <a:pt x="99" y="133"/>
                </a:cubicBezTo>
                <a:cubicBezTo>
                  <a:pt x="91" y="126"/>
                  <a:pt x="79" y="119"/>
                  <a:pt x="64" y="119"/>
                </a:cubicBezTo>
                <a:cubicBezTo>
                  <a:pt x="64" y="119"/>
                  <a:pt x="64" y="119"/>
                  <a:pt x="64" y="119"/>
                </a:cubicBezTo>
                <a:cubicBezTo>
                  <a:pt x="64" y="119"/>
                  <a:pt x="64" y="119"/>
                  <a:pt x="64" y="119"/>
                </a:cubicBezTo>
                <a:cubicBezTo>
                  <a:pt x="64" y="119"/>
                  <a:pt x="64" y="119"/>
                  <a:pt x="63" y="119"/>
                </a:cubicBezTo>
                <a:cubicBezTo>
                  <a:pt x="63" y="119"/>
                  <a:pt x="63" y="119"/>
                  <a:pt x="63" y="119"/>
                </a:cubicBezTo>
                <a:cubicBezTo>
                  <a:pt x="48" y="119"/>
                  <a:pt x="40" y="124"/>
                  <a:pt x="35" y="129"/>
                </a:cubicBezTo>
                <a:cubicBezTo>
                  <a:pt x="35" y="129"/>
                  <a:pt x="35" y="129"/>
                  <a:pt x="35" y="129"/>
                </a:cubicBezTo>
                <a:cubicBezTo>
                  <a:pt x="31" y="132"/>
                  <a:pt x="29" y="136"/>
                  <a:pt x="28" y="138"/>
                </a:cubicBezTo>
                <a:cubicBezTo>
                  <a:pt x="28" y="138"/>
                  <a:pt x="28" y="138"/>
                  <a:pt x="28" y="138"/>
                </a:cubicBezTo>
                <a:cubicBezTo>
                  <a:pt x="28" y="316"/>
                  <a:pt x="28" y="316"/>
                  <a:pt x="28" y="316"/>
                </a:cubicBezTo>
                <a:cubicBezTo>
                  <a:pt x="79" y="350"/>
                  <a:pt x="79" y="350"/>
                  <a:pt x="79" y="350"/>
                </a:cubicBezTo>
                <a:cubicBezTo>
                  <a:pt x="79" y="350"/>
                  <a:pt x="79" y="350"/>
                  <a:pt x="79" y="350"/>
                </a:cubicBezTo>
                <a:cubicBezTo>
                  <a:pt x="85" y="355"/>
                  <a:pt x="87" y="363"/>
                  <a:pt x="83" y="370"/>
                </a:cubicBezTo>
                <a:cubicBezTo>
                  <a:pt x="83" y="370"/>
                  <a:pt x="83" y="370"/>
                  <a:pt x="83" y="370"/>
                </a:cubicBezTo>
                <a:cubicBezTo>
                  <a:pt x="78" y="377"/>
                  <a:pt x="70" y="378"/>
                  <a:pt x="63" y="374"/>
                </a:cubicBezTo>
                <a:cubicBezTo>
                  <a:pt x="63" y="374"/>
                  <a:pt x="63" y="374"/>
                  <a:pt x="63" y="374"/>
                </a:cubicBezTo>
                <a:cubicBezTo>
                  <a:pt x="6" y="336"/>
                  <a:pt x="6" y="336"/>
                  <a:pt x="6" y="336"/>
                </a:cubicBezTo>
                <a:cubicBezTo>
                  <a:pt x="2" y="333"/>
                  <a:pt x="0" y="329"/>
                  <a:pt x="0" y="324"/>
                </a:cubicBezTo>
                <a:cubicBezTo>
                  <a:pt x="0" y="324"/>
                  <a:pt x="0" y="324"/>
                  <a:pt x="0" y="324"/>
                </a:cubicBezTo>
                <a:cubicBezTo>
                  <a:pt x="0" y="135"/>
                  <a:pt x="0" y="135"/>
                  <a:pt x="0" y="135"/>
                </a:cubicBezTo>
                <a:cubicBezTo>
                  <a:pt x="0" y="133"/>
                  <a:pt x="0" y="132"/>
                  <a:pt x="0" y="131"/>
                </a:cubicBezTo>
                <a:cubicBezTo>
                  <a:pt x="0" y="131"/>
                  <a:pt x="0" y="131"/>
                  <a:pt x="0" y="131"/>
                </a:cubicBezTo>
                <a:cubicBezTo>
                  <a:pt x="1" y="129"/>
                  <a:pt x="4" y="120"/>
                  <a:pt x="13" y="110"/>
                </a:cubicBezTo>
                <a:cubicBezTo>
                  <a:pt x="13" y="110"/>
                  <a:pt x="13" y="110"/>
                  <a:pt x="13" y="110"/>
                </a:cubicBezTo>
                <a:cubicBezTo>
                  <a:pt x="23" y="100"/>
                  <a:pt x="40" y="91"/>
                  <a:pt x="63" y="91"/>
                </a:cubicBezTo>
                <a:cubicBezTo>
                  <a:pt x="63" y="91"/>
                  <a:pt x="63" y="91"/>
                  <a:pt x="63" y="91"/>
                </a:cubicBezTo>
                <a:cubicBezTo>
                  <a:pt x="64" y="91"/>
                  <a:pt x="64" y="91"/>
                  <a:pt x="64" y="91"/>
                </a:cubicBezTo>
                <a:cubicBezTo>
                  <a:pt x="64" y="91"/>
                  <a:pt x="64" y="91"/>
                  <a:pt x="64" y="91"/>
                </a:cubicBezTo>
                <a:cubicBezTo>
                  <a:pt x="82" y="91"/>
                  <a:pt x="97" y="96"/>
                  <a:pt x="108" y="104"/>
                </a:cubicBezTo>
                <a:cubicBezTo>
                  <a:pt x="108" y="104"/>
                  <a:pt x="108" y="104"/>
                  <a:pt x="108" y="104"/>
                </a:cubicBezTo>
                <a:cubicBezTo>
                  <a:pt x="119" y="112"/>
                  <a:pt x="128" y="121"/>
                  <a:pt x="133" y="130"/>
                </a:cubicBezTo>
                <a:cubicBezTo>
                  <a:pt x="133" y="130"/>
                  <a:pt x="133" y="130"/>
                  <a:pt x="133" y="130"/>
                </a:cubicBezTo>
                <a:cubicBezTo>
                  <a:pt x="136" y="136"/>
                  <a:pt x="138" y="142"/>
                  <a:pt x="138" y="149"/>
                </a:cubicBezTo>
                <a:cubicBezTo>
                  <a:pt x="138" y="149"/>
                  <a:pt x="138" y="149"/>
                  <a:pt x="138" y="149"/>
                </a:cubicBezTo>
                <a:cubicBezTo>
                  <a:pt x="138" y="159"/>
                  <a:pt x="138" y="306"/>
                  <a:pt x="138" y="358"/>
                </a:cubicBezTo>
                <a:cubicBezTo>
                  <a:pt x="138" y="358"/>
                  <a:pt x="138" y="358"/>
                  <a:pt x="138" y="358"/>
                </a:cubicBezTo>
                <a:cubicBezTo>
                  <a:pt x="435" y="284"/>
                  <a:pt x="435" y="284"/>
                  <a:pt x="435" y="284"/>
                </a:cubicBezTo>
                <a:cubicBezTo>
                  <a:pt x="435" y="125"/>
                  <a:pt x="435" y="125"/>
                  <a:pt x="435" y="125"/>
                </a:cubicBezTo>
                <a:cubicBezTo>
                  <a:pt x="432" y="124"/>
                  <a:pt x="429" y="123"/>
                  <a:pt x="425" y="122"/>
                </a:cubicBezTo>
                <a:cubicBezTo>
                  <a:pt x="425" y="122"/>
                  <a:pt x="425" y="122"/>
                  <a:pt x="425" y="122"/>
                </a:cubicBezTo>
                <a:cubicBezTo>
                  <a:pt x="412" y="119"/>
                  <a:pt x="391" y="115"/>
                  <a:pt x="361" y="115"/>
                </a:cubicBezTo>
                <a:cubicBezTo>
                  <a:pt x="361" y="115"/>
                  <a:pt x="361" y="115"/>
                  <a:pt x="361" y="115"/>
                </a:cubicBezTo>
                <a:cubicBezTo>
                  <a:pt x="355" y="115"/>
                  <a:pt x="348" y="115"/>
                  <a:pt x="341" y="116"/>
                </a:cubicBezTo>
                <a:cubicBezTo>
                  <a:pt x="341" y="116"/>
                  <a:pt x="341" y="116"/>
                  <a:pt x="341" y="116"/>
                </a:cubicBezTo>
                <a:cubicBezTo>
                  <a:pt x="299" y="118"/>
                  <a:pt x="263" y="125"/>
                  <a:pt x="240" y="130"/>
                </a:cubicBezTo>
                <a:cubicBezTo>
                  <a:pt x="240" y="130"/>
                  <a:pt x="240" y="130"/>
                  <a:pt x="240" y="130"/>
                </a:cubicBezTo>
                <a:cubicBezTo>
                  <a:pt x="240" y="169"/>
                  <a:pt x="240" y="169"/>
                  <a:pt x="240" y="169"/>
                </a:cubicBezTo>
                <a:cubicBezTo>
                  <a:pt x="241" y="172"/>
                  <a:pt x="242" y="175"/>
                  <a:pt x="244" y="178"/>
                </a:cubicBezTo>
                <a:cubicBezTo>
                  <a:pt x="244" y="178"/>
                  <a:pt x="244" y="178"/>
                  <a:pt x="244" y="178"/>
                </a:cubicBezTo>
                <a:cubicBezTo>
                  <a:pt x="246" y="185"/>
                  <a:pt x="249" y="194"/>
                  <a:pt x="249" y="205"/>
                </a:cubicBezTo>
                <a:cubicBezTo>
                  <a:pt x="249" y="205"/>
                  <a:pt x="249" y="205"/>
                  <a:pt x="249" y="205"/>
                </a:cubicBezTo>
                <a:cubicBezTo>
                  <a:pt x="249" y="211"/>
                  <a:pt x="248" y="219"/>
                  <a:pt x="244" y="225"/>
                </a:cubicBezTo>
                <a:cubicBezTo>
                  <a:pt x="244" y="225"/>
                  <a:pt x="244" y="225"/>
                  <a:pt x="244" y="225"/>
                </a:cubicBezTo>
                <a:cubicBezTo>
                  <a:pt x="240" y="232"/>
                  <a:pt x="233" y="238"/>
                  <a:pt x="224" y="241"/>
                </a:cubicBezTo>
                <a:cubicBezTo>
                  <a:pt x="224" y="241"/>
                  <a:pt x="224" y="241"/>
                  <a:pt x="224" y="241"/>
                </a:cubicBezTo>
                <a:cubicBezTo>
                  <a:pt x="218" y="242"/>
                  <a:pt x="212" y="243"/>
                  <a:pt x="205" y="243"/>
                </a:cubicBezTo>
                <a:cubicBezTo>
                  <a:pt x="205" y="243"/>
                  <a:pt x="205" y="243"/>
                  <a:pt x="205" y="243"/>
                </a:cubicBezTo>
                <a:cubicBezTo>
                  <a:pt x="194" y="243"/>
                  <a:pt x="185" y="241"/>
                  <a:pt x="178" y="237"/>
                </a:cubicBezTo>
                <a:cubicBezTo>
                  <a:pt x="178" y="237"/>
                  <a:pt x="178" y="237"/>
                  <a:pt x="178" y="237"/>
                </a:cubicBezTo>
                <a:cubicBezTo>
                  <a:pt x="170" y="233"/>
                  <a:pt x="165" y="226"/>
                  <a:pt x="162" y="219"/>
                </a:cubicBezTo>
                <a:cubicBezTo>
                  <a:pt x="162" y="219"/>
                  <a:pt x="162" y="219"/>
                  <a:pt x="162" y="219"/>
                </a:cubicBezTo>
                <a:cubicBezTo>
                  <a:pt x="161" y="214"/>
                  <a:pt x="160" y="209"/>
                  <a:pt x="160" y="205"/>
                </a:cubicBezTo>
                <a:cubicBezTo>
                  <a:pt x="160" y="205"/>
                  <a:pt x="160" y="205"/>
                  <a:pt x="160" y="205"/>
                </a:cubicBezTo>
                <a:cubicBezTo>
                  <a:pt x="160" y="196"/>
                  <a:pt x="162" y="188"/>
                  <a:pt x="165" y="181"/>
                </a:cubicBezTo>
                <a:cubicBezTo>
                  <a:pt x="165" y="181"/>
                  <a:pt x="165" y="181"/>
                  <a:pt x="165" y="181"/>
                </a:cubicBezTo>
                <a:cubicBezTo>
                  <a:pt x="167" y="176"/>
                  <a:pt x="169" y="172"/>
                  <a:pt x="172" y="168"/>
                </a:cubicBezTo>
                <a:cubicBezTo>
                  <a:pt x="172" y="168"/>
                  <a:pt x="172" y="168"/>
                  <a:pt x="172" y="168"/>
                </a:cubicBezTo>
                <a:cubicBezTo>
                  <a:pt x="172" y="15"/>
                  <a:pt x="172" y="15"/>
                  <a:pt x="172" y="15"/>
                </a:cubicBezTo>
                <a:cubicBezTo>
                  <a:pt x="172" y="11"/>
                  <a:pt x="173" y="7"/>
                  <a:pt x="176" y="5"/>
                </a:cubicBezTo>
                <a:cubicBezTo>
                  <a:pt x="176" y="5"/>
                  <a:pt x="176" y="5"/>
                  <a:pt x="176" y="5"/>
                </a:cubicBezTo>
                <a:cubicBezTo>
                  <a:pt x="178" y="2"/>
                  <a:pt x="182" y="0"/>
                  <a:pt x="186" y="0"/>
                </a:cubicBezTo>
                <a:cubicBezTo>
                  <a:pt x="186" y="0"/>
                  <a:pt x="186" y="0"/>
                  <a:pt x="186" y="0"/>
                </a:cubicBezTo>
                <a:cubicBezTo>
                  <a:pt x="258" y="0"/>
                  <a:pt x="258" y="0"/>
                  <a:pt x="258" y="0"/>
                </a:cubicBezTo>
                <a:cubicBezTo>
                  <a:pt x="262" y="0"/>
                  <a:pt x="266" y="2"/>
                  <a:pt x="268" y="5"/>
                </a:cubicBezTo>
                <a:cubicBezTo>
                  <a:pt x="268" y="5"/>
                  <a:pt x="268" y="5"/>
                  <a:pt x="268" y="5"/>
                </a:cubicBezTo>
                <a:cubicBezTo>
                  <a:pt x="271" y="7"/>
                  <a:pt x="272" y="11"/>
                  <a:pt x="272" y="15"/>
                </a:cubicBezTo>
                <a:cubicBezTo>
                  <a:pt x="272" y="15"/>
                  <a:pt x="272" y="15"/>
                  <a:pt x="272" y="15"/>
                </a:cubicBezTo>
                <a:cubicBezTo>
                  <a:pt x="272" y="60"/>
                  <a:pt x="272" y="60"/>
                  <a:pt x="272" y="60"/>
                </a:cubicBezTo>
                <a:cubicBezTo>
                  <a:pt x="272" y="64"/>
                  <a:pt x="271" y="67"/>
                  <a:pt x="268" y="70"/>
                </a:cubicBezTo>
                <a:cubicBezTo>
                  <a:pt x="268" y="70"/>
                  <a:pt x="268" y="70"/>
                  <a:pt x="268" y="70"/>
                </a:cubicBezTo>
                <a:cubicBezTo>
                  <a:pt x="266" y="73"/>
                  <a:pt x="262" y="74"/>
                  <a:pt x="258" y="74"/>
                </a:cubicBezTo>
                <a:cubicBezTo>
                  <a:pt x="258" y="74"/>
                  <a:pt x="258" y="74"/>
                  <a:pt x="258" y="74"/>
                </a:cubicBezTo>
                <a:cubicBezTo>
                  <a:pt x="228" y="74"/>
                  <a:pt x="228" y="74"/>
                  <a:pt x="228" y="74"/>
                </a:cubicBezTo>
                <a:cubicBezTo>
                  <a:pt x="220" y="74"/>
                  <a:pt x="213" y="68"/>
                  <a:pt x="213" y="60"/>
                </a:cubicBezTo>
                <a:cubicBezTo>
                  <a:pt x="213" y="60"/>
                  <a:pt x="213" y="60"/>
                  <a:pt x="213" y="60"/>
                </a:cubicBezTo>
                <a:cubicBezTo>
                  <a:pt x="213" y="52"/>
                  <a:pt x="220" y="46"/>
                  <a:pt x="228" y="46"/>
                </a:cubicBezTo>
                <a:cubicBezTo>
                  <a:pt x="228" y="46"/>
                  <a:pt x="228" y="46"/>
                  <a:pt x="228" y="46"/>
                </a:cubicBezTo>
                <a:cubicBezTo>
                  <a:pt x="244" y="46"/>
                  <a:pt x="244" y="46"/>
                  <a:pt x="244" y="46"/>
                </a:cubicBezTo>
                <a:cubicBezTo>
                  <a:pt x="244" y="29"/>
                  <a:pt x="244" y="29"/>
                  <a:pt x="244" y="29"/>
                </a:cubicBezTo>
                <a:cubicBezTo>
                  <a:pt x="200" y="29"/>
                  <a:pt x="200" y="29"/>
                  <a:pt x="200" y="29"/>
                </a:cubicBezTo>
                <a:cubicBezTo>
                  <a:pt x="200" y="173"/>
                  <a:pt x="200" y="173"/>
                  <a:pt x="200" y="173"/>
                </a:cubicBezTo>
                <a:cubicBezTo>
                  <a:pt x="200" y="176"/>
                  <a:pt x="199" y="180"/>
                  <a:pt x="197" y="182"/>
                </a:cubicBezTo>
                <a:cubicBezTo>
                  <a:pt x="197" y="182"/>
                  <a:pt x="197" y="182"/>
                  <a:pt x="197" y="182"/>
                </a:cubicBezTo>
                <a:cubicBezTo>
                  <a:pt x="196" y="183"/>
                  <a:pt x="193" y="187"/>
                  <a:pt x="191" y="192"/>
                </a:cubicBezTo>
                <a:cubicBezTo>
                  <a:pt x="191" y="192"/>
                  <a:pt x="191" y="192"/>
                  <a:pt x="191" y="192"/>
                </a:cubicBezTo>
                <a:cubicBezTo>
                  <a:pt x="190" y="196"/>
                  <a:pt x="188" y="201"/>
                  <a:pt x="188" y="205"/>
                </a:cubicBezTo>
                <a:cubicBezTo>
                  <a:pt x="188" y="205"/>
                  <a:pt x="188" y="205"/>
                  <a:pt x="188" y="205"/>
                </a:cubicBezTo>
                <a:cubicBezTo>
                  <a:pt x="188" y="208"/>
                  <a:pt x="189" y="209"/>
                  <a:pt x="190" y="210"/>
                </a:cubicBezTo>
                <a:cubicBezTo>
                  <a:pt x="190" y="210"/>
                  <a:pt x="190" y="210"/>
                  <a:pt x="190" y="210"/>
                </a:cubicBezTo>
                <a:cubicBezTo>
                  <a:pt x="190" y="211"/>
                  <a:pt x="191" y="212"/>
                  <a:pt x="194" y="213"/>
                </a:cubicBezTo>
                <a:cubicBezTo>
                  <a:pt x="194" y="213"/>
                  <a:pt x="194" y="213"/>
                  <a:pt x="194" y="213"/>
                </a:cubicBezTo>
                <a:cubicBezTo>
                  <a:pt x="197" y="214"/>
                  <a:pt x="200" y="215"/>
                  <a:pt x="205" y="215"/>
                </a:cubicBezTo>
                <a:cubicBezTo>
                  <a:pt x="205" y="215"/>
                  <a:pt x="205" y="215"/>
                  <a:pt x="205" y="215"/>
                </a:cubicBezTo>
                <a:cubicBezTo>
                  <a:pt x="212" y="215"/>
                  <a:pt x="216" y="213"/>
                  <a:pt x="218" y="212"/>
                </a:cubicBezTo>
                <a:cubicBezTo>
                  <a:pt x="218" y="212"/>
                  <a:pt x="218" y="212"/>
                  <a:pt x="218" y="212"/>
                </a:cubicBezTo>
                <a:cubicBezTo>
                  <a:pt x="219" y="211"/>
                  <a:pt x="220" y="211"/>
                  <a:pt x="220" y="209"/>
                </a:cubicBezTo>
                <a:cubicBezTo>
                  <a:pt x="220" y="209"/>
                  <a:pt x="220" y="209"/>
                  <a:pt x="220" y="209"/>
                </a:cubicBezTo>
                <a:cubicBezTo>
                  <a:pt x="221" y="208"/>
                  <a:pt x="221" y="207"/>
                  <a:pt x="221" y="205"/>
                </a:cubicBezTo>
                <a:cubicBezTo>
                  <a:pt x="221" y="205"/>
                  <a:pt x="221" y="205"/>
                  <a:pt x="221" y="205"/>
                </a:cubicBezTo>
                <a:cubicBezTo>
                  <a:pt x="221" y="200"/>
                  <a:pt x="219" y="194"/>
                  <a:pt x="217" y="189"/>
                </a:cubicBezTo>
                <a:cubicBezTo>
                  <a:pt x="217" y="189"/>
                  <a:pt x="217" y="189"/>
                  <a:pt x="217" y="189"/>
                </a:cubicBezTo>
                <a:cubicBezTo>
                  <a:pt x="215" y="184"/>
                  <a:pt x="213" y="180"/>
                  <a:pt x="213" y="180"/>
                </a:cubicBezTo>
                <a:cubicBezTo>
                  <a:pt x="213" y="180"/>
                  <a:pt x="213" y="180"/>
                  <a:pt x="213" y="180"/>
                </a:cubicBezTo>
                <a:cubicBezTo>
                  <a:pt x="213" y="180"/>
                  <a:pt x="213" y="180"/>
                  <a:pt x="213" y="180"/>
                </a:cubicBezTo>
                <a:cubicBezTo>
                  <a:pt x="212" y="178"/>
                  <a:pt x="212" y="175"/>
                  <a:pt x="212" y="173"/>
                </a:cubicBezTo>
                <a:cubicBezTo>
                  <a:pt x="212" y="173"/>
                  <a:pt x="212" y="173"/>
                  <a:pt x="212" y="173"/>
                </a:cubicBezTo>
                <a:cubicBezTo>
                  <a:pt x="212" y="119"/>
                  <a:pt x="212" y="119"/>
                  <a:pt x="212" y="119"/>
                </a:cubicBezTo>
                <a:cubicBezTo>
                  <a:pt x="212" y="112"/>
                  <a:pt x="216" y="106"/>
                  <a:pt x="222" y="105"/>
                </a:cubicBezTo>
                <a:cubicBezTo>
                  <a:pt x="222" y="105"/>
                  <a:pt x="222" y="105"/>
                  <a:pt x="222" y="105"/>
                </a:cubicBezTo>
                <a:cubicBezTo>
                  <a:pt x="246" y="99"/>
                  <a:pt x="287" y="90"/>
                  <a:pt x="339" y="87"/>
                </a:cubicBezTo>
                <a:cubicBezTo>
                  <a:pt x="339" y="87"/>
                  <a:pt x="339" y="87"/>
                  <a:pt x="339" y="87"/>
                </a:cubicBezTo>
                <a:cubicBezTo>
                  <a:pt x="347" y="87"/>
                  <a:pt x="354" y="87"/>
                  <a:pt x="361" y="87"/>
                </a:cubicBezTo>
                <a:cubicBezTo>
                  <a:pt x="361" y="87"/>
                  <a:pt x="361" y="87"/>
                  <a:pt x="361" y="87"/>
                </a:cubicBezTo>
                <a:cubicBezTo>
                  <a:pt x="426" y="87"/>
                  <a:pt x="454" y="102"/>
                  <a:pt x="456" y="104"/>
                </a:cubicBezTo>
                <a:cubicBezTo>
                  <a:pt x="456" y="104"/>
                  <a:pt x="456" y="104"/>
                  <a:pt x="456" y="104"/>
                </a:cubicBezTo>
                <a:cubicBezTo>
                  <a:pt x="461" y="106"/>
                  <a:pt x="464" y="111"/>
                  <a:pt x="464" y="116"/>
                </a:cubicBezTo>
                <a:cubicBezTo>
                  <a:pt x="464" y="116"/>
                  <a:pt x="464" y="116"/>
                  <a:pt x="464" y="116"/>
                </a:cubicBezTo>
                <a:cubicBezTo>
                  <a:pt x="463" y="295"/>
                  <a:pt x="463" y="295"/>
                  <a:pt x="463" y="295"/>
                </a:cubicBezTo>
                <a:cubicBezTo>
                  <a:pt x="463" y="301"/>
                  <a:pt x="459" y="307"/>
                  <a:pt x="452" y="308"/>
                </a:cubicBezTo>
                <a:cubicBezTo>
                  <a:pt x="452" y="308"/>
                  <a:pt x="452" y="308"/>
                  <a:pt x="452" y="308"/>
                </a:cubicBezTo>
                <a:cubicBezTo>
                  <a:pt x="128" y="390"/>
                  <a:pt x="128" y="390"/>
                  <a:pt x="128" y="390"/>
                </a:cubicBezTo>
                <a:cubicBezTo>
                  <a:pt x="126" y="391"/>
                  <a:pt x="125" y="391"/>
                  <a:pt x="124" y="391"/>
                </a:cubicBezTo>
                <a:cubicBezTo>
                  <a:pt x="124" y="391"/>
                  <a:pt x="124" y="391"/>
                  <a:pt x="124" y="391"/>
                </a:cubicBezTo>
                <a:cubicBezTo>
                  <a:pt x="121" y="391"/>
                  <a:pt x="118" y="390"/>
                  <a:pt x="115" y="38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8" name="Freeform 300"/>
          <p:cNvSpPr>
            <a:spLocks/>
          </p:cNvSpPr>
          <p:nvPr userDrawn="1"/>
        </p:nvSpPr>
        <p:spPr bwMode="auto">
          <a:xfrm>
            <a:off x="884134" y="2789974"/>
            <a:ext cx="325126" cy="325041"/>
          </a:xfrm>
          <a:custGeom>
            <a:avLst/>
            <a:gdLst/>
            <a:ahLst/>
            <a:cxnLst>
              <a:cxn ang="0">
                <a:pos x="271" y="2"/>
              </a:cxn>
              <a:cxn ang="0">
                <a:pos x="250" y="13"/>
              </a:cxn>
              <a:cxn ang="0">
                <a:pos x="106" y="157"/>
              </a:cxn>
              <a:cxn ang="0">
                <a:pos x="102" y="167"/>
              </a:cxn>
              <a:cxn ang="0">
                <a:pos x="106" y="176"/>
              </a:cxn>
              <a:cxn ang="0">
                <a:pos x="125" y="176"/>
              </a:cxn>
              <a:cxn ang="0">
                <a:pos x="269" y="31"/>
              </a:cxn>
              <a:cxn ang="0">
                <a:pos x="271" y="29"/>
              </a:cxn>
              <a:cxn ang="0">
                <a:pos x="271" y="30"/>
              </a:cxn>
              <a:cxn ang="0">
                <a:pos x="275" y="28"/>
              </a:cxn>
              <a:cxn ang="0">
                <a:pos x="329" y="63"/>
              </a:cxn>
              <a:cxn ang="0">
                <a:pos x="357" y="110"/>
              </a:cxn>
              <a:cxn ang="0">
                <a:pos x="356" y="116"/>
              </a:cxn>
              <a:cxn ang="0">
                <a:pos x="356" y="115"/>
              </a:cxn>
              <a:cxn ang="0">
                <a:pos x="355" y="116"/>
              </a:cxn>
              <a:cxn ang="0">
                <a:pos x="147" y="323"/>
              </a:cxn>
              <a:cxn ang="0">
                <a:pos x="33" y="353"/>
              </a:cxn>
              <a:cxn ang="0">
                <a:pos x="63" y="238"/>
              </a:cxn>
              <a:cxn ang="0">
                <a:pos x="91" y="218"/>
              </a:cxn>
              <a:cxn ang="0">
                <a:pos x="69" y="249"/>
              </a:cxn>
              <a:cxn ang="0">
                <a:pos x="65" y="259"/>
              </a:cxn>
              <a:cxn ang="0">
                <a:pos x="69" y="268"/>
              </a:cxn>
              <a:cxn ang="0">
                <a:pos x="88" y="268"/>
              </a:cxn>
              <a:cxn ang="0">
                <a:pos x="135" y="249"/>
              </a:cxn>
              <a:cxn ang="0">
                <a:pos x="136" y="252"/>
              </a:cxn>
              <a:cxn ang="0">
                <a:pos x="115" y="296"/>
              </a:cxn>
              <a:cxn ang="0">
                <a:pos x="111" y="305"/>
              </a:cxn>
              <a:cxn ang="0">
                <a:pos x="112" y="310"/>
              </a:cxn>
              <a:cxn ang="0">
                <a:pos x="113" y="311"/>
              </a:cxn>
              <a:cxn ang="0">
                <a:pos x="114" y="313"/>
              </a:cxn>
              <a:cxn ang="0">
                <a:pos x="114" y="313"/>
              </a:cxn>
              <a:cxn ang="0">
                <a:pos x="115" y="315"/>
              </a:cxn>
              <a:cxn ang="0">
                <a:pos x="115" y="315"/>
              </a:cxn>
              <a:cxn ang="0">
                <a:pos x="115" y="315"/>
              </a:cxn>
              <a:cxn ang="0">
                <a:pos x="117" y="316"/>
              </a:cxn>
              <a:cxn ang="0">
                <a:pos x="117" y="316"/>
              </a:cxn>
              <a:cxn ang="0">
                <a:pos x="134" y="315"/>
              </a:cxn>
              <a:cxn ang="0">
                <a:pos x="135" y="313"/>
              </a:cxn>
              <a:cxn ang="0">
                <a:pos x="136" y="313"/>
              </a:cxn>
              <a:cxn ang="0">
                <a:pos x="162" y="252"/>
              </a:cxn>
              <a:cxn ang="0">
                <a:pos x="154" y="230"/>
              </a:cxn>
              <a:cxn ang="0">
                <a:pos x="118" y="224"/>
              </a:cxn>
              <a:cxn ang="0">
                <a:pos x="122" y="206"/>
              </a:cxn>
              <a:cxn ang="0">
                <a:pos x="117" y="192"/>
              </a:cxn>
              <a:cxn ang="0">
                <a:pos x="103" y="187"/>
              </a:cxn>
              <a:cxn ang="0">
                <a:pos x="41" y="222"/>
              </a:cxn>
              <a:cxn ang="0">
                <a:pos x="38" y="227"/>
              </a:cxn>
              <a:cxn ang="0">
                <a:pos x="38" y="228"/>
              </a:cxn>
              <a:cxn ang="0">
                <a:pos x="38" y="228"/>
              </a:cxn>
              <a:cxn ang="0">
                <a:pos x="1" y="368"/>
              </a:cxn>
              <a:cxn ang="0">
                <a:pos x="5" y="381"/>
              </a:cxn>
              <a:cxn ang="0">
                <a:pos x="17" y="384"/>
              </a:cxn>
              <a:cxn ang="0">
                <a:pos x="157" y="348"/>
              </a:cxn>
              <a:cxn ang="0">
                <a:pos x="163" y="344"/>
              </a:cxn>
              <a:cxn ang="0">
                <a:pos x="373" y="136"/>
              </a:cxn>
              <a:cxn ang="0">
                <a:pos x="384" y="114"/>
              </a:cxn>
              <a:cxn ang="0">
                <a:pos x="384" y="110"/>
              </a:cxn>
              <a:cxn ang="0">
                <a:pos x="348" y="44"/>
              </a:cxn>
              <a:cxn ang="0">
                <a:pos x="348" y="44"/>
              </a:cxn>
              <a:cxn ang="0">
                <a:pos x="271" y="2"/>
              </a:cxn>
            </a:cxnLst>
            <a:rect l="0" t="0" r="r" b="b"/>
            <a:pathLst>
              <a:path w="384" h="386">
                <a:moveTo>
                  <a:pt x="271" y="2"/>
                </a:moveTo>
                <a:cubicBezTo>
                  <a:pt x="259" y="3"/>
                  <a:pt x="253" y="10"/>
                  <a:pt x="250" y="13"/>
                </a:cubicBezTo>
                <a:cubicBezTo>
                  <a:pt x="249" y="14"/>
                  <a:pt x="106" y="157"/>
                  <a:pt x="106" y="157"/>
                </a:cubicBezTo>
                <a:cubicBezTo>
                  <a:pt x="103" y="160"/>
                  <a:pt x="102" y="163"/>
                  <a:pt x="102" y="167"/>
                </a:cubicBezTo>
                <a:cubicBezTo>
                  <a:pt x="102" y="170"/>
                  <a:pt x="103" y="173"/>
                  <a:pt x="106" y="176"/>
                </a:cubicBezTo>
                <a:cubicBezTo>
                  <a:pt x="111" y="181"/>
                  <a:pt x="120" y="181"/>
                  <a:pt x="125" y="176"/>
                </a:cubicBezTo>
                <a:cubicBezTo>
                  <a:pt x="269" y="31"/>
                  <a:pt x="269" y="31"/>
                  <a:pt x="269" y="31"/>
                </a:cubicBezTo>
                <a:cubicBezTo>
                  <a:pt x="270" y="31"/>
                  <a:pt x="271" y="30"/>
                  <a:pt x="271" y="29"/>
                </a:cubicBezTo>
                <a:cubicBezTo>
                  <a:pt x="271" y="30"/>
                  <a:pt x="271" y="30"/>
                  <a:pt x="271" y="30"/>
                </a:cubicBezTo>
                <a:cubicBezTo>
                  <a:pt x="271" y="30"/>
                  <a:pt x="272" y="28"/>
                  <a:pt x="275" y="28"/>
                </a:cubicBezTo>
                <a:cubicBezTo>
                  <a:pt x="281" y="28"/>
                  <a:pt x="298" y="32"/>
                  <a:pt x="329" y="63"/>
                </a:cubicBezTo>
                <a:cubicBezTo>
                  <a:pt x="352" y="87"/>
                  <a:pt x="357" y="102"/>
                  <a:pt x="357" y="110"/>
                </a:cubicBezTo>
                <a:cubicBezTo>
                  <a:pt x="357" y="113"/>
                  <a:pt x="357" y="115"/>
                  <a:pt x="356" y="116"/>
                </a:cubicBezTo>
                <a:cubicBezTo>
                  <a:pt x="356" y="115"/>
                  <a:pt x="356" y="115"/>
                  <a:pt x="356" y="115"/>
                </a:cubicBezTo>
                <a:cubicBezTo>
                  <a:pt x="356" y="115"/>
                  <a:pt x="355" y="116"/>
                  <a:pt x="355" y="116"/>
                </a:cubicBezTo>
                <a:cubicBezTo>
                  <a:pt x="355" y="116"/>
                  <a:pt x="152" y="318"/>
                  <a:pt x="147" y="323"/>
                </a:cubicBezTo>
                <a:cubicBezTo>
                  <a:pt x="142" y="324"/>
                  <a:pt x="63" y="345"/>
                  <a:pt x="33" y="353"/>
                </a:cubicBezTo>
                <a:cubicBezTo>
                  <a:pt x="41" y="322"/>
                  <a:pt x="61" y="243"/>
                  <a:pt x="63" y="238"/>
                </a:cubicBezTo>
                <a:cubicBezTo>
                  <a:pt x="71" y="231"/>
                  <a:pt x="82" y="223"/>
                  <a:pt x="91" y="218"/>
                </a:cubicBezTo>
                <a:cubicBezTo>
                  <a:pt x="86" y="228"/>
                  <a:pt x="77" y="241"/>
                  <a:pt x="69" y="249"/>
                </a:cubicBezTo>
                <a:cubicBezTo>
                  <a:pt x="66" y="252"/>
                  <a:pt x="65" y="255"/>
                  <a:pt x="65" y="259"/>
                </a:cubicBezTo>
                <a:cubicBezTo>
                  <a:pt x="65" y="262"/>
                  <a:pt x="66" y="266"/>
                  <a:pt x="69" y="268"/>
                </a:cubicBezTo>
                <a:cubicBezTo>
                  <a:pt x="74" y="274"/>
                  <a:pt x="83" y="274"/>
                  <a:pt x="88" y="268"/>
                </a:cubicBezTo>
                <a:cubicBezTo>
                  <a:pt x="101" y="255"/>
                  <a:pt x="130" y="246"/>
                  <a:pt x="135" y="249"/>
                </a:cubicBezTo>
                <a:cubicBezTo>
                  <a:pt x="136" y="250"/>
                  <a:pt x="136" y="251"/>
                  <a:pt x="136" y="252"/>
                </a:cubicBezTo>
                <a:cubicBezTo>
                  <a:pt x="136" y="261"/>
                  <a:pt x="127" y="284"/>
                  <a:pt x="115" y="296"/>
                </a:cubicBezTo>
                <a:cubicBezTo>
                  <a:pt x="113" y="298"/>
                  <a:pt x="111" y="302"/>
                  <a:pt x="111" y="305"/>
                </a:cubicBezTo>
                <a:cubicBezTo>
                  <a:pt x="111" y="307"/>
                  <a:pt x="112" y="309"/>
                  <a:pt x="112" y="310"/>
                </a:cubicBezTo>
                <a:cubicBezTo>
                  <a:pt x="112" y="310"/>
                  <a:pt x="113" y="310"/>
                  <a:pt x="113" y="311"/>
                </a:cubicBezTo>
                <a:cubicBezTo>
                  <a:pt x="113" y="311"/>
                  <a:pt x="113" y="312"/>
                  <a:pt x="114" y="313"/>
                </a:cubicBezTo>
                <a:cubicBezTo>
                  <a:pt x="114" y="313"/>
                  <a:pt x="114" y="313"/>
                  <a:pt x="114" y="313"/>
                </a:cubicBezTo>
                <a:cubicBezTo>
                  <a:pt x="115" y="314"/>
                  <a:pt x="115" y="314"/>
                  <a:pt x="115" y="315"/>
                </a:cubicBezTo>
                <a:cubicBezTo>
                  <a:pt x="115" y="315"/>
                  <a:pt x="115" y="315"/>
                  <a:pt x="115" y="315"/>
                </a:cubicBezTo>
                <a:cubicBezTo>
                  <a:pt x="115" y="315"/>
                  <a:pt x="115" y="315"/>
                  <a:pt x="115" y="315"/>
                </a:cubicBezTo>
                <a:cubicBezTo>
                  <a:pt x="116" y="315"/>
                  <a:pt x="116" y="316"/>
                  <a:pt x="117" y="316"/>
                </a:cubicBezTo>
                <a:cubicBezTo>
                  <a:pt x="117" y="316"/>
                  <a:pt x="117" y="316"/>
                  <a:pt x="117" y="316"/>
                </a:cubicBezTo>
                <a:cubicBezTo>
                  <a:pt x="123" y="320"/>
                  <a:pt x="130" y="319"/>
                  <a:pt x="134" y="315"/>
                </a:cubicBezTo>
                <a:cubicBezTo>
                  <a:pt x="135" y="313"/>
                  <a:pt x="135" y="313"/>
                  <a:pt x="135" y="313"/>
                </a:cubicBezTo>
                <a:cubicBezTo>
                  <a:pt x="136" y="313"/>
                  <a:pt x="136" y="313"/>
                  <a:pt x="136" y="313"/>
                </a:cubicBezTo>
                <a:cubicBezTo>
                  <a:pt x="147" y="300"/>
                  <a:pt x="162" y="274"/>
                  <a:pt x="162" y="252"/>
                </a:cubicBezTo>
                <a:cubicBezTo>
                  <a:pt x="162" y="243"/>
                  <a:pt x="160" y="236"/>
                  <a:pt x="154" y="230"/>
                </a:cubicBezTo>
                <a:cubicBezTo>
                  <a:pt x="145" y="221"/>
                  <a:pt x="132" y="220"/>
                  <a:pt x="118" y="224"/>
                </a:cubicBezTo>
                <a:cubicBezTo>
                  <a:pt x="121" y="218"/>
                  <a:pt x="122" y="212"/>
                  <a:pt x="122" y="206"/>
                </a:cubicBezTo>
                <a:cubicBezTo>
                  <a:pt x="122" y="201"/>
                  <a:pt x="121" y="196"/>
                  <a:pt x="117" y="192"/>
                </a:cubicBezTo>
                <a:cubicBezTo>
                  <a:pt x="114" y="190"/>
                  <a:pt x="110" y="187"/>
                  <a:pt x="103" y="187"/>
                </a:cubicBezTo>
                <a:cubicBezTo>
                  <a:pt x="84" y="187"/>
                  <a:pt x="53" y="210"/>
                  <a:pt x="41" y="222"/>
                </a:cubicBezTo>
                <a:cubicBezTo>
                  <a:pt x="40" y="223"/>
                  <a:pt x="39" y="225"/>
                  <a:pt x="38" y="227"/>
                </a:cubicBezTo>
                <a:cubicBezTo>
                  <a:pt x="38" y="228"/>
                  <a:pt x="38" y="228"/>
                  <a:pt x="38" y="228"/>
                </a:cubicBezTo>
                <a:cubicBezTo>
                  <a:pt x="38" y="228"/>
                  <a:pt x="38" y="228"/>
                  <a:pt x="38" y="228"/>
                </a:cubicBezTo>
                <a:cubicBezTo>
                  <a:pt x="1" y="368"/>
                  <a:pt x="1" y="368"/>
                  <a:pt x="1" y="368"/>
                </a:cubicBezTo>
                <a:cubicBezTo>
                  <a:pt x="0" y="373"/>
                  <a:pt x="1" y="378"/>
                  <a:pt x="5" y="381"/>
                </a:cubicBezTo>
                <a:cubicBezTo>
                  <a:pt x="8" y="384"/>
                  <a:pt x="13" y="386"/>
                  <a:pt x="17" y="384"/>
                </a:cubicBezTo>
                <a:cubicBezTo>
                  <a:pt x="157" y="348"/>
                  <a:pt x="157" y="348"/>
                  <a:pt x="157" y="348"/>
                </a:cubicBezTo>
                <a:cubicBezTo>
                  <a:pt x="160" y="347"/>
                  <a:pt x="162" y="346"/>
                  <a:pt x="163" y="344"/>
                </a:cubicBezTo>
                <a:cubicBezTo>
                  <a:pt x="163" y="344"/>
                  <a:pt x="372" y="136"/>
                  <a:pt x="373" y="136"/>
                </a:cubicBezTo>
                <a:cubicBezTo>
                  <a:pt x="376" y="133"/>
                  <a:pt x="383" y="126"/>
                  <a:pt x="384" y="114"/>
                </a:cubicBezTo>
                <a:cubicBezTo>
                  <a:pt x="384" y="112"/>
                  <a:pt x="384" y="111"/>
                  <a:pt x="384" y="110"/>
                </a:cubicBezTo>
                <a:cubicBezTo>
                  <a:pt x="384" y="91"/>
                  <a:pt x="372" y="69"/>
                  <a:pt x="348" y="44"/>
                </a:cubicBezTo>
                <a:cubicBezTo>
                  <a:pt x="348" y="44"/>
                  <a:pt x="348" y="44"/>
                  <a:pt x="348" y="44"/>
                </a:cubicBezTo>
                <a:cubicBezTo>
                  <a:pt x="318" y="14"/>
                  <a:pt x="292" y="0"/>
                  <a:pt x="271" y="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9" name="Freeform 179"/>
          <p:cNvSpPr>
            <a:spLocks/>
          </p:cNvSpPr>
          <p:nvPr userDrawn="1"/>
        </p:nvSpPr>
        <p:spPr bwMode="auto">
          <a:xfrm>
            <a:off x="1909464" y="870052"/>
            <a:ext cx="390627" cy="392906"/>
          </a:xfrm>
          <a:custGeom>
            <a:avLst/>
            <a:gdLst/>
            <a:ahLst/>
            <a:cxnLst>
              <a:cxn ang="0">
                <a:pos x="12" y="165"/>
              </a:cxn>
              <a:cxn ang="0">
                <a:pos x="2" y="213"/>
              </a:cxn>
              <a:cxn ang="0">
                <a:pos x="64" y="219"/>
              </a:cxn>
              <a:cxn ang="0">
                <a:pos x="64" y="215"/>
              </a:cxn>
              <a:cxn ang="0">
                <a:pos x="107" y="105"/>
              </a:cxn>
              <a:cxn ang="0">
                <a:pos x="333" y="164"/>
              </a:cxn>
              <a:cxn ang="0">
                <a:pos x="314" y="244"/>
              </a:cxn>
              <a:cxn ang="0">
                <a:pos x="356" y="313"/>
              </a:cxn>
              <a:cxn ang="0">
                <a:pos x="350" y="296"/>
              </a:cxn>
              <a:cxn ang="0">
                <a:pos x="342" y="229"/>
              </a:cxn>
              <a:cxn ang="0">
                <a:pos x="361" y="166"/>
              </a:cxn>
              <a:cxn ang="0">
                <a:pos x="202" y="39"/>
              </a:cxn>
              <a:cxn ang="0">
                <a:pos x="38" y="211"/>
              </a:cxn>
              <a:cxn ang="0">
                <a:pos x="37" y="218"/>
              </a:cxn>
              <a:cxn ang="0">
                <a:pos x="37" y="219"/>
              </a:cxn>
              <a:cxn ang="0">
                <a:pos x="28" y="208"/>
              </a:cxn>
              <a:cxn ang="0">
                <a:pos x="36" y="179"/>
              </a:cxn>
              <a:cxn ang="0">
                <a:pos x="38" y="174"/>
              </a:cxn>
              <a:cxn ang="0">
                <a:pos x="209" y="28"/>
              </a:cxn>
              <a:cxn ang="0">
                <a:pos x="381" y="166"/>
              </a:cxn>
              <a:cxn ang="0">
                <a:pos x="387" y="173"/>
              </a:cxn>
              <a:cxn ang="0">
                <a:pos x="418" y="189"/>
              </a:cxn>
              <a:cxn ang="0">
                <a:pos x="387" y="308"/>
              </a:cxn>
              <a:cxn ang="0">
                <a:pos x="372" y="309"/>
              </a:cxn>
              <a:cxn ang="0">
                <a:pos x="365" y="323"/>
              </a:cxn>
              <a:cxn ang="0">
                <a:pos x="274" y="420"/>
              </a:cxn>
              <a:cxn ang="0">
                <a:pos x="237" y="423"/>
              </a:cxn>
              <a:cxn ang="0">
                <a:pos x="227" y="431"/>
              </a:cxn>
              <a:cxn ang="0">
                <a:pos x="206" y="435"/>
              </a:cxn>
              <a:cxn ang="0">
                <a:pos x="208" y="423"/>
              </a:cxn>
              <a:cxn ang="0">
                <a:pos x="233" y="417"/>
              </a:cxn>
              <a:cxn ang="0">
                <a:pos x="211" y="396"/>
              </a:cxn>
              <a:cxn ang="0">
                <a:pos x="161" y="422"/>
              </a:cxn>
              <a:cxn ang="0">
                <a:pos x="246" y="449"/>
              </a:cxn>
              <a:cxn ang="0">
                <a:pos x="389" y="334"/>
              </a:cxn>
              <a:cxn ang="0">
                <a:pos x="461" y="246"/>
              </a:cxn>
              <a:cxn ang="0">
                <a:pos x="438" y="171"/>
              </a:cxn>
              <a:cxn ang="0">
                <a:pos x="333" y="46"/>
              </a:cxn>
              <a:cxn ang="0">
                <a:pos x="81" y="48"/>
              </a:cxn>
            </a:cxnLst>
            <a:rect l="0" t="0" r="r" b="b"/>
            <a:pathLst>
              <a:path w="461" h="464">
                <a:moveTo>
                  <a:pt x="81" y="48"/>
                </a:moveTo>
                <a:cubicBezTo>
                  <a:pt x="46" y="78"/>
                  <a:pt x="22" y="119"/>
                  <a:pt x="12" y="165"/>
                </a:cubicBezTo>
                <a:cubicBezTo>
                  <a:pt x="6" y="171"/>
                  <a:pt x="0" y="181"/>
                  <a:pt x="0" y="197"/>
                </a:cubicBezTo>
                <a:cubicBezTo>
                  <a:pt x="0" y="202"/>
                  <a:pt x="0" y="207"/>
                  <a:pt x="2" y="213"/>
                </a:cubicBezTo>
                <a:cubicBezTo>
                  <a:pt x="8" y="243"/>
                  <a:pt x="26" y="247"/>
                  <a:pt x="36" y="246"/>
                </a:cubicBezTo>
                <a:cubicBezTo>
                  <a:pt x="49" y="246"/>
                  <a:pt x="63" y="237"/>
                  <a:pt x="64" y="219"/>
                </a:cubicBezTo>
                <a:cubicBezTo>
                  <a:pt x="64" y="220"/>
                  <a:pt x="64" y="220"/>
                  <a:pt x="64" y="220"/>
                </a:cubicBezTo>
                <a:cubicBezTo>
                  <a:pt x="64" y="215"/>
                  <a:pt x="64" y="215"/>
                  <a:pt x="64" y="215"/>
                </a:cubicBezTo>
                <a:cubicBezTo>
                  <a:pt x="64" y="214"/>
                  <a:pt x="64" y="214"/>
                  <a:pt x="64" y="213"/>
                </a:cubicBezTo>
                <a:cubicBezTo>
                  <a:pt x="64" y="172"/>
                  <a:pt x="80" y="132"/>
                  <a:pt x="107" y="105"/>
                </a:cubicBezTo>
                <a:cubicBezTo>
                  <a:pt x="133" y="79"/>
                  <a:pt x="166" y="65"/>
                  <a:pt x="201" y="66"/>
                </a:cubicBezTo>
                <a:cubicBezTo>
                  <a:pt x="259" y="67"/>
                  <a:pt x="311" y="106"/>
                  <a:pt x="333" y="164"/>
                </a:cubicBezTo>
                <a:cubicBezTo>
                  <a:pt x="322" y="179"/>
                  <a:pt x="317" y="199"/>
                  <a:pt x="315" y="228"/>
                </a:cubicBezTo>
                <a:cubicBezTo>
                  <a:pt x="315" y="231"/>
                  <a:pt x="314" y="236"/>
                  <a:pt x="314" y="244"/>
                </a:cubicBezTo>
                <a:cubicBezTo>
                  <a:pt x="314" y="269"/>
                  <a:pt x="318" y="311"/>
                  <a:pt x="339" y="320"/>
                </a:cubicBezTo>
                <a:cubicBezTo>
                  <a:pt x="345" y="323"/>
                  <a:pt x="353" y="320"/>
                  <a:pt x="356" y="313"/>
                </a:cubicBezTo>
                <a:cubicBezTo>
                  <a:pt x="359" y="306"/>
                  <a:pt x="356" y="299"/>
                  <a:pt x="349" y="296"/>
                </a:cubicBezTo>
                <a:cubicBezTo>
                  <a:pt x="350" y="296"/>
                  <a:pt x="350" y="296"/>
                  <a:pt x="350" y="296"/>
                </a:cubicBezTo>
                <a:cubicBezTo>
                  <a:pt x="347" y="293"/>
                  <a:pt x="341" y="274"/>
                  <a:pt x="341" y="244"/>
                </a:cubicBezTo>
                <a:cubicBezTo>
                  <a:pt x="341" y="240"/>
                  <a:pt x="341" y="235"/>
                  <a:pt x="342" y="229"/>
                </a:cubicBezTo>
                <a:cubicBezTo>
                  <a:pt x="343" y="203"/>
                  <a:pt x="349" y="185"/>
                  <a:pt x="358" y="175"/>
                </a:cubicBezTo>
                <a:cubicBezTo>
                  <a:pt x="360" y="172"/>
                  <a:pt x="361" y="169"/>
                  <a:pt x="361" y="166"/>
                </a:cubicBezTo>
                <a:cubicBezTo>
                  <a:pt x="361" y="164"/>
                  <a:pt x="361" y="162"/>
                  <a:pt x="360" y="160"/>
                </a:cubicBezTo>
                <a:cubicBezTo>
                  <a:pt x="336" y="89"/>
                  <a:pt x="273" y="40"/>
                  <a:pt x="202" y="39"/>
                </a:cubicBezTo>
                <a:cubicBezTo>
                  <a:pt x="159" y="39"/>
                  <a:pt x="119" y="55"/>
                  <a:pt x="88" y="86"/>
                </a:cubicBezTo>
                <a:cubicBezTo>
                  <a:pt x="56" y="118"/>
                  <a:pt x="38" y="164"/>
                  <a:pt x="38" y="211"/>
                </a:cubicBezTo>
                <a:cubicBezTo>
                  <a:pt x="38" y="212"/>
                  <a:pt x="38" y="212"/>
                  <a:pt x="38" y="213"/>
                </a:cubicBezTo>
                <a:cubicBezTo>
                  <a:pt x="38" y="214"/>
                  <a:pt x="37" y="218"/>
                  <a:pt x="37" y="218"/>
                </a:cubicBezTo>
                <a:cubicBezTo>
                  <a:pt x="37" y="218"/>
                  <a:pt x="37" y="218"/>
                  <a:pt x="37" y="218"/>
                </a:cubicBezTo>
                <a:cubicBezTo>
                  <a:pt x="37" y="219"/>
                  <a:pt x="37" y="219"/>
                  <a:pt x="37" y="219"/>
                </a:cubicBezTo>
                <a:cubicBezTo>
                  <a:pt x="37" y="219"/>
                  <a:pt x="36" y="220"/>
                  <a:pt x="36" y="220"/>
                </a:cubicBezTo>
                <a:cubicBezTo>
                  <a:pt x="34" y="220"/>
                  <a:pt x="30" y="220"/>
                  <a:pt x="28" y="208"/>
                </a:cubicBezTo>
                <a:cubicBezTo>
                  <a:pt x="26" y="201"/>
                  <a:pt x="25" y="189"/>
                  <a:pt x="31" y="184"/>
                </a:cubicBezTo>
                <a:cubicBezTo>
                  <a:pt x="33" y="183"/>
                  <a:pt x="35" y="181"/>
                  <a:pt x="36" y="179"/>
                </a:cubicBezTo>
                <a:cubicBezTo>
                  <a:pt x="37" y="178"/>
                  <a:pt x="37" y="178"/>
                  <a:pt x="37" y="178"/>
                </a:cubicBezTo>
                <a:cubicBezTo>
                  <a:pt x="37" y="177"/>
                  <a:pt x="37" y="175"/>
                  <a:pt x="38" y="174"/>
                </a:cubicBezTo>
                <a:cubicBezTo>
                  <a:pt x="46" y="133"/>
                  <a:pt x="67" y="95"/>
                  <a:pt x="98" y="68"/>
                </a:cubicBezTo>
                <a:cubicBezTo>
                  <a:pt x="129" y="41"/>
                  <a:pt x="168" y="27"/>
                  <a:pt x="209" y="28"/>
                </a:cubicBezTo>
                <a:cubicBezTo>
                  <a:pt x="248" y="28"/>
                  <a:pt x="285" y="42"/>
                  <a:pt x="316" y="67"/>
                </a:cubicBezTo>
                <a:cubicBezTo>
                  <a:pt x="347" y="92"/>
                  <a:pt x="370" y="127"/>
                  <a:pt x="381" y="166"/>
                </a:cubicBezTo>
                <a:cubicBezTo>
                  <a:pt x="382" y="168"/>
                  <a:pt x="383" y="170"/>
                  <a:pt x="385" y="172"/>
                </a:cubicBezTo>
                <a:cubicBezTo>
                  <a:pt x="387" y="173"/>
                  <a:pt x="387" y="173"/>
                  <a:pt x="387" y="173"/>
                </a:cubicBezTo>
                <a:cubicBezTo>
                  <a:pt x="389" y="175"/>
                  <a:pt x="392" y="177"/>
                  <a:pt x="395" y="177"/>
                </a:cubicBezTo>
                <a:cubicBezTo>
                  <a:pt x="405" y="178"/>
                  <a:pt x="413" y="184"/>
                  <a:pt x="418" y="189"/>
                </a:cubicBezTo>
                <a:cubicBezTo>
                  <a:pt x="429" y="202"/>
                  <a:pt x="435" y="223"/>
                  <a:pt x="434" y="245"/>
                </a:cubicBezTo>
                <a:cubicBezTo>
                  <a:pt x="432" y="280"/>
                  <a:pt x="410" y="309"/>
                  <a:pt x="387" y="308"/>
                </a:cubicBezTo>
                <a:cubicBezTo>
                  <a:pt x="385" y="308"/>
                  <a:pt x="384" y="307"/>
                  <a:pt x="382" y="307"/>
                </a:cubicBezTo>
                <a:cubicBezTo>
                  <a:pt x="379" y="306"/>
                  <a:pt x="375" y="307"/>
                  <a:pt x="372" y="309"/>
                </a:cubicBezTo>
                <a:cubicBezTo>
                  <a:pt x="369" y="310"/>
                  <a:pt x="367" y="313"/>
                  <a:pt x="366" y="317"/>
                </a:cubicBezTo>
                <a:cubicBezTo>
                  <a:pt x="365" y="323"/>
                  <a:pt x="365" y="323"/>
                  <a:pt x="365" y="323"/>
                </a:cubicBezTo>
                <a:cubicBezTo>
                  <a:pt x="365" y="323"/>
                  <a:pt x="365" y="323"/>
                  <a:pt x="365" y="323"/>
                </a:cubicBezTo>
                <a:cubicBezTo>
                  <a:pt x="354" y="373"/>
                  <a:pt x="320" y="409"/>
                  <a:pt x="274" y="420"/>
                </a:cubicBezTo>
                <a:cubicBezTo>
                  <a:pt x="264" y="422"/>
                  <a:pt x="253" y="423"/>
                  <a:pt x="242" y="422"/>
                </a:cubicBezTo>
                <a:cubicBezTo>
                  <a:pt x="240" y="422"/>
                  <a:pt x="239" y="423"/>
                  <a:pt x="237" y="423"/>
                </a:cubicBezTo>
                <a:cubicBezTo>
                  <a:pt x="234" y="424"/>
                  <a:pt x="234" y="424"/>
                  <a:pt x="234" y="424"/>
                </a:cubicBezTo>
                <a:cubicBezTo>
                  <a:pt x="231" y="426"/>
                  <a:pt x="228" y="428"/>
                  <a:pt x="227" y="431"/>
                </a:cubicBezTo>
                <a:cubicBezTo>
                  <a:pt x="227" y="431"/>
                  <a:pt x="227" y="431"/>
                  <a:pt x="227" y="431"/>
                </a:cubicBezTo>
                <a:cubicBezTo>
                  <a:pt x="225" y="433"/>
                  <a:pt x="218" y="436"/>
                  <a:pt x="206" y="435"/>
                </a:cubicBezTo>
                <a:cubicBezTo>
                  <a:pt x="195" y="433"/>
                  <a:pt x="189" y="428"/>
                  <a:pt x="188" y="426"/>
                </a:cubicBezTo>
                <a:cubicBezTo>
                  <a:pt x="190" y="424"/>
                  <a:pt x="197" y="421"/>
                  <a:pt x="208" y="423"/>
                </a:cubicBezTo>
                <a:cubicBezTo>
                  <a:pt x="211" y="423"/>
                  <a:pt x="214" y="424"/>
                  <a:pt x="216" y="425"/>
                </a:cubicBezTo>
                <a:cubicBezTo>
                  <a:pt x="223" y="427"/>
                  <a:pt x="231" y="424"/>
                  <a:pt x="233" y="417"/>
                </a:cubicBezTo>
                <a:cubicBezTo>
                  <a:pt x="236" y="410"/>
                  <a:pt x="233" y="402"/>
                  <a:pt x="226" y="400"/>
                </a:cubicBezTo>
                <a:cubicBezTo>
                  <a:pt x="221" y="398"/>
                  <a:pt x="216" y="397"/>
                  <a:pt x="211" y="396"/>
                </a:cubicBezTo>
                <a:cubicBezTo>
                  <a:pt x="196" y="394"/>
                  <a:pt x="182" y="397"/>
                  <a:pt x="172" y="404"/>
                </a:cubicBezTo>
                <a:cubicBezTo>
                  <a:pt x="166" y="409"/>
                  <a:pt x="162" y="415"/>
                  <a:pt x="161" y="422"/>
                </a:cubicBezTo>
                <a:cubicBezTo>
                  <a:pt x="159" y="441"/>
                  <a:pt x="177" y="458"/>
                  <a:pt x="203" y="461"/>
                </a:cubicBezTo>
                <a:cubicBezTo>
                  <a:pt x="221" y="464"/>
                  <a:pt x="237" y="459"/>
                  <a:pt x="246" y="449"/>
                </a:cubicBezTo>
                <a:cubicBezTo>
                  <a:pt x="257" y="449"/>
                  <a:pt x="269" y="448"/>
                  <a:pt x="280" y="446"/>
                </a:cubicBezTo>
                <a:cubicBezTo>
                  <a:pt x="335" y="433"/>
                  <a:pt x="376" y="392"/>
                  <a:pt x="389" y="334"/>
                </a:cubicBezTo>
                <a:cubicBezTo>
                  <a:pt x="407" y="334"/>
                  <a:pt x="424" y="325"/>
                  <a:pt x="438" y="309"/>
                </a:cubicBezTo>
                <a:cubicBezTo>
                  <a:pt x="451" y="292"/>
                  <a:pt x="459" y="270"/>
                  <a:pt x="461" y="246"/>
                </a:cubicBezTo>
                <a:cubicBezTo>
                  <a:pt x="461" y="244"/>
                  <a:pt x="461" y="241"/>
                  <a:pt x="461" y="239"/>
                </a:cubicBezTo>
                <a:cubicBezTo>
                  <a:pt x="461" y="212"/>
                  <a:pt x="453" y="188"/>
                  <a:pt x="438" y="171"/>
                </a:cubicBezTo>
                <a:cubicBezTo>
                  <a:pt x="428" y="161"/>
                  <a:pt x="417" y="154"/>
                  <a:pt x="405" y="151"/>
                </a:cubicBezTo>
                <a:cubicBezTo>
                  <a:pt x="391" y="110"/>
                  <a:pt x="366" y="73"/>
                  <a:pt x="333" y="46"/>
                </a:cubicBezTo>
                <a:cubicBezTo>
                  <a:pt x="297" y="17"/>
                  <a:pt x="254" y="1"/>
                  <a:pt x="209" y="1"/>
                </a:cubicBezTo>
                <a:cubicBezTo>
                  <a:pt x="162" y="0"/>
                  <a:pt x="117" y="17"/>
                  <a:pt x="81" y="4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0" name="Freeform 221"/>
          <p:cNvSpPr>
            <a:spLocks/>
          </p:cNvSpPr>
          <p:nvPr userDrawn="1"/>
        </p:nvSpPr>
        <p:spPr bwMode="auto">
          <a:xfrm>
            <a:off x="1921970" y="3335156"/>
            <a:ext cx="365617" cy="321469"/>
          </a:xfrm>
          <a:custGeom>
            <a:avLst/>
            <a:gdLst/>
            <a:ahLst/>
            <a:cxnLst>
              <a:cxn ang="0">
                <a:pos x="240" y="0"/>
              </a:cxn>
              <a:cxn ang="0">
                <a:pos x="61" y="126"/>
              </a:cxn>
              <a:cxn ang="0">
                <a:pos x="59" y="133"/>
              </a:cxn>
              <a:cxn ang="0">
                <a:pos x="67" y="146"/>
              </a:cxn>
              <a:cxn ang="0">
                <a:pos x="107" y="158"/>
              </a:cxn>
              <a:cxn ang="0">
                <a:pos x="55" y="178"/>
              </a:cxn>
              <a:cxn ang="0">
                <a:pos x="26" y="105"/>
              </a:cxn>
              <a:cxn ang="0">
                <a:pos x="8" y="95"/>
              </a:cxn>
              <a:cxn ang="0">
                <a:pos x="3" y="113"/>
              </a:cxn>
              <a:cxn ang="0">
                <a:pos x="3" y="113"/>
              </a:cxn>
              <a:cxn ang="0">
                <a:pos x="37" y="199"/>
              </a:cxn>
              <a:cxn ang="0">
                <a:pos x="52" y="203"/>
              </a:cxn>
              <a:cxn ang="0">
                <a:pos x="141" y="167"/>
              </a:cxn>
              <a:cxn ang="0">
                <a:pos x="149" y="156"/>
              </a:cxn>
              <a:cxn ang="0">
                <a:pos x="140" y="144"/>
              </a:cxn>
              <a:cxn ang="0">
                <a:pos x="85" y="127"/>
              </a:cxn>
              <a:cxn ang="0">
                <a:pos x="85" y="126"/>
              </a:cxn>
              <a:cxn ang="0">
                <a:pos x="122" y="72"/>
              </a:cxn>
              <a:cxn ang="0">
                <a:pos x="240" y="23"/>
              </a:cxn>
              <a:cxn ang="0">
                <a:pos x="359" y="72"/>
              </a:cxn>
              <a:cxn ang="0">
                <a:pos x="408" y="191"/>
              </a:cxn>
              <a:cxn ang="0">
                <a:pos x="359" y="309"/>
              </a:cxn>
              <a:cxn ang="0">
                <a:pos x="240" y="358"/>
              </a:cxn>
              <a:cxn ang="0">
                <a:pos x="122" y="309"/>
              </a:cxn>
              <a:cxn ang="0">
                <a:pos x="92" y="268"/>
              </a:cxn>
              <a:cxn ang="0">
                <a:pos x="198" y="224"/>
              </a:cxn>
              <a:cxn ang="0">
                <a:pos x="199" y="224"/>
              </a:cxn>
              <a:cxn ang="0">
                <a:pos x="207" y="209"/>
              </a:cxn>
              <a:cxn ang="0">
                <a:pos x="203" y="192"/>
              </a:cxn>
              <a:cxn ang="0">
                <a:pos x="241" y="154"/>
              </a:cxn>
              <a:cxn ang="0">
                <a:pos x="278" y="192"/>
              </a:cxn>
              <a:cxn ang="0">
                <a:pos x="241" y="230"/>
              </a:cxn>
              <a:cxn ang="0">
                <a:pos x="235" y="229"/>
              </a:cxn>
              <a:cxn ang="0">
                <a:pos x="233" y="229"/>
              </a:cxn>
              <a:cxn ang="0">
                <a:pos x="233" y="229"/>
              </a:cxn>
              <a:cxn ang="0">
                <a:pos x="231" y="229"/>
              </a:cxn>
              <a:cxn ang="0">
                <a:pos x="219" y="239"/>
              </a:cxn>
              <a:cxn ang="0">
                <a:pos x="219" y="240"/>
              </a:cxn>
              <a:cxn ang="0">
                <a:pos x="230" y="253"/>
              </a:cxn>
              <a:cxn ang="0">
                <a:pos x="230" y="253"/>
              </a:cxn>
              <a:cxn ang="0">
                <a:pos x="230" y="253"/>
              </a:cxn>
              <a:cxn ang="0">
                <a:pos x="241" y="254"/>
              </a:cxn>
              <a:cxn ang="0">
                <a:pos x="302" y="192"/>
              </a:cxn>
              <a:cxn ang="0">
                <a:pos x="241" y="130"/>
              </a:cxn>
              <a:cxn ang="0">
                <a:pos x="179" y="192"/>
              </a:cxn>
              <a:cxn ang="0">
                <a:pos x="180" y="206"/>
              </a:cxn>
              <a:cxn ang="0">
                <a:pos x="74" y="250"/>
              </a:cxn>
              <a:cxn ang="0">
                <a:pos x="66" y="268"/>
              </a:cxn>
              <a:cxn ang="0">
                <a:pos x="71" y="277"/>
              </a:cxn>
              <a:cxn ang="0">
                <a:pos x="240" y="381"/>
              </a:cxn>
              <a:cxn ang="0">
                <a:pos x="431" y="191"/>
              </a:cxn>
              <a:cxn ang="0">
                <a:pos x="240" y="0"/>
              </a:cxn>
            </a:cxnLst>
            <a:rect l="0" t="0" r="r" b="b"/>
            <a:pathLst>
              <a:path w="431" h="381">
                <a:moveTo>
                  <a:pt x="240" y="0"/>
                </a:moveTo>
                <a:cubicBezTo>
                  <a:pt x="158" y="0"/>
                  <a:pt x="88" y="53"/>
                  <a:pt x="61" y="126"/>
                </a:cubicBezTo>
                <a:cubicBezTo>
                  <a:pt x="60" y="129"/>
                  <a:pt x="60" y="130"/>
                  <a:pt x="59" y="133"/>
                </a:cubicBezTo>
                <a:cubicBezTo>
                  <a:pt x="57" y="140"/>
                  <a:pt x="60" y="144"/>
                  <a:pt x="67" y="146"/>
                </a:cubicBezTo>
                <a:cubicBezTo>
                  <a:pt x="107" y="158"/>
                  <a:pt x="107" y="158"/>
                  <a:pt x="107" y="158"/>
                </a:cubicBezTo>
                <a:cubicBezTo>
                  <a:pt x="55" y="178"/>
                  <a:pt x="55" y="178"/>
                  <a:pt x="55" y="178"/>
                </a:cubicBezTo>
                <a:cubicBezTo>
                  <a:pt x="26" y="105"/>
                  <a:pt x="26" y="105"/>
                  <a:pt x="26" y="105"/>
                </a:cubicBezTo>
                <a:cubicBezTo>
                  <a:pt x="23" y="95"/>
                  <a:pt x="15" y="92"/>
                  <a:pt x="8" y="95"/>
                </a:cubicBezTo>
                <a:cubicBezTo>
                  <a:pt x="0" y="97"/>
                  <a:pt x="0" y="106"/>
                  <a:pt x="3" y="113"/>
                </a:cubicBezTo>
                <a:cubicBezTo>
                  <a:pt x="3" y="113"/>
                  <a:pt x="3" y="113"/>
                  <a:pt x="3" y="113"/>
                </a:cubicBezTo>
                <a:cubicBezTo>
                  <a:pt x="37" y="199"/>
                  <a:pt x="37" y="199"/>
                  <a:pt x="37" y="199"/>
                </a:cubicBezTo>
                <a:cubicBezTo>
                  <a:pt x="40" y="205"/>
                  <a:pt x="47" y="205"/>
                  <a:pt x="52" y="203"/>
                </a:cubicBezTo>
                <a:cubicBezTo>
                  <a:pt x="141" y="167"/>
                  <a:pt x="141" y="167"/>
                  <a:pt x="141" y="167"/>
                </a:cubicBezTo>
                <a:cubicBezTo>
                  <a:pt x="147" y="164"/>
                  <a:pt x="149" y="162"/>
                  <a:pt x="149" y="156"/>
                </a:cubicBezTo>
                <a:cubicBezTo>
                  <a:pt x="148" y="150"/>
                  <a:pt x="146" y="146"/>
                  <a:pt x="140" y="144"/>
                </a:cubicBezTo>
                <a:cubicBezTo>
                  <a:pt x="85" y="127"/>
                  <a:pt x="85" y="127"/>
                  <a:pt x="85" y="127"/>
                </a:cubicBezTo>
                <a:cubicBezTo>
                  <a:pt x="85" y="126"/>
                  <a:pt x="85" y="126"/>
                  <a:pt x="85" y="126"/>
                </a:cubicBezTo>
                <a:cubicBezTo>
                  <a:pt x="94" y="106"/>
                  <a:pt x="107" y="87"/>
                  <a:pt x="122" y="72"/>
                </a:cubicBezTo>
                <a:cubicBezTo>
                  <a:pt x="152" y="42"/>
                  <a:pt x="194" y="23"/>
                  <a:pt x="240" y="23"/>
                </a:cubicBezTo>
                <a:cubicBezTo>
                  <a:pt x="287" y="23"/>
                  <a:pt x="329" y="42"/>
                  <a:pt x="359" y="72"/>
                </a:cubicBezTo>
                <a:cubicBezTo>
                  <a:pt x="389" y="103"/>
                  <a:pt x="408" y="144"/>
                  <a:pt x="408" y="191"/>
                </a:cubicBezTo>
                <a:cubicBezTo>
                  <a:pt x="408" y="237"/>
                  <a:pt x="389" y="279"/>
                  <a:pt x="359" y="309"/>
                </a:cubicBezTo>
                <a:cubicBezTo>
                  <a:pt x="329" y="339"/>
                  <a:pt x="287" y="358"/>
                  <a:pt x="240" y="358"/>
                </a:cubicBezTo>
                <a:cubicBezTo>
                  <a:pt x="194" y="358"/>
                  <a:pt x="152" y="339"/>
                  <a:pt x="122" y="309"/>
                </a:cubicBezTo>
                <a:cubicBezTo>
                  <a:pt x="110" y="297"/>
                  <a:pt x="100" y="283"/>
                  <a:pt x="92" y="268"/>
                </a:cubicBezTo>
                <a:cubicBezTo>
                  <a:pt x="92" y="268"/>
                  <a:pt x="165" y="238"/>
                  <a:pt x="198" y="224"/>
                </a:cubicBezTo>
                <a:cubicBezTo>
                  <a:pt x="198" y="224"/>
                  <a:pt x="198" y="224"/>
                  <a:pt x="199" y="224"/>
                </a:cubicBezTo>
                <a:cubicBezTo>
                  <a:pt x="209" y="219"/>
                  <a:pt x="207" y="209"/>
                  <a:pt x="207" y="209"/>
                </a:cubicBezTo>
                <a:cubicBezTo>
                  <a:pt x="204" y="204"/>
                  <a:pt x="203" y="198"/>
                  <a:pt x="203" y="192"/>
                </a:cubicBezTo>
                <a:cubicBezTo>
                  <a:pt x="203" y="171"/>
                  <a:pt x="220" y="154"/>
                  <a:pt x="241" y="154"/>
                </a:cubicBezTo>
                <a:cubicBezTo>
                  <a:pt x="261" y="154"/>
                  <a:pt x="278" y="171"/>
                  <a:pt x="278" y="192"/>
                </a:cubicBezTo>
                <a:cubicBezTo>
                  <a:pt x="278" y="213"/>
                  <a:pt x="261" y="230"/>
                  <a:pt x="241" y="230"/>
                </a:cubicBezTo>
                <a:cubicBezTo>
                  <a:pt x="239" y="230"/>
                  <a:pt x="237" y="230"/>
                  <a:pt x="235" y="229"/>
                </a:cubicBezTo>
                <a:cubicBezTo>
                  <a:pt x="235" y="229"/>
                  <a:pt x="234" y="229"/>
                  <a:pt x="233" y="229"/>
                </a:cubicBezTo>
                <a:cubicBezTo>
                  <a:pt x="233" y="229"/>
                  <a:pt x="233" y="229"/>
                  <a:pt x="233" y="229"/>
                </a:cubicBezTo>
                <a:cubicBezTo>
                  <a:pt x="232" y="229"/>
                  <a:pt x="232" y="229"/>
                  <a:pt x="231" y="229"/>
                </a:cubicBezTo>
                <a:cubicBezTo>
                  <a:pt x="225" y="229"/>
                  <a:pt x="220" y="233"/>
                  <a:pt x="219" y="239"/>
                </a:cubicBezTo>
                <a:cubicBezTo>
                  <a:pt x="219" y="239"/>
                  <a:pt x="219" y="240"/>
                  <a:pt x="219" y="240"/>
                </a:cubicBezTo>
                <a:cubicBezTo>
                  <a:pt x="219" y="246"/>
                  <a:pt x="224" y="251"/>
                  <a:pt x="230" y="253"/>
                </a:cubicBezTo>
                <a:cubicBezTo>
                  <a:pt x="230" y="253"/>
                  <a:pt x="230" y="253"/>
                  <a:pt x="230" y="253"/>
                </a:cubicBezTo>
                <a:cubicBezTo>
                  <a:pt x="230" y="253"/>
                  <a:pt x="230" y="253"/>
                  <a:pt x="230" y="253"/>
                </a:cubicBezTo>
                <a:cubicBezTo>
                  <a:pt x="234" y="253"/>
                  <a:pt x="237" y="254"/>
                  <a:pt x="241" y="254"/>
                </a:cubicBezTo>
                <a:cubicBezTo>
                  <a:pt x="275" y="254"/>
                  <a:pt x="302" y="226"/>
                  <a:pt x="302" y="192"/>
                </a:cubicBezTo>
                <a:cubicBezTo>
                  <a:pt x="302" y="158"/>
                  <a:pt x="275" y="130"/>
                  <a:pt x="241" y="130"/>
                </a:cubicBezTo>
                <a:cubicBezTo>
                  <a:pt x="206" y="130"/>
                  <a:pt x="179" y="158"/>
                  <a:pt x="179" y="192"/>
                </a:cubicBezTo>
                <a:cubicBezTo>
                  <a:pt x="179" y="197"/>
                  <a:pt x="179" y="201"/>
                  <a:pt x="180" y="206"/>
                </a:cubicBezTo>
                <a:cubicBezTo>
                  <a:pt x="74" y="250"/>
                  <a:pt x="74" y="250"/>
                  <a:pt x="74" y="250"/>
                </a:cubicBezTo>
                <a:cubicBezTo>
                  <a:pt x="68" y="253"/>
                  <a:pt x="62" y="257"/>
                  <a:pt x="66" y="268"/>
                </a:cubicBezTo>
                <a:cubicBezTo>
                  <a:pt x="71" y="277"/>
                  <a:pt x="71" y="277"/>
                  <a:pt x="71" y="277"/>
                </a:cubicBezTo>
                <a:cubicBezTo>
                  <a:pt x="102" y="339"/>
                  <a:pt x="166" y="381"/>
                  <a:pt x="240" y="381"/>
                </a:cubicBezTo>
                <a:cubicBezTo>
                  <a:pt x="346" y="381"/>
                  <a:pt x="431" y="296"/>
                  <a:pt x="431" y="191"/>
                </a:cubicBezTo>
                <a:cubicBezTo>
                  <a:pt x="431" y="86"/>
                  <a:pt x="346" y="0"/>
                  <a:pt x="240" y="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1" name="Freeform 267"/>
          <p:cNvSpPr>
            <a:spLocks/>
          </p:cNvSpPr>
          <p:nvPr userDrawn="1"/>
        </p:nvSpPr>
        <p:spPr bwMode="auto">
          <a:xfrm>
            <a:off x="1913632" y="1790269"/>
            <a:ext cx="382291" cy="382190"/>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2" name="Freeform 276"/>
          <p:cNvSpPr>
            <a:spLocks/>
          </p:cNvSpPr>
          <p:nvPr userDrawn="1"/>
        </p:nvSpPr>
        <p:spPr bwMode="auto">
          <a:xfrm>
            <a:off x="1921969" y="2243815"/>
            <a:ext cx="365617" cy="384572"/>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3" name="Freeform 280"/>
          <p:cNvSpPr>
            <a:spLocks noEditPoints="1"/>
          </p:cNvSpPr>
          <p:nvPr userDrawn="1"/>
        </p:nvSpPr>
        <p:spPr bwMode="auto">
          <a:xfrm>
            <a:off x="1910060" y="1322117"/>
            <a:ext cx="389436" cy="361950"/>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4" name="Freeform 316"/>
          <p:cNvSpPr>
            <a:spLocks/>
          </p:cNvSpPr>
          <p:nvPr userDrawn="1"/>
        </p:nvSpPr>
        <p:spPr bwMode="auto">
          <a:xfrm>
            <a:off x="1907082" y="3803009"/>
            <a:ext cx="395390" cy="378619"/>
          </a:xfrm>
          <a:custGeom>
            <a:avLst/>
            <a:gdLst/>
            <a:ahLst/>
            <a:cxnLst>
              <a:cxn ang="0">
                <a:pos x="233" y="0"/>
              </a:cxn>
              <a:cxn ang="0">
                <a:pos x="208" y="19"/>
              </a:cxn>
              <a:cxn ang="0">
                <a:pos x="153" y="130"/>
              </a:cxn>
              <a:cxn ang="0">
                <a:pos x="146" y="135"/>
              </a:cxn>
              <a:cxn ang="0">
                <a:pos x="106" y="141"/>
              </a:cxn>
              <a:cxn ang="0">
                <a:pos x="25" y="153"/>
              </a:cxn>
              <a:cxn ang="0">
                <a:pos x="3" y="170"/>
              </a:cxn>
              <a:cxn ang="0">
                <a:pos x="13" y="202"/>
              </a:cxn>
              <a:cxn ang="0">
                <a:pos x="52" y="239"/>
              </a:cxn>
              <a:cxn ang="0">
                <a:pos x="82" y="268"/>
              </a:cxn>
              <a:cxn ang="0">
                <a:pos x="100" y="268"/>
              </a:cxn>
              <a:cxn ang="0">
                <a:pos x="104" y="259"/>
              </a:cxn>
              <a:cxn ang="0">
                <a:pos x="100" y="249"/>
              </a:cxn>
              <a:cxn ang="0">
                <a:pos x="70" y="220"/>
              </a:cxn>
              <a:cxn ang="0">
                <a:pos x="32" y="183"/>
              </a:cxn>
              <a:cxn ang="0">
                <a:pos x="29" y="179"/>
              </a:cxn>
              <a:cxn ang="0">
                <a:pos x="110" y="167"/>
              </a:cxn>
              <a:cxn ang="0">
                <a:pos x="150" y="161"/>
              </a:cxn>
              <a:cxn ang="0">
                <a:pos x="177" y="142"/>
              </a:cxn>
              <a:cxn ang="0">
                <a:pos x="232" y="31"/>
              </a:cxn>
              <a:cxn ang="0">
                <a:pos x="233" y="29"/>
              </a:cxn>
              <a:cxn ang="0">
                <a:pos x="234" y="31"/>
              </a:cxn>
              <a:cxn ang="0">
                <a:pos x="289" y="143"/>
              </a:cxn>
              <a:cxn ang="0">
                <a:pos x="314" y="161"/>
              </a:cxn>
              <a:cxn ang="0">
                <a:pos x="435" y="178"/>
              </a:cxn>
              <a:cxn ang="0">
                <a:pos x="437" y="179"/>
              </a:cxn>
              <a:cxn ang="0">
                <a:pos x="435" y="181"/>
              </a:cxn>
              <a:cxn ang="0">
                <a:pos x="347" y="268"/>
              </a:cxn>
              <a:cxn ang="0">
                <a:pos x="338" y="290"/>
              </a:cxn>
              <a:cxn ang="0">
                <a:pos x="339" y="294"/>
              </a:cxn>
              <a:cxn ang="0">
                <a:pos x="360" y="415"/>
              </a:cxn>
              <a:cxn ang="0">
                <a:pos x="360" y="417"/>
              </a:cxn>
              <a:cxn ang="0">
                <a:pos x="359" y="420"/>
              </a:cxn>
              <a:cxn ang="0">
                <a:pos x="355" y="418"/>
              </a:cxn>
              <a:cxn ang="0">
                <a:pos x="249" y="363"/>
              </a:cxn>
              <a:cxn ang="0">
                <a:pos x="217" y="363"/>
              </a:cxn>
              <a:cxn ang="0">
                <a:pos x="110" y="418"/>
              </a:cxn>
              <a:cxn ang="0">
                <a:pos x="105" y="420"/>
              </a:cxn>
              <a:cxn ang="0">
                <a:pos x="105" y="420"/>
              </a:cxn>
              <a:cxn ang="0">
                <a:pos x="106" y="417"/>
              </a:cxn>
              <a:cxn ang="0">
                <a:pos x="122" y="324"/>
              </a:cxn>
              <a:cxn ang="0">
                <a:pos x="122" y="322"/>
              </a:cxn>
              <a:cxn ang="0">
                <a:pos x="111" y="309"/>
              </a:cxn>
              <a:cxn ang="0">
                <a:pos x="96" y="320"/>
              </a:cxn>
              <a:cxn ang="0">
                <a:pos x="79" y="412"/>
              </a:cxn>
              <a:cxn ang="0">
                <a:pos x="88" y="442"/>
              </a:cxn>
              <a:cxn ang="0">
                <a:pos x="122" y="443"/>
              </a:cxn>
              <a:cxn ang="0">
                <a:pos x="229" y="387"/>
              </a:cxn>
              <a:cxn ang="0">
                <a:pos x="237" y="387"/>
              </a:cxn>
              <a:cxn ang="0">
                <a:pos x="344" y="443"/>
              </a:cxn>
              <a:cxn ang="0">
                <a:pos x="376" y="441"/>
              </a:cxn>
              <a:cxn ang="0">
                <a:pos x="386" y="410"/>
              </a:cxn>
              <a:cxn ang="0">
                <a:pos x="365" y="290"/>
              </a:cxn>
              <a:cxn ang="0">
                <a:pos x="366" y="287"/>
              </a:cxn>
              <a:cxn ang="0">
                <a:pos x="454" y="200"/>
              </a:cxn>
              <a:cxn ang="0">
                <a:pos x="463" y="170"/>
              </a:cxn>
              <a:cxn ang="0">
                <a:pos x="438" y="152"/>
              </a:cxn>
              <a:cxn ang="0">
                <a:pos x="318" y="134"/>
              </a:cxn>
              <a:cxn ang="0">
                <a:pos x="313" y="131"/>
              </a:cxn>
              <a:cxn ang="0">
                <a:pos x="258" y="19"/>
              </a:cxn>
              <a:cxn ang="0">
                <a:pos x="233" y="0"/>
              </a:cxn>
            </a:cxnLst>
            <a:rect l="0" t="0" r="r" b="b"/>
            <a:pathLst>
              <a:path w="467" h="448">
                <a:moveTo>
                  <a:pt x="233" y="0"/>
                </a:moveTo>
                <a:cubicBezTo>
                  <a:pt x="227" y="0"/>
                  <a:pt x="216" y="3"/>
                  <a:pt x="208" y="19"/>
                </a:cubicBezTo>
                <a:cubicBezTo>
                  <a:pt x="208" y="19"/>
                  <a:pt x="153" y="130"/>
                  <a:pt x="153" y="130"/>
                </a:cubicBezTo>
                <a:cubicBezTo>
                  <a:pt x="152" y="132"/>
                  <a:pt x="149" y="134"/>
                  <a:pt x="146" y="135"/>
                </a:cubicBezTo>
                <a:cubicBezTo>
                  <a:pt x="146" y="135"/>
                  <a:pt x="106" y="141"/>
                  <a:pt x="106" y="141"/>
                </a:cubicBezTo>
                <a:cubicBezTo>
                  <a:pt x="25" y="153"/>
                  <a:pt x="25" y="153"/>
                  <a:pt x="25" y="153"/>
                </a:cubicBezTo>
                <a:cubicBezTo>
                  <a:pt x="14" y="155"/>
                  <a:pt x="6" y="161"/>
                  <a:pt x="3" y="170"/>
                </a:cubicBezTo>
                <a:cubicBezTo>
                  <a:pt x="0" y="180"/>
                  <a:pt x="4" y="192"/>
                  <a:pt x="13" y="202"/>
                </a:cubicBezTo>
                <a:cubicBezTo>
                  <a:pt x="19" y="207"/>
                  <a:pt x="35" y="223"/>
                  <a:pt x="52" y="239"/>
                </a:cubicBezTo>
                <a:cubicBezTo>
                  <a:pt x="82" y="268"/>
                  <a:pt x="82" y="268"/>
                  <a:pt x="82" y="268"/>
                </a:cubicBezTo>
                <a:cubicBezTo>
                  <a:pt x="87" y="274"/>
                  <a:pt x="95" y="274"/>
                  <a:pt x="100" y="268"/>
                </a:cubicBezTo>
                <a:cubicBezTo>
                  <a:pt x="103" y="266"/>
                  <a:pt x="104" y="262"/>
                  <a:pt x="104" y="259"/>
                </a:cubicBezTo>
                <a:cubicBezTo>
                  <a:pt x="104" y="255"/>
                  <a:pt x="103" y="252"/>
                  <a:pt x="100" y="249"/>
                </a:cubicBezTo>
                <a:cubicBezTo>
                  <a:pt x="70" y="220"/>
                  <a:pt x="70" y="220"/>
                  <a:pt x="70" y="220"/>
                </a:cubicBezTo>
                <a:cubicBezTo>
                  <a:pt x="53" y="204"/>
                  <a:pt x="38" y="188"/>
                  <a:pt x="32" y="183"/>
                </a:cubicBezTo>
                <a:cubicBezTo>
                  <a:pt x="31" y="181"/>
                  <a:pt x="30" y="180"/>
                  <a:pt x="29" y="179"/>
                </a:cubicBezTo>
                <a:cubicBezTo>
                  <a:pt x="29" y="179"/>
                  <a:pt x="110" y="167"/>
                  <a:pt x="110" y="167"/>
                </a:cubicBezTo>
                <a:cubicBezTo>
                  <a:pt x="150" y="161"/>
                  <a:pt x="150" y="161"/>
                  <a:pt x="150" y="161"/>
                </a:cubicBezTo>
                <a:cubicBezTo>
                  <a:pt x="162" y="159"/>
                  <a:pt x="172" y="152"/>
                  <a:pt x="177" y="142"/>
                </a:cubicBezTo>
                <a:cubicBezTo>
                  <a:pt x="232" y="31"/>
                  <a:pt x="232" y="31"/>
                  <a:pt x="232" y="31"/>
                </a:cubicBezTo>
                <a:cubicBezTo>
                  <a:pt x="232" y="30"/>
                  <a:pt x="232" y="29"/>
                  <a:pt x="233" y="29"/>
                </a:cubicBezTo>
                <a:cubicBezTo>
                  <a:pt x="233" y="29"/>
                  <a:pt x="234" y="30"/>
                  <a:pt x="234" y="31"/>
                </a:cubicBezTo>
                <a:cubicBezTo>
                  <a:pt x="243" y="48"/>
                  <a:pt x="284" y="133"/>
                  <a:pt x="289" y="143"/>
                </a:cubicBezTo>
                <a:cubicBezTo>
                  <a:pt x="294" y="152"/>
                  <a:pt x="303" y="159"/>
                  <a:pt x="314" y="161"/>
                </a:cubicBezTo>
                <a:cubicBezTo>
                  <a:pt x="382" y="171"/>
                  <a:pt x="423" y="177"/>
                  <a:pt x="435" y="178"/>
                </a:cubicBezTo>
                <a:cubicBezTo>
                  <a:pt x="436" y="179"/>
                  <a:pt x="437" y="179"/>
                  <a:pt x="437" y="179"/>
                </a:cubicBezTo>
                <a:cubicBezTo>
                  <a:pt x="437" y="180"/>
                  <a:pt x="436" y="180"/>
                  <a:pt x="435" y="181"/>
                </a:cubicBezTo>
                <a:cubicBezTo>
                  <a:pt x="429" y="188"/>
                  <a:pt x="399" y="217"/>
                  <a:pt x="347" y="268"/>
                </a:cubicBezTo>
                <a:cubicBezTo>
                  <a:pt x="341" y="274"/>
                  <a:pt x="338" y="282"/>
                  <a:pt x="338" y="290"/>
                </a:cubicBezTo>
                <a:cubicBezTo>
                  <a:pt x="338" y="291"/>
                  <a:pt x="338" y="293"/>
                  <a:pt x="339" y="294"/>
                </a:cubicBezTo>
                <a:cubicBezTo>
                  <a:pt x="339" y="294"/>
                  <a:pt x="360" y="415"/>
                  <a:pt x="360" y="415"/>
                </a:cubicBezTo>
                <a:cubicBezTo>
                  <a:pt x="360" y="416"/>
                  <a:pt x="360" y="417"/>
                  <a:pt x="360" y="417"/>
                </a:cubicBezTo>
                <a:cubicBezTo>
                  <a:pt x="360" y="419"/>
                  <a:pt x="360" y="419"/>
                  <a:pt x="359" y="420"/>
                </a:cubicBezTo>
                <a:cubicBezTo>
                  <a:pt x="359" y="420"/>
                  <a:pt x="357" y="419"/>
                  <a:pt x="355" y="418"/>
                </a:cubicBezTo>
                <a:cubicBezTo>
                  <a:pt x="346" y="414"/>
                  <a:pt x="309" y="395"/>
                  <a:pt x="249" y="363"/>
                </a:cubicBezTo>
                <a:cubicBezTo>
                  <a:pt x="239" y="358"/>
                  <a:pt x="227" y="358"/>
                  <a:pt x="217" y="363"/>
                </a:cubicBezTo>
                <a:cubicBezTo>
                  <a:pt x="157" y="395"/>
                  <a:pt x="117" y="415"/>
                  <a:pt x="110" y="418"/>
                </a:cubicBezTo>
                <a:cubicBezTo>
                  <a:pt x="108" y="419"/>
                  <a:pt x="106" y="420"/>
                  <a:pt x="105" y="420"/>
                </a:cubicBezTo>
                <a:cubicBezTo>
                  <a:pt x="105" y="420"/>
                  <a:pt x="105" y="420"/>
                  <a:pt x="105" y="420"/>
                </a:cubicBezTo>
                <a:cubicBezTo>
                  <a:pt x="105" y="419"/>
                  <a:pt x="105" y="418"/>
                  <a:pt x="106" y="417"/>
                </a:cubicBezTo>
                <a:cubicBezTo>
                  <a:pt x="122" y="324"/>
                  <a:pt x="122" y="324"/>
                  <a:pt x="122" y="324"/>
                </a:cubicBezTo>
                <a:cubicBezTo>
                  <a:pt x="122" y="323"/>
                  <a:pt x="122" y="323"/>
                  <a:pt x="122" y="322"/>
                </a:cubicBezTo>
                <a:cubicBezTo>
                  <a:pt x="122" y="315"/>
                  <a:pt x="117" y="310"/>
                  <a:pt x="111" y="309"/>
                </a:cubicBezTo>
                <a:cubicBezTo>
                  <a:pt x="104" y="307"/>
                  <a:pt x="97" y="312"/>
                  <a:pt x="96" y="320"/>
                </a:cubicBezTo>
                <a:cubicBezTo>
                  <a:pt x="79" y="412"/>
                  <a:pt x="79" y="412"/>
                  <a:pt x="79" y="412"/>
                </a:cubicBezTo>
                <a:cubicBezTo>
                  <a:pt x="76" y="429"/>
                  <a:pt x="84" y="438"/>
                  <a:pt x="88" y="442"/>
                </a:cubicBezTo>
                <a:cubicBezTo>
                  <a:pt x="97" y="448"/>
                  <a:pt x="109" y="448"/>
                  <a:pt x="122" y="443"/>
                </a:cubicBezTo>
                <a:cubicBezTo>
                  <a:pt x="131" y="438"/>
                  <a:pt x="193" y="406"/>
                  <a:pt x="229" y="387"/>
                </a:cubicBezTo>
                <a:cubicBezTo>
                  <a:pt x="231" y="385"/>
                  <a:pt x="234" y="385"/>
                  <a:pt x="237" y="387"/>
                </a:cubicBezTo>
                <a:cubicBezTo>
                  <a:pt x="279" y="409"/>
                  <a:pt x="332" y="437"/>
                  <a:pt x="344" y="443"/>
                </a:cubicBezTo>
                <a:cubicBezTo>
                  <a:pt x="356" y="448"/>
                  <a:pt x="367" y="447"/>
                  <a:pt x="376" y="441"/>
                </a:cubicBezTo>
                <a:cubicBezTo>
                  <a:pt x="384" y="435"/>
                  <a:pt x="388" y="423"/>
                  <a:pt x="386" y="410"/>
                </a:cubicBezTo>
                <a:cubicBezTo>
                  <a:pt x="386" y="410"/>
                  <a:pt x="365" y="290"/>
                  <a:pt x="365" y="290"/>
                </a:cubicBezTo>
                <a:cubicBezTo>
                  <a:pt x="365" y="289"/>
                  <a:pt x="365" y="288"/>
                  <a:pt x="366" y="287"/>
                </a:cubicBezTo>
                <a:cubicBezTo>
                  <a:pt x="418" y="236"/>
                  <a:pt x="448" y="207"/>
                  <a:pt x="454" y="200"/>
                </a:cubicBezTo>
                <a:cubicBezTo>
                  <a:pt x="463" y="191"/>
                  <a:pt x="467" y="180"/>
                  <a:pt x="463" y="170"/>
                </a:cubicBezTo>
                <a:cubicBezTo>
                  <a:pt x="460" y="160"/>
                  <a:pt x="451" y="154"/>
                  <a:pt x="438" y="152"/>
                </a:cubicBezTo>
                <a:cubicBezTo>
                  <a:pt x="430" y="151"/>
                  <a:pt x="403" y="147"/>
                  <a:pt x="318" y="134"/>
                </a:cubicBezTo>
                <a:cubicBezTo>
                  <a:pt x="316" y="134"/>
                  <a:pt x="314" y="133"/>
                  <a:pt x="313" y="131"/>
                </a:cubicBezTo>
                <a:cubicBezTo>
                  <a:pt x="308" y="121"/>
                  <a:pt x="267" y="37"/>
                  <a:pt x="258" y="19"/>
                </a:cubicBezTo>
                <a:cubicBezTo>
                  <a:pt x="249" y="2"/>
                  <a:pt x="238" y="0"/>
                  <a:pt x="233" y="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5" name="Freeform 341"/>
          <p:cNvSpPr>
            <a:spLocks/>
          </p:cNvSpPr>
          <p:nvPr userDrawn="1"/>
        </p:nvSpPr>
        <p:spPr bwMode="auto">
          <a:xfrm>
            <a:off x="1911846" y="2788785"/>
            <a:ext cx="385863" cy="327422"/>
          </a:xfrm>
          <a:custGeom>
            <a:avLst/>
            <a:gdLst/>
            <a:ahLst/>
            <a:cxnLst>
              <a:cxn ang="0">
                <a:pos x="228" y="14"/>
              </a:cxn>
              <a:cxn ang="0">
                <a:pos x="124" y="0"/>
              </a:cxn>
              <a:cxn ang="0">
                <a:pos x="0" y="54"/>
              </a:cxn>
              <a:cxn ang="0">
                <a:pos x="1" y="56"/>
              </a:cxn>
              <a:cxn ang="0">
                <a:pos x="14" y="160"/>
              </a:cxn>
              <a:cxn ang="0">
                <a:pos x="1" y="265"/>
              </a:cxn>
              <a:cxn ang="0">
                <a:pos x="16" y="373"/>
              </a:cxn>
              <a:cxn ang="0">
                <a:pos x="124" y="388"/>
              </a:cxn>
              <a:cxn ang="0">
                <a:pos x="228" y="375"/>
              </a:cxn>
              <a:cxn ang="0">
                <a:pos x="333" y="388"/>
              </a:cxn>
              <a:cxn ang="0">
                <a:pos x="456" y="335"/>
              </a:cxn>
              <a:cxn ang="0">
                <a:pos x="443" y="230"/>
              </a:cxn>
              <a:cxn ang="0">
                <a:pos x="456" y="126"/>
              </a:cxn>
              <a:cxn ang="0">
                <a:pos x="429" y="9"/>
              </a:cxn>
              <a:cxn ang="0">
                <a:pos x="411" y="27"/>
              </a:cxn>
              <a:cxn ang="0">
                <a:pos x="429" y="56"/>
              </a:cxn>
              <a:cxn ang="0">
                <a:pos x="409" y="91"/>
              </a:cxn>
              <a:cxn ang="0">
                <a:pos x="416" y="149"/>
              </a:cxn>
              <a:cxn ang="0">
                <a:pos x="416" y="172"/>
              </a:cxn>
              <a:cxn ang="0">
                <a:pos x="409" y="230"/>
              </a:cxn>
              <a:cxn ang="0">
                <a:pos x="429" y="265"/>
              </a:cxn>
              <a:cxn ang="0">
                <a:pos x="411" y="294"/>
              </a:cxn>
              <a:cxn ang="0">
                <a:pos x="418" y="312"/>
              </a:cxn>
              <a:cxn ang="0">
                <a:pos x="379" y="348"/>
              </a:cxn>
              <a:cxn ang="0">
                <a:pos x="333" y="361"/>
              </a:cxn>
              <a:cxn ang="0">
                <a:pos x="286" y="348"/>
              </a:cxn>
              <a:cxn ang="0">
                <a:pos x="228" y="341"/>
              </a:cxn>
              <a:cxn ang="0">
                <a:pos x="170" y="348"/>
              </a:cxn>
              <a:cxn ang="0">
                <a:pos x="124" y="361"/>
              </a:cxn>
              <a:cxn ang="0">
                <a:pos x="95" y="343"/>
              </a:cxn>
              <a:cxn ang="0">
                <a:pos x="54" y="362"/>
              </a:cxn>
              <a:cxn ang="0">
                <a:pos x="41" y="311"/>
              </a:cxn>
              <a:cxn ang="0">
                <a:pos x="41" y="288"/>
              </a:cxn>
              <a:cxn ang="0">
                <a:pos x="47" y="230"/>
              </a:cxn>
              <a:cxn ang="0">
                <a:pos x="27" y="195"/>
              </a:cxn>
              <a:cxn ang="0">
                <a:pos x="47" y="160"/>
              </a:cxn>
              <a:cxn ang="0">
                <a:pos x="41" y="102"/>
              </a:cxn>
              <a:cxn ang="0">
                <a:pos x="41" y="79"/>
              </a:cxn>
              <a:cxn ang="0">
                <a:pos x="27" y="54"/>
              </a:cxn>
              <a:cxn ang="0">
                <a:pos x="89" y="47"/>
              </a:cxn>
              <a:cxn ang="0">
                <a:pos x="147" y="41"/>
              </a:cxn>
              <a:cxn ang="0">
                <a:pos x="194" y="27"/>
              </a:cxn>
              <a:cxn ang="0">
                <a:pos x="240" y="41"/>
              </a:cxn>
              <a:cxn ang="0">
                <a:pos x="298" y="47"/>
              </a:cxn>
              <a:cxn ang="0">
                <a:pos x="347" y="14"/>
              </a:cxn>
            </a:cxnLst>
            <a:rect l="0" t="0" r="r" b="b"/>
            <a:pathLst>
              <a:path w="456" h="388">
                <a:moveTo>
                  <a:pt x="298" y="14"/>
                </a:moveTo>
                <a:cubicBezTo>
                  <a:pt x="289" y="5"/>
                  <a:pt x="276" y="0"/>
                  <a:pt x="263" y="0"/>
                </a:cubicBezTo>
                <a:cubicBezTo>
                  <a:pt x="250" y="0"/>
                  <a:pt x="238" y="5"/>
                  <a:pt x="228" y="14"/>
                </a:cubicBezTo>
                <a:cubicBezTo>
                  <a:pt x="219" y="5"/>
                  <a:pt x="207" y="0"/>
                  <a:pt x="194" y="0"/>
                </a:cubicBezTo>
                <a:cubicBezTo>
                  <a:pt x="181" y="0"/>
                  <a:pt x="168" y="5"/>
                  <a:pt x="159" y="14"/>
                </a:cubicBezTo>
                <a:cubicBezTo>
                  <a:pt x="149" y="5"/>
                  <a:pt x="137" y="0"/>
                  <a:pt x="124" y="0"/>
                </a:cubicBezTo>
                <a:cubicBezTo>
                  <a:pt x="111" y="0"/>
                  <a:pt x="98" y="5"/>
                  <a:pt x="89" y="14"/>
                </a:cubicBezTo>
                <a:cubicBezTo>
                  <a:pt x="79" y="5"/>
                  <a:pt x="67" y="0"/>
                  <a:pt x="54" y="0"/>
                </a:cubicBezTo>
                <a:cubicBezTo>
                  <a:pt x="24" y="0"/>
                  <a:pt x="0" y="24"/>
                  <a:pt x="0" y="54"/>
                </a:cubicBezTo>
                <a:cubicBezTo>
                  <a:pt x="0" y="54"/>
                  <a:pt x="0" y="55"/>
                  <a:pt x="0" y="55"/>
                </a:cubicBezTo>
                <a:cubicBezTo>
                  <a:pt x="1" y="57"/>
                  <a:pt x="1" y="57"/>
                  <a:pt x="1" y="57"/>
                </a:cubicBezTo>
                <a:cubicBezTo>
                  <a:pt x="1" y="57"/>
                  <a:pt x="1" y="56"/>
                  <a:pt x="1" y="56"/>
                </a:cubicBezTo>
                <a:cubicBezTo>
                  <a:pt x="1" y="69"/>
                  <a:pt x="5" y="81"/>
                  <a:pt x="14" y="90"/>
                </a:cubicBezTo>
                <a:cubicBezTo>
                  <a:pt x="5" y="100"/>
                  <a:pt x="1" y="112"/>
                  <a:pt x="1" y="125"/>
                </a:cubicBezTo>
                <a:cubicBezTo>
                  <a:pt x="1" y="138"/>
                  <a:pt x="5" y="151"/>
                  <a:pt x="14" y="160"/>
                </a:cubicBezTo>
                <a:cubicBezTo>
                  <a:pt x="5" y="170"/>
                  <a:pt x="1" y="182"/>
                  <a:pt x="1" y="195"/>
                </a:cubicBezTo>
                <a:cubicBezTo>
                  <a:pt x="1" y="208"/>
                  <a:pt x="5" y="220"/>
                  <a:pt x="14" y="230"/>
                </a:cubicBezTo>
                <a:cubicBezTo>
                  <a:pt x="5" y="240"/>
                  <a:pt x="1" y="252"/>
                  <a:pt x="1" y="265"/>
                </a:cubicBezTo>
                <a:cubicBezTo>
                  <a:pt x="1" y="278"/>
                  <a:pt x="5" y="290"/>
                  <a:pt x="14" y="300"/>
                </a:cubicBezTo>
                <a:cubicBezTo>
                  <a:pt x="5" y="309"/>
                  <a:pt x="1" y="322"/>
                  <a:pt x="1" y="335"/>
                </a:cubicBezTo>
                <a:cubicBezTo>
                  <a:pt x="1" y="349"/>
                  <a:pt x="6" y="362"/>
                  <a:pt x="16" y="373"/>
                </a:cubicBezTo>
                <a:cubicBezTo>
                  <a:pt x="26" y="383"/>
                  <a:pt x="40" y="388"/>
                  <a:pt x="54" y="388"/>
                </a:cubicBezTo>
                <a:cubicBezTo>
                  <a:pt x="67" y="388"/>
                  <a:pt x="79" y="383"/>
                  <a:pt x="89" y="375"/>
                </a:cubicBezTo>
                <a:cubicBezTo>
                  <a:pt x="99" y="383"/>
                  <a:pt x="111" y="388"/>
                  <a:pt x="124" y="388"/>
                </a:cubicBezTo>
                <a:cubicBezTo>
                  <a:pt x="137" y="388"/>
                  <a:pt x="149" y="383"/>
                  <a:pt x="158" y="375"/>
                </a:cubicBezTo>
                <a:cubicBezTo>
                  <a:pt x="168" y="383"/>
                  <a:pt x="180" y="388"/>
                  <a:pt x="193" y="388"/>
                </a:cubicBezTo>
                <a:cubicBezTo>
                  <a:pt x="206" y="388"/>
                  <a:pt x="219" y="383"/>
                  <a:pt x="228" y="375"/>
                </a:cubicBezTo>
                <a:cubicBezTo>
                  <a:pt x="238" y="383"/>
                  <a:pt x="250" y="388"/>
                  <a:pt x="263" y="388"/>
                </a:cubicBezTo>
                <a:cubicBezTo>
                  <a:pt x="276" y="388"/>
                  <a:pt x="288" y="383"/>
                  <a:pt x="298" y="375"/>
                </a:cubicBezTo>
                <a:cubicBezTo>
                  <a:pt x="308" y="383"/>
                  <a:pt x="320" y="388"/>
                  <a:pt x="333" y="388"/>
                </a:cubicBezTo>
                <a:cubicBezTo>
                  <a:pt x="346" y="388"/>
                  <a:pt x="358" y="383"/>
                  <a:pt x="368" y="375"/>
                </a:cubicBezTo>
                <a:cubicBezTo>
                  <a:pt x="377" y="383"/>
                  <a:pt x="390" y="388"/>
                  <a:pt x="403" y="388"/>
                </a:cubicBezTo>
                <a:cubicBezTo>
                  <a:pt x="432" y="388"/>
                  <a:pt x="456" y="364"/>
                  <a:pt x="456" y="335"/>
                </a:cubicBezTo>
                <a:cubicBezTo>
                  <a:pt x="456" y="322"/>
                  <a:pt x="451" y="309"/>
                  <a:pt x="443" y="300"/>
                </a:cubicBezTo>
                <a:cubicBezTo>
                  <a:pt x="451" y="290"/>
                  <a:pt x="456" y="278"/>
                  <a:pt x="456" y="265"/>
                </a:cubicBezTo>
                <a:cubicBezTo>
                  <a:pt x="456" y="252"/>
                  <a:pt x="451" y="240"/>
                  <a:pt x="443" y="230"/>
                </a:cubicBezTo>
                <a:cubicBezTo>
                  <a:pt x="451" y="221"/>
                  <a:pt x="456" y="208"/>
                  <a:pt x="456" y="195"/>
                </a:cubicBezTo>
                <a:cubicBezTo>
                  <a:pt x="456" y="182"/>
                  <a:pt x="451" y="170"/>
                  <a:pt x="443" y="161"/>
                </a:cubicBezTo>
                <a:cubicBezTo>
                  <a:pt x="451" y="151"/>
                  <a:pt x="456" y="139"/>
                  <a:pt x="456" y="126"/>
                </a:cubicBezTo>
                <a:cubicBezTo>
                  <a:pt x="456" y="113"/>
                  <a:pt x="451" y="100"/>
                  <a:pt x="443" y="91"/>
                </a:cubicBezTo>
                <a:cubicBezTo>
                  <a:pt x="451" y="81"/>
                  <a:pt x="456" y="69"/>
                  <a:pt x="456" y="56"/>
                </a:cubicBezTo>
                <a:cubicBezTo>
                  <a:pt x="456" y="37"/>
                  <a:pt x="446" y="19"/>
                  <a:pt x="429" y="9"/>
                </a:cubicBezTo>
                <a:cubicBezTo>
                  <a:pt x="424" y="6"/>
                  <a:pt x="418" y="7"/>
                  <a:pt x="413" y="11"/>
                </a:cubicBezTo>
                <a:cubicBezTo>
                  <a:pt x="411" y="14"/>
                  <a:pt x="409" y="17"/>
                  <a:pt x="409" y="21"/>
                </a:cubicBezTo>
                <a:cubicBezTo>
                  <a:pt x="409" y="23"/>
                  <a:pt x="410" y="25"/>
                  <a:pt x="411" y="27"/>
                </a:cubicBezTo>
                <a:cubicBezTo>
                  <a:pt x="411" y="28"/>
                  <a:pt x="411" y="28"/>
                  <a:pt x="411" y="28"/>
                </a:cubicBezTo>
                <a:cubicBezTo>
                  <a:pt x="412" y="30"/>
                  <a:pt x="415" y="32"/>
                  <a:pt x="417" y="33"/>
                </a:cubicBezTo>
                <a:cubicBezTo>
                  <a:pt x="425" y="38"/>
                  <a:pt x="429" y="47"/>
                  <a:pt x="429" y="56"/>
                </a:cubicBezTo>
                <a:cubicBezTo>
                  <a:pt x="429" y="65"/>
                  <a:pt x="424" y="74"/>
                  <a:pt x="416" y="79"/>
                </a:cubicBezTo>
                <a:cubicBezTo>
                  <a:pt x="412" y="81"/>
                  <a:pt x="409" y="86"/>
                  <a:pt x="409" y="91"/>
                </a:cubicBezTo>
                <a:cubicBezTo>
                  <a:pt x="409" y="91"/>
                  <a:pt x="409" y="91"/>
                  <a:pt x="409" y="91"/>
                </a:cubicBezTo>
                <a:cubicBezTo>
                  <a:pt x="409" y="95"/>
                  <a:pt x="412" y="100"/>
                  <a:pt x="416" y="102"/>
                </a:cubicBezTo>
                <a:cubicBezTo>
                  <a:pt x="424" y="107"/>
                  <a:pt x="429" y="116"/>
                  <a:pt x="429" y="126"/>
                </a:cubicBezTo>
                <a:cubicBezTo>
                  <a:pt x="429" y="135"/>
                  <a:pt x="424" y="144"/>
                  <a:pt x="416" y="149"/>
                </a:cubicBezTo>
                <a:cubicBezTo>
                  <a:pt x="412" y="151"/>
                  <a:pt x="409" y="156"/>
                  <a:pt x="409" y="161"/>
                </a:cubicBezTo>
                <a:cubicBezTo>
                  <a:pt x="409" y="161"/>
                  <a:pt x="409" y="161"/>
                  <a:pt x="409" y="161"/>
                </a:cubicBezTo>
                <a:cubicBezTo>
                  <a:pt x="409" y="165"/>
                  <a:pt x="412" y="170"/>
                  <a:pt x="416" y="172"/>
                </a:cubicBezTo>
                <a:cubicBezTo>
                  <a:pt x="424" y="177"/>
                  <a:pt x="429" y="186"/>
                  <a:pt x="429" y="195"/>
                </a:cubicBezTo>
                <a:cubicBezTo>
                  <a:pt x="429" y="205"/>
                  <a:pt x="424" y="214"/>
                  <a:pt x="416" y="219"/>
                </a:cubicBezTo>
                <a:cubicBezTo>
                  <a:pt x="412" y="221"/>
                  <a:pt x="409" y="225"/>
                  <a:pt x="409" y="230"/>
                </a:cubicBezTo>
                <a:cubicBezTo>
                  <a:pt x="409" y="230"/>
                  <a:pt x="409" y="230"/>
                  <a:pt x="409" y="230"/>
                </a:cubicBezTo>
                <a:cubicBezTo>
                  <a:pt x="409" y="235"/>
                  <a:pt x="412" y="239"/>
                  <a:pt x="416" y="242"/>
                </a:cubicBezTo>
                <a:cubicBezTo>
                  <a:pt x="424" y="247"/>
                  <a:pt x="429" y="256"/>
                  <a:pt x="429" y="265"/>
                </a:cubicBezTo>
                <a:cubicBezTo>
                  <a:pt x="429" y="274"/>
                  <a:pt x="425" y="283"/>
                  <a:pt x="417" y="288"/>
                </a:cubicBezTo>
                <a:cubicBezTo>
                  <a:pt x="414" y="289"/>
                  <a:pt x="412" y="291"/>
                  <a:pt x="411" y="294"/>
                </a:cubicBezTo>
                <a:cubicBezTo>
                  <a:pt x="411" y="294"/>
                  <a:pt x="411" y="294"/>
                  <a:pt x="411" y="294"/>
                </a:cubicBezTo>
                <a:cubicBezTo>
                  <a:pt x="410" y="296"/>
                  <a:pt x="409" y="298"/>
                  <a:pt x="409" y="300"/>
                </a:cubicBezTo>
                <a:cubicBezTo>
                  <a:pt x="409" y="304"/>
                  <a:pt x="411" y="307"/>
                  <a:pt x="413" y="310"/>
                </a:cubicBezTo>
                <a:cubicBezTo>
                  <a:pt x="415" y="311"/>
                  <a:pt x="416" y="312"/>
                  <a:pt x="418" y="312"/>
                </a:cubicBezTo>
                <a:cubicBezTo>
                  <a:pt x="425" y="317"/>
                  <a:pt x="430" y="326"/>
                  <a:pt x="430" y="335"/>
                </a:cubicBezTo>
                <a:cubicBezTo>
                  <a:pt x="430" y="349"/>
                  <a:pt x="418" y="361"/>
                  <a:pt x="403" y="361"/>
                </a:cubicBezTo>
                <a:cubicBezTo>
                  <a:pt x="393" y="361"/>
                  <a:pt x="384" y="356"/>
                  <a:pt x="379" y="348"/>
                </a:cubicBezTo>
                <a:cubicBezTo>
                  <a:pt x="377" y="344"/>
                  <a:pt x="373" y="341"/>
                  <a:pt x="368" y="341"/>
                </a:cubicBezTo>
                <a:cubicBezTo>
                  <a:pt x="363" y="341"/>
                  <a:pt x="359" y="344"/>
                  <a:pt x="356" y="348"/>
                </a:cubicBezTo>
                <a:cubicBezTo>
                  <a:pt x="351" y="356"/>
                  <a:pt x="342" y="361"/>
                  <a:pt x="333" y="361"/>
                </a:cubicBezTo>
                <a:cubicBezTo>
                  <a:pt x="323" y="361"/>
                  <a:pt x="314" y="356"/>
                  <a:pt x="310" y="348"/>
                </a:cubicBezTo>
                <a:cubicBezTo>
                  <a:pt x="307" y="344"/>
                  <a:pt x="303" y="341"/>
                  <a:pt x="298" y="341"/>
                </a:cubicBezTo>
                <a:cubicBezTo>
                  <a:pt x="293" y="341"/>
                  <a:pt x="289" y="344"/>
                  <a:pt x="286" y="348"/>
                </a:cubicBezTo>
                <a:cubicBezTo>
                  <a:pt x="282" y="356"/>
                  <a:pt x="273" y="361"/>
                  <a:pt x="263" y="361"/>
                </a:cubicBezTo>
                <a:cubicBezTo>
                  <a:pt x="254" y="361"/>
                  <a:pt x="245" y="356"/>
                  <a:pt x="240" y="348"/>
                </a:cubicBezTo>
                <a:cubicBezTo>
                  <a:pt x="237" y="344"/>
                  <a:pt x="233" y="341"/>
                  <a:pt x="228" y="341"/>
                </a:cubicBezTo>
                <a:cubicBezTo>
                  <a:pt x="223" y="341"/>
                  <a:pt x="219" y="344"/>
                  <a:pt x="217" y="348"/>
                </a:cubicBezTo>
                <a:cubicBezTo>
                  <a:pt x="212" y="356"/>
                  <a:pt x="203" y="361"/>
                  <a:pt x="193" y="361"/>
                </a:cubicBezTo>
                <a:cubicBezTo>
                  <a:pt x="184" y="361"/>
                  <a:pt x="175" y="356"/>
                  <a:pt x="170" y="348"/>
                </a:cubicBezTo>
                <a:cubicBezTo>
                  <a:pt x="168" y="344"/>
                  <a:pt x="163" y="341"/>
                  <a:pt x="158" y="341"/>
                </a:cubicBezTo>
                <a:cubicBezTo>
                  <a:pt x="154" y="341"/>
                  <a:pt x="149" y="344"/>
                  <a:pt x="147" y="348"/>
                </a:cubicBezTo>
                <a:cubicBezTo>
                  <a:pt x="142" y="356"/>
                  <a:pt x="133" y="361"/>
                  <a:pt x="124" y="361"/>
                </a:cubicBezTo>
                <a:cubicBezTo>
                  <a:pt x="114" y="361"/>
                  <a:pt x="106" y="357"/>
                  <a:pt x="101" y="349"/>
                </a:cubicBezTo>
                <a:cubicBezTo>
                  <a:pt x="100" y="347"/>
                  <a:pt x="98" y="344"/>
                  <a:pt x="95" y="343"/>
                </a:cubicBezTo>
                <a:cubicBezTo>
                  <a:pt x="95" y="343"/>
                  <a:pt x="95" y="343"/>
                  <a:pt x="95" y="343"/>
                </a:cubicBezTo>
                <a:cubicBezTo>
                  <a:pt x="90" y="340"/>
                  <a:pt x="83" y="341"/>
                  <a:pt x="79" y="345"/>
                </a:cubicBezTo>
                <a:cubicBezTo>
                  <a:pt x="78" y="347"/>
                  <a:pt x="77" y="348"/>
                  <a:pt x="76" y="350"/>
                </a:cubicBezTo>
                <a:cubicBezTo>
                  <a:pt x="71" y="357"/>
                  <a:pt x="63" y="362"/>
                  <a:pt x="54" y="362"/>
                </a:cubicBezTo>
                <a:cubicBezTo>
                  <a:pt x="47" y="362"/>
                  <a:pt x="40" y="359"/>
                  <a:pt x="35" y="354"/>
                </a:cubicBezTo>
                <a:cubicBezTo>
                  <a:pt x="30" y="349"/>
                  <a:pt x="27" y="342"/>
                  <a:pt x="27" y="335"/>
                </a:cubicBezTo>
                <a:cubicBezTo>
                  <a:pt x="27" y="325"/>
                  <a:pt x="32" y="316"/>
                  <a:pt x="41" y="311"/>
                </a:cubicBezTo>
                <a:cubicBezTo>
                  <a:pt x="45" y="309"/>
                  <a:pt x="47" y="305"/>
                  <a:pt x="47" y="300"/>
                </a:cubicBezTo>
                <a:cubicBezTo>
                  <a:pt x="47" y="300"/>
                  <a:pt x="47" y="300"/>
                  <a:pt x="47" y="300"/>
                </a:cubicBezTo>
                <a:cubicBezTo>
                  <a:pt x="47" y="295"/>
                  <a:pt x="45" y="291"/>
                  <a:pt x="41" y="288"/>
                </a:cubicBezTo>
                <a:cubicBezTo>
                  <a:pt x="32" y="283"/>
                  <a:pt x="27" y="275"/>
                  <a:pt x="27" y="265"/>
                </a:cubicBezTo>
                <a:cubicBezTo>
                  <a:pt x="27" y="255"/>
                  <a:pt x="32" y="246"/>
                  <a:pt x="41" y="242"/>
                </a:cubicBezTo>
                <a:cubicBezTo>
                  <a:pt x="45" y="239"/>
                  <a:pt x="47" y="235"/>
                  <a:pt x="47" y="230"/>
                </a:cubicBezTo>
                <a:cubicBezTo>
                  <a:pt x="47" y="230"/>
                  <a:pt x="47" y="230"/>
                  <a:pt x="47" y="230"/>
                </a:cubicBezTo>
                <a:cubicBezTo>
                  <a:pt x="47" y="225"/>
                  <a:pt x="45" y="221"/>
                  <a:pt x="41" y="218"/>
                </a:cubicBezTo>
                <a:cubicBezTo>
                  <a:pt x="32" y="214"/>
                  <a:pt x="27" y="205"/>
                  <a:pt x="27" y="195"/>
                </a:cubicBezTo>
                <a:cubicBezTo>
                  <a:pt x="27" y="186"/>
                  <a:pt x="32" y="177"/>
                  <a:pt x="41" y="172"/>
                </a:cubicBezTo>
                <a:cubicBezTo>
                  <a:pt x="45" y="169"/>
                  <a:pt x="47" y="165"/>
                  <a:pt x="47" y="160"/>
                </a:cubicBezTo>
                <a:cubicBezTo>
                  <a:pt x="47" y="160"/>
                  <a:pt x="47" y="160"/>
                  <a:pt x="47" y="160"/>
                </a:cubicBezTo>
                <a:cubicBezTo>
                  <a:pt x="47" y="155"/>
                  <a:pt x="45" y="151"/>
                  <a:pt x="41" y="149"/>
                </a:cubicBezTo>
                <a:cubicBezTo>
                  <a:pt x="32" y="144"/>
                  <a:pt x="27" y="135"/>
                  <a:pt x="27" y="125"/>
                </a:cubicBezTo>
                <a:cubicBezTo>
                  <a:pt x="27" y="116"/>
                  <a:pt x="32" y="107"/>
                  <a:pt x="41" y="102"/>
                </a:cubicBezTo>
                <a:cubicBezTo>
                  <a:pt x="45" y="100"/>
                  <a:pt x="47" y="95"/>
                  <a:pt x="47" y="91"/>
                </a:cubicBezTo>
                <a:cubicBezTo>
                  <a:pt x="47" y="91"/>
                  <a:pt x="47" y="90"/>
                  <a:pt x="47" y="90"/>
                </a:cubicBezTo>
                <a:cubicBezTo>
                  <a:pt x="47" y="86"/>
                  <a:pt x="45" y="81"/>
                  <a:pt x="41" y="79"/>
                </a:cubicBezTo>
                <a:cubicBezTo>
                  <a:pt x="32" y="74"/>
                  <a:pt x="27" y="65"/>
                  <a:pt x="27" y="56"/>
                </a:cubicBezTo>
                <a:cubicBezTo>
                  <a:pt x="27" y="55"/>
                  <a:pt x="27" y="55"/>
                  <a:pt x="27" y="54"/>
                </a:cubicBezTo>
                <a:cubicBezTo>
                  <a:pt x="27" y="54"/>
                  <a:pt x="27" y="54"/>
                  <a:pt x="27" y="54"/>
                </a:cubicBezTo>
                <a:cubicBezTo>
                  <a:pt x="27" y="39"/>
                  <a:pt x="39" y="27"/>
                  <a:pt x="54" y="27"/>
                </a:cubicBezTo>
                <a:cubicBezTo>
                  <a:pt x="64" y="27"/>
                  <a:pt x="72" y="32"/>
                  <a:pt x="77" y="41"/>
                </a:cubicBezTo>
                <a:cubicBezTo>
                  <a:pt x="80" y="45"/>
                  <a:pt x="84" y="47"/>
                  <a:pt x="89" y="47"/>
                </a:cubicBezTo>
                <a:cubicBezTo>
                  <a:pt x="94" y="47"/>
                  <a:pt x="98" y="45"/>
                  <a:pt x="100" y="41"/>
                </a:cubicBezTo>
                <a:cubicBezTo>
                  <a:pt x="105" y="32"/>
                  <a:pt x="114" y="27"/>
                  <a:pt x="124" y="27"/>
                </a:cubicBezTo>
                <a:cubicBezTo>
                  <a:pt x="133" y="27"/>
                  <a:pt x="142" y="32"/>
                  <a:pt x="147" y="41"/>
                </a:cubicBezTo>
                <a:cubicBezTo>
                  <a:pt x="149" y="45"/>
                  <a:pt x="154" y="47"/>
                  <a:pt x="159" y="47"/>
                </a:cubicBezTo>
                <a:cubicBezTo>
                  <a:pt x="163" y="47"/>
                  <a:pt x="168" y="45"/>
                  <a:pt x="170" y="41"/>
                </a:cubicBezTo>
                <a:cubicBezTo>
                  <a:pt x="175" y="32"/>
                  <a:pt x="184" y="27"/>
                  <a:pt x="194" y="27"/>
                </a:cubicBezTo>
                <a:cubicBezTo>
                  <a:pt x="203" y="27"/>
                  <a:pt x="212" y="32"/>
                  <a:pt x="217" y="41"/>
                </a:cubicBezTo>
                <a:cubicBezTo>
                  <a:pt x="219" y="45"/>
                  <a:pt x="224" y="47"/>
                  <a:pt x="228" y="47"/>
                </a:cubicBezTo>
                <a:cubicBezTo>
                  <a:pt x="233" y="47"/>
                  <a:pt x="238" y="45"/>
                  <a:pt x="240" y="41"/>
                </a:cubicBezTo>
                <a:cubicBezTo>
                  <a:pt x="245" y="32"/>
                  <a:pt x="254" y="27"/>
                  <a:pt x="263" y="27"/>
                </a:cubicBezTo>
                <a:cubicBezTo>
                  <a:pt x="273" y="27"/>
                  <a:pt x="282" y="32"/>
                  <a:pt x="287" y="41"/>
                </a:cubicBezTo>
                <a:cubicBezTo>
                  <a:pt x="289" y="45"/>
                  <a:pt x="293" y="47"/>
                  <a:pt x="298" y="47"/>
                </a:cubicBezTo>
                <a:cubicBezTo>
                  <a:pt x="303" y="47"/>
                  <a:pt x="307" y="45"/>
                  <a:pt x="310" y="41"/>
                </a:cubicBezTo>
                <a:cubicBezTo>
                  <a:pt x="315" y="32"/>
                  <a:pt x="324" y="27"/>
                  <a:pt x="333" y="27"/>
                </a:cubicBezTo>
                <a:cubicBezTo>
                  <a:pt x="341" y="27"/>
                  <a:pt x="347" y="21"/>
                  <a:pt x="347" y="14"/>
                </a:cubicBezTo>
                <a:cubicBezTo>
                  <a:pt x="347" y="6"/>
                  <a:pt x="341" y="0"/>
                  <a:pt x="333" y="0"/>
                </a:cubicBezTo>
                <a:cubicBezTo>
                  <a:pt x="320" y="0"/>
                  <a:pt x="308" y="5"/>
                  <a:pt x="298" y="1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6" name="Freeform 155"/>
          <p:cNvSpPr>
            <a:spLocks/>
          </p:cNvSpPr>
          <p:nvPr userDrawn="1"/>
        </p:nvSpPr>
        <p:spPr bwMode="auto">
          <a:xfrm>
            <a:off x="2400096" y="892673"/>
            <a:ext cx="328698" cy="347663"/>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FFFFFF"/>
            </a:solidFill>
            <a:prstDash val="solid"/>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7" name="Freeform 238"/>
          <p:cNvSpPr>
            <a:spLocks/>
          </p:cNvSpPr>
          <p:nvPr userDrawn="1"/>
        </p:nvSpPr>
        <p:spPr bwMode="auto">
          <a:xfrm>
            <a:off x="2366750" y="3317297"/>
            <a:ext cx="395390" cy="357187"/>
          </a:xfrm>
          <a:custGeom>
            <a:avLst/>
            <a:gdLst/>
            <a:ahLst/>
            <a:cxnLst>
              <a:cxn ang="0">
                <a:pos x="162" y="286"/>
              </a:cxn>
              <a:cxn ang="0">
                <a:pos x="162" y="268"/>
              </a:cxn>
              <a:cxn ang="0">
                <a:pos x="181" y="48"/>
              </a:cxn>
              <a:cxn ang="0">
                <a:pos x="177" y="118"/>
              </a:cxn>
              <a:cxn ang="0">
                <a:pos x="168" y="122"/>
              </a:cxn>
              <a:cxn ang="0">
                <a:pos x="27" y="122"/>
              </a:cxn>
              <a:cxn ang="0">
                <a:pos x="168" y="171"/>
              </a:cxn>
              <a:cxn ang="0">
                <a:pos x="182" y="184"/>
              </a:cxn>
              <a:cxn ang="0">
                <a:pos x="168" y="198"/>
              </a:cxn>
              <a:cxn ang="0">
                <a:pos x="13" y="198"/>
              </a:cxn>
              <a:cxn ang="0">
                <a:pos x="4" y="194"/>
              </a:cxn>
              <a:cxn ang="0">
                <a:pos x="0" y="184"/>
              </a:cxn>
              <a:cxn ang="0">
                <a:pos x="4" y="100"/>
              </a:cxn>
              <a:cxn ang="0">
                <a:pos x="13" y="96"/>
              </a:cxn>
              <a:cxn ang="0">
                <a:pos x="155" y="96"/>
              </a:cxn>
              <a:cxn ang="0">
                <a:pos x="163" y="2"/>
              </a:cxn>
              <a:cxn ang="0">
                <a:pos x="178" y="6"/>
              </a:cxn>
              <a:cxn ang="0">
                <a:pos x="304" y="138"/>
              </a:cxn>
              <a:cxn ang="0">
                <a:pos x="304" y="156"/>
              </a:cxn>
              <a:cxn ang="0">
                <a:pos x="286" y="376"/>
              </a:cxn>
              <a:cxn ang="0">
                <a:pos x="289" y="305"/>
              </a:cxn>
              <a:cxn ang="0">
                <a:pos x="299" y="301"/>
              </a:cxn>
              <a:cxn ang="0">
                <a:pos x="440" y="301"/>
              </a:cxn>
              <a:cxn ang="0">
                <a:pos x="298" y="252"/>
              </a:cxn>
              <a:cxn ang="0">
                <a:pos x="285" y="239"/>
              </a:cxn>
              <a:cxn ang="0">
                <a:pos x="298" y="226"/>
              </a:cxn>
              <a:cxn ang="0">
                <a:pos x="463" y="229"/>
              </a:cxn>
              <a:cxn ang="0">
                <a:pos x="467" y="239"/>
              </a:cxn>
              <a:cxn ang="0">
                <a:pos x="467" y="314"/>
              </a:cxn>
              <a:cxn ang="0">
                <a:pos x="463" y="324"/>
              </a:cxn>
              <a:cxn ang="0">
                <a:pos x="453" y="328"/>
              </a:cxn>
              <a:cxn ang="0">
                <a:pos x="312" y="409"/>
              </a:cxn>
              <a:cxn ang="0">
                <a:pos x="304" y="421"/>
              </a:cxn>
              <a:cxn ang="0">
                <a:pos x="299" y="422"/>
              </a:cxn>
            </a:cxnLst>
            <a:rect l="0" t="0" r="r" b="b"/>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8" name="Freeform 284"/>
          <p:cNvSpPr>
            <a:spLocks/>
          </p:cNvSpPr>
          <p:nvPr userDrawn="1"/>
        </p:nvSpPr>
        <p:spPr bwMode="auto">
          <a:xfrm>
            <a:off x="2447734" y="1346525"/>
            <a:ext cx="233423" cy="313134"/>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9" name="Freeform 288"/>
          <p:cNvSpPr>
            <a:spLocks/>
          </p:cNvSpPr>
          <p:nvPr userDrawn="1"/>
        </p:nvSpPr>
        <p:spPr bwMode="auto">
          <a:xfrm>
            <a:off x="2389973" y="1815866"/>
            <a:ext cx="348944" cy="330993"/>
          </a:xfrm>
          <a:custGeom>
            <a:avLst/>
            <a:gdLst/>
            <a:ahLst/>
            <a:cxnLst>
              <a:cxn ang="0">
                <a:pos x="387" y="147"/>
              </a:cxn>
              <a:cxn ang="0">
                <a:pos x="334" y="107"/>
              </a:cxn>
              <a:cxn ang="0">
                <a:pos x="354" y="73"/>
              </a:cxn>
              <a:cxn ang="0">
                <a:pos x="306" y="26"/>
              </a:cxn>
              <a:cxn ang="0">
                <a:pos x="256" y="11"/>
              </a:cxn>
              <a:cxn ang="0">
                <a:pos x="240" y="38"/>
              </a:cxn>
              <a:cxn ang="0">
                <a:pos x="213" y="40"/>
              </a:cxn>
              <a:cxn ang="0">
                <a:pos x="181" y="29"/>
              </a:cxn>
              <a:cxn ang="0">
                <a:pos x="167" y="3"/>
              </a:cxn>
              <a:cxn ang="0">
                <a:pos x="70" y="49"/>
              </a:cxn>
              <a:cxn ang="0">
                <a:pos x="86" y="91"/>
              </a:cxn>
              <a:cxn ang="0">
                <a:pos x="26" y="129"/>
              </a:cxn>
              <a:cxn ang="0">
                <a:pos x="11" y="138"/>
              </a:cxn>
              <a:cxn ang="0">
                <a:pos x="13" y="246"/>
              </a:cxn>
              <a:cxn ang="0">
                <a:pos x="53" y="247"/>
              </a:cxn>
              <a:cxn ang="0">
                <a:pos x="56" y="320"/>
              </a:cxn>
              <a:cxn ang="0">
                <a:pos x="94" y="367"/>
              </a:cxn>
              <a:cxn ang="0">
                <a:pos x="157" y="383"/>
              </a:cxn>
              <a:cxn ang="0">
                <a:pos x="223" y="356"/>
              </a:cxn>
              <a:cxn ang="0">
                <a:pos x="238" y="332"/>
              </a:cxn>
              <a:cxn ang="0">
                <a:pos x="185" y="219"/>
              </a:cxn>
              <a:cxn ang="0">
                <a:pos x="143" y="123"/>
              </a:cxn>
              <a:cxn ang="0">
                <a:pos x="188" y="180"/>
              </a:cxn>
              <a:cxn ang="0">
                <a:pos x="221" y="177"/>
              </a:cxn>
              <a:cxn ang="0">
                <a:pos x="275" y="185"/>
              </a:cxn>
              <a:cxn ang="0">
                <a:pos x="292" y="228"/>
              </a:cxn>
              <a:cxn ang="0">
                <a:pos x="301" y="311"/>
              </a:cxn>
              <a:cxn ang="0">
                <a:pos x="236" y="384"/>
              </a:cxn>
              <a:cxn ang="0">
                <a:pos x="331" y="351"/>
              </a:cxn>
              <a:cxn ang="0">
                <a:pos x="327" y="273"/>
              </a:cxn>
              <a:cxn ang="0">
                <a:pos x="308" y="197"/>
              </a:cxn>
              <a:cxn ang="0">
                <a:pos x="253" y="151"/>
              </a:cxn>
              <a:cxn ang="0">
                <a:pos x="205" y="155"/>
              </a:cxn>
              <a:cxn ang="0">
                <a:pos x="141" y="94"/>
              </a:cxn>
              <a:cxn ang="0">
                <a:pos x="118" y="136"/>
              </a:cxn>
              <a:cxn ang="0">
                <a:pos x="160" y="309"/>
              </a:cxn>
              <a:cxn ang="0">
                <a:pos x="176" y="327"/>
              </a:cxn>
              <a:cxn ang="0">
                <a:pos x="139" y="361"/>
              </a:cxn>
              <a:cxn ang="0">
                <a:pos x="83" y="327"/>
              </a:cxn>
              <a:cxn ang="0">
                <a:pos x="104" y="284"/>
              </a:cxn>
              <a:cxn ang="0">
                <a:pos x="76" y="229"/>
              </a:cxn>
              <a:cxn ang="0">
                <a:pos x="31" y="222"/>
              </a:cxn>
              <a:cxn ang="0">
                <a:pos x="78" y="154"/>
              </a:cxn>
              <a:cxn ang="0">
                <a:pos x="107" y="108"/>
              </a:cxn>
              <a:cxn ang="0">
                <a:pos x="109" y="77"/>
              </a:cxn>
              <a:cxn ang="0">
                <a:pos x="152" y="29"/>
              </a:cxn>
              <a:cxn ang="0">
                <a:pos x="163" y="54"/>
              </a:cxn>
              <a:cxn ang="0">
                <a:pos x="188" y="67"/>
              </a:cxn>
              <a:cxn ang="0">
                <a:pos x="241" y="73"/>
              </a:cxn>
              <a:cxn ang="0">
                <a:pos x="263" y="51"/>
              </a:cxn>
              <a:cxn ang="0">
                <a:pos x="289" y="47"/>
              </a:cxn>
              <a:cxn ang="0">
                <a:pos x="324" y="75"/>
              </a:cxn>
              <a:cxn ang="0">
                <a:pos x="311" y="121"/>
              </a:cxn>
              <a:cxn ang="0">
                <a:pos x="334" y="169"/>
              </a:cxn>
              <a:cxn ang="0">
                <a:pos x="373" y="245"/>
              </a:cxn>
              <a:cxn ang="0">
                <a:pos x="395" y="261"/>
              </a:cxn>
            </a:cxnLst>
            <a:rect l="0" t="0" r="r" b="b"/>
            <a:pathLst>
              <a:path w="413" h="391">
                <a:moveTo>
                  <a:pt x="401" y="155"/>
                </a:moveTo>
                <a:cubicBezTo>
                  <a:pt x="400" y="152"/>
                  <a:pt x="398" y="150"/>
                  <a:pt x="396" y="149"/>
                </a:cubicBezTo>
                <a:cubicBezTo>
                  <a:pt x="393" y="147"/>
                  <a:pt x="390" y="146"/>
                  <a:pt x="387" y="147"/>
                </a:cubicBezTo>
                <a:cubicBezTo>
                  <a:pt x="356" y="150"/>
                  <a:pt x="356" y="150"/>
                  <a:pt x="356" y="150"/>
                </a:cubicBezTo>
                <a:cubicBezTo>
                  <a:pt x="354" y="145"/>
                  <a:pt x="351" y="138"/>
                  <a:pt x="347" y="131"/>
                </a:cubicBezTo>
                <a:cubicBezTo>
                  <a:pt x="343" y="121"/>
                  <a:pt x="338" y="113"/>
                  <a:pt x="334" y="107"/>
                </a:cubicBezTo>
                <a:cubicBezTo>
                  <a:pt x="351" y="83"/>
                  <a:pt x="351" y="83"/>
                  <a:pt x="351" y="83"/>
                </a:cubicBezTo>
                <a:cubicBezTo>
                  <a:pt x="351" y="83"/>
                  <a:pt x="351" y="83"/>
                  <a:pt x="352" y="83"/>
                </a:cubicBezTo>
                <a:cubicBezTo>
                  <a:pt x="353" y="80"/>
                  <a:pt x="354" y="76"/>
                  <a:pt x="354" y="73"/>
                </a:cubicBezTo>
                <a:cubicBezTo>
                  <a:pt x="354" y="73"/>
                  <a:pt x="354" y="73"/>
                  <a:pt x="354" y="73"/>
                </a:cubicBezTo>
                <a:cubicBezTo>
                  <a:pt x="353" y="67"/>
                  <a:pt x="350" y="61"/>
                  <a:pt x="335" y="48"/>
                </a:cubicBezTo>
                <a:cubicBezTo>
                  <a:pt x="326" y="40"/>
                  <a:pt x="315" y="33"/>
                  <a:pt x="306" y="26"/>
                </a:cubicBezTo>
                <a:cubicBezTo>
                  <a:pt x="305" y="26"/>
                  <a:pt x="304" y="25"/>
                  <a:pt x="303" y="25"/>
                </a:cubicBezTo>
                <a:cubicBezTo>
                  <a:pt x="282" y="11"/>
                  <a:pt x="268" y="7"/>
                  <a:pt x="256" y="11"/>
                </a:cubicBezTo>
                <a:cubicBezTo>
                  <a:pt x="256" y="11"/>
                  <a:pt x="256" y="11"/>
                  <a:pt x="256" y="11"/>
                </a:cubicBezTo>
                <a:cubicBezTo>
                  <a:pt x="255" y="11"/>
                  <a:pt x="254" y="12"/>
                  <a:pt x="253" y="13"/>
                </a:cubicBezTo>
                <a:cubicBezTo>
                  <a:pt x="251" y="14"/>
                  <a:pt x="249" y="16"/>
                  <a:pt x="248" y="17"/>
                </a:cubicBezTo>
                <a:cubicBezTo>
                  <a:pt x="247" y="20"/>
                  <a:pt x="245" y="25"/>
                  <a:pt x="240" y="38"/>
                </a:cubicBezTo>
                <a:cubicBezTo>
                  <a:pt x="238" y="41"/>
                  <a:pt x="238" y="41"/>
                  <a:pt x="238" y="41"/>
                </a:cubicBezTo>
                <a:cubicBezTo>
                  <a:pt x="238" y="42"/>
                  <a:pt x="238" y="43"/>
                  <a:pt x="237" y="44"/>
                </a:cubicBezTo>
                <a:cubicBezTo>
                  <a:pt x="231" y="42"/>
                  <a:pt x="222" y="41"/>
                  <a:pt x="213" y="40"/>
                </a:cubicBezTo>
                <a:cubicBezTo>
                  <a:pt x="203" y="40"/>
                  <a:pt x="194" y="40"/>
                  <a:pt x="187" y="40"/>
                </a:cubicBezTo>
                <a:cubicBezTo>
                  <a:pt x="185" y="38"/>
                  <a:pt x="184" y="34"/>
                  <a:pt x="182" y="30"/>
                </a:cubicBezTo>
                <a:cubicBezTo>
                  <a:pt x="181" y="29"/>
                  <a:pt x="181" y="29"/>
                  <a:pt x="181" y="29"/>
                </a:cubicBezTo>
                <a:cubicBezTo>
                  <a:pt x="178" y="23"/>
                  <a:pt x="174" y="14"/>
                  <a:pt x="172" y="10"/>
                </a:cubicBezTo>
                <a:cubicBezTo>
                  <a:pt x="171" y="8"/>
                  <a:pt x="170" y="5"/>
                  <a:pt x="167" y="4"/>
                </a:cubicBezTo>
                <a:cubicBezTo>
                  <a:pt x="167" y="4"/>
                  <a:pt x="167" y="4"/>
                  <a:pt x="167" y="3"/>
                </a:cubicBezTo>
                <a:cubicBezTo>
                  <a:pt x="165" y="2"/>
                  <a:pt x="163" y="1"/>
                  <a:pt x="160" y="1"/>
                </a:cubicBezTo>
                <a:cubicBezTo>
                  <a:pt x="147" y="0"/>
                  <a:pt x="120" y="13"/>
                  <a:pt x="112" y="17"/>
                </a:cubicBezTo>
                <a:cubicBezTo>
                  <a:pt x="90" y="28"/>
                  <a:pt x="76" y="39"/>
                  <a:pt x="70" y="49"/>
                </a:cubicBezTo>
                <a:cubicBezTo>
                  <a:pt x="69" y="50"/>
                  <a:pt x="68" y="51"/>
                  <a:pt x="67" y="53"/>
                </a:cubicBezTo>
                <a:cubicBezTo>
                  <a:pt x="65" y="57"/>
                  <a:pt x="66" y="62"/>
                  <a:pt x="69" y="67"/>
                </a:cubicBezTo>
                <a:cubicBezTo>
                  <a:pt x="75" y="77"/>
                  <a:pt x="80" y="84"/>
                  <a:pt x="86" y="91"/>
                </a:cubicBezTo>
                <a:cubicBezTo>
                  <a:pt x="80" y="98"/>
                  <a:pt x="73" y="107"/>
                  <a:pt x="68" y="116"/>
                </a:cubicBezTo>
                <a:cubicBezTo>
                  <a:pt x="63" y="122"/>
                  <a:pt x="60" y="129"/>
                  <a:pt x="57" y="134"/>
                </a:cubicBezTo>
                <a:cubicBezTo>
                  <a:pt x="26" y="129"/>
                  <a:pt x="26" y="129"/>
                  <a:pt x="26" y="129"/>
                </a:cubicBezTo>
                <a:cubicBezTo>
                  <a:pt x="21" y="128"/>
                  <a:pt x="15" y="131"/>
                  <a:pt x="12" y="135"/>
                </a:cubicBezTo>
                <a:cubicBezTo>
                  <a:pt x="12" y="136"/>
                  <a:pt x="12" y="136"/>
                  <a:pt x="12" y="136"/>
                </a:cubicBezTo>
                <a:cubicBezTo>
                  <a:pt x="11" y="137"/>
                  <a:pt x="11" y="137"/>
                  <a:pt x="11" y="138"/>
                </a:cubicBezTo>
                <a:cubicBezTo>
                  <a:pt x="10" y="138"/>
                  <a:pt x="10" y="138"/>
                  <a:pt x="10" y="139"/>
                </a:cubicBezTo>
                <a:cubicBezTo>
                  <a:pt x="6" y="150"/>
                  <a:pt x="0" y="215"/>
                  <a:pt x="7" y="238"/>
                </a:cubicBezTo>
                <a:cubicBezTo>
                  <a:pt x="8" y="241"/>
                  <a:pt x="10" y="244"/>
                  <a:pt x="13" y="246"/>
                </a:cubicBezTo>
                <a:cubicBezTo>
                  <a:pt x="15" y="248"/>
                  <a:pt x="18" y="249"/>
                  <a:pt x="20" y="249"/>
                </a:cubicBezTo>
                <a:cubicBezTo>
                  <a:pt x="21" y="249"/>
                  <a:pt x="21" y="249"/>
                  <a:pt x="21" y="249"/>
                </a:cubicBezTo>
                <a:cubicBezTo>
                  <a:pt x="29" y="249"/>
                  <a:pt x="42" y="248"/>
                  <a:pt x="53" y="247"/>
                </a:cubicBezTo>
                <a:cubicBezTo>
                  <a:pt x="58" y="261"/>
                  <a:pt x="68" y="280"/>
                  <a:pt x="76" y="292"/>
                </a:cubicBezTo>
                <a:cubicBezTo>
                  <a:pt x="67" y="304"/>
                  <a:pt x="56" y="320"/>
                  <a:pt x="56" y="320"/>
                </a:cubicBezTo>
                <a:cubicBezTo>
                  <a:pt x="56" y="320"/>
                  <a:pt x="56" y="320"/>
                  <a:pt x="56" y="320"/>
                </a:cubicBezTo>
                <a:cubicBezTo>
                  <a:pt x="53" y="324"/>
                  <a:pt x="53" y="329"/>
                  <a:pt x="55" y="333"/>
                </a:cubicBezTo>
                <a:cubicBezTo>
                  <a:pt x="58" y="341"/>
                  <a:pt x="68" y="351"/>
                  <a:pt x="86" y="363"/>
                </a:cubicBezTo>
                <a:cubicBezTo>
                  <a:pt x="89" y="364"/>
                  <a:pt x="91" y="366"/>
                  <a:pt x="94" y="367"/>
                </a:cubicBezTo>
                <a:cubicBezTo>
                  <a:pt x="103" y="373"/>
                  <a:pt x="127" y="387"/>
                  <a:pt x="143" y="389"/>
                </a:cubicBezTo>
                <a:cubicBezTo>
                  <a:pt x="144" y="390"/>
                  <a:pt x="144" y="390"/>
                  <a:pt x="145" y="390"/>
                </a:cubicBezTo>
                <a:cubicBezTo>
                  <a:pt x="150" y="390"/>
                  <a:pt x="155" y="387"/>
                  <a:pt x="157" y="383"/>
                </a:cubicBezTo>
                <a:cubicBezTo>
                  <a:pt x="158" y="383"/>
                  <a:pt x="158" y="382"/>
                  <a:pt x="158" y="381"/>
                </a:cubicBezTo>
                <a:cubicBezTo>
                  <a:pt x="172" y="354"/>
                  <a:pt x="172" y="354"/>
                  <a:pt x="172" y="354"/>
                </a:cubicBezTo>
                <a:cubicBezTo>
                  <a:pt x="190" y="358"/>
                  <a:pt x="209" y="357"/>
                  <a:pt x="223" y="356"/>
                </a:cubicBezTo>
                <a:cubicBezTo>
                  <a:pt x="229" y="356"/>
                  <a:pt x="229" y="356"/>
                  <a:pt x="229" y="356"/>
                </a:cubicBezTo>
                <a:cubicBezTo>
                  <a:pt x="234" y="356"/>
                  <a:pt x="238" y="354"/>
                  <a:pt x="241" y="350"/>
                </a:cubicBezTo>
                <a:cubicBezTo>
                  <a:pt x="245" y="344"/>
                  <a:pt x="244" y="336"/>
                  <a:pt x="238" y="332"/>
                </a:cubicBezTo>
                <a:cubicBezTo>
                  <a:pt x="181" y="292"/>
                  <a:pt x="181" y="292"/>
                  <a:pt x="181" y="292"/>
                </a:cubicBezTo>
                <a:cubicBezTo>
                  <a:pt x="178" y="287"/>
                  <a:pt x="170" y="270"/>
                  <a:pt x="176" y="252"/>
                </a:cubicBezTo>
                <a:cubicBezTo>
                  <a:pt x="179" y="241"/>
                  <a:pt x="182" y="230"/>
                  <a:pt x="185" y="219"/>
                </a:cubicBezTo>
                <a:cubicBezTo>
                  <a:pt x="186" y="216"/>
                  <a:pt x="186" y="212"/>
                  <a:pt x="184" y="209"/>
                </a:cubicBezTo>
                <a:cubicBezTo>
                  <a:pt x="142" y="125"/>
                  <a:pt x="142" y="125"/>
                  <a:pt x="142" y="125"/>
                </a:cubicBezTo>
                <a:cubicBezTo>
                  <a:pt x="142" y="124"/>
                  <a:pt x="142" y="123"/>
                  <a:pt x="143" y="123"/>
                </a:cubicBezTo>
                <a:cubicBezTo>
                  <a:pt x="153" y="118"/>
                  <a:pt x="153" y="118"/>
                  <a:pt x="153" y="118"/>
                </a:cubicBezTo>
                <a:cubicBezTo>
                  <a:pt x="155" y="117"/>
                  <a:pt x="156" y="117"/>
                  <a:pt x="157" y="117"/>
                </a:cubicBezTo>
                <a:cubicBezTo>
                  <a:pt x="188" y="180"/>
                  <a:pt x="188" y="180"/>
                  <a:pt x="188" y="180"/>
                </a:cubicBezTo>
                <a:cubicBezTo>
                  <a:pt x="190" y="184"/>
                  <a:pt x="193" y="187"/>
                  <a:pt x="197" y="187"/>
                </a:cubicBezTo>
                <a:cubicBezTo>
                  <a:pt x="201" y="188"/>
                  <a:pt x="205" y="187"/>
                  <a:pt x="208" y="185"/>
                </a:cubicBezTo>
                <a:cubicBezTo>
                  <a:pt x="215" y="179"/>
                  <a:pt x="220" y="178"/>
                  <a:pt x="221" y="177"/>
                </a:cubicBezTo>
                <a:cubicBezTo>
                  <a:pt x="234" y="183"/>
                  <a:pt x="242" y="180"/>
                  <a:pt x="247" y="178"/>
                </a:cubicBezTo>
                <a:cubicBezTo>
                  <a:pt x="247" y="178"/>
                  <a:pt x="248" y="177"/>
                  <a:pt x="249" y="177"/>
                </a:cubicBezTo>
                <a:cubicBezTo>
                  <a:pt x="257" y="179"/>
                  <a:pt x="271" y="183"/>
                  <a:pt x="275" y="185"/>
                </a:cubicBezTo>
                <a:cubicBezTo>
                  <a:pt x="276" y="186"/>
                  <a:pt x="276" y="188"/>
                  <a:pt x="280" y="197"/>
                </a:cubicBezTo>
                <a:cubicBezTo>
                  <a:pt x="280" y="200"/>
                  <a:pt x="281" y="202"/>
                  <a:pt x="282" y="206"/>
                </a:cubicBezTo>
                <a:cubicBezTo>
                  <a:pt x="285" y="213"/>
                  <a:pt x="289" y="221"/>
                  <a:pt x="292" y="228"/>
                </a:cubicBezTo>
                <a:cubicBezTo>
                  <a:pt x="297" y="238"/>
                  <a:pt x="302" y="248"/>
                  <a:pt x="302" y="256"/>
                </a:cubicBezTo>
                <a:cubicBezTo>
                  <a:pt x="302" y="260"/>
                  <a:pt x="301" y="265"/>
                  <a:pt x="300" y="271"/>
                </a:cubicBezTo>
                <a:cubicBezTo>
                  <a:pt x="299" y="283"/>
                  <a:pt x="298" y="297"/>
                  <a:pt x="301" y="311"/>
                </a:cubicBezTo>
                <a:cubicBezTo>
                  <a:pt x="303" y="319"/>
                  <a:pt x="306" y="327"/>
                  <a:pt x="308" y="333"/>
                </a:cubicBezTo>
                <a:cubicBezTo>
                  <a:pt x="242" y="366"/>
                  <a:pt x="242" y="366"/>
                  <a:pt x="242" y="366"/>
                </a:cubicBezTo>
                <a:cubicBezTo>
                  <a:pt x="235" y="369"/>
                  <a:pt x="233" y="377"/>
                  <a:pt x="236" y="384"/>
                </a:cubicBezTo>
                <a:cubicBezTo>
                  <a:pt x="238" y="388"/>
                  <a:pt x="243" y="391"/>
                  <a:pt x="248" y="391"/>
                </a:cubicBezTo>
                <a:cubicBezTo>
                  <a:pt x="250" y="391"/>
                  <a:pt x="252" y="390"/>
                  <a:pt x="254" y="389"/>
                </a:cubicBezTo>
                <a:cubicBezTo>
                  <a:pt x="331" y="351"/>
                  <a:pt x="331" y="351"/>
                  <a:pt x="331" y="351"/>
                </a:cubicBezTo>
                <a:cubicBezTo>
                  <a:pt x="337" y="348"/>
                  <a:pt x="340" y="340"/>
                  <a:pt x="337" y="334"/>
                </a:cubicBezTo>
                <a:cubicBezTo>
                  <a:pt x="337" y="333"/>
                  <a:pt x="331" y="321"/>
                  <a:pt x="327" y="305"/>
                </a:cubicBezTo>
                <a:cubicBezTo>
                  <a:pt x="325" y="295"/>
                  <a:pt x="326" y="284"/>
                  <a:pt x="327" y="273"/>
                </a:cubicBezTo>
                <a:cubicBezTo>
                  <a:pt x="328" y="267"/>
                  <a:pt x="328" y="261"/>
                  <a:pt x="328" y="255"/>
                </a:cubicBezTo>
                <a:cubicBezTo>
                  <a:pt x="328" y="243"/>
                  <a:pt x="322" y="230"/>
                  <a:pt x="316" y="216"/>
                </a:cubicBezTo>
                <a:cubicBezTo>
                  <a:pt x="313" y="210"/>
                  <a:pt x="310" y="203"/>
                  <a:pt x="308" y="197"/>
                </a:cubicBezTo>
                <a:cubicBezTo>
                  <a:pt x="306" y="193"/>
                  <a:pt x="305" y="191"/>
                  <a:pt x="305" y="188"/>
                </a:cubicBezTo>
                <a:cubicBezTo>
                  <a:pt x="300" y="175"/>
                  <a:pt x="299" y="172"/>
                  <a:pt x="294" y="167"/>
                </a:cubicBezTo>
                <a:cubicBezTo>
                  <a:pt x="285" y="157"/>
                  <a:pt x="253" y="151"/>
                  <a:pt x="253" y="151"/>
                </a:cubicBezTo>
                <a:cubicBezTo>
                  <a:pt x="246" y="150"/>
                  <a:pt x="241" y="152"/>
                  <a:pt x="237" y="153"/>
                </a:cubicBezTo>
                <a:cubicBezTo>
                  <a:pt x="235" y="154"/>
                  <a:pt x="235" y="154"/>
                  <a:pt x="233" y="153"/>
                </a:cubicBezTo>
                <a:cubicBezTo>
                  <a:pt x="225" y="149"/>
                  <a:pt x="216" y="150"/>
                  <a:pt x="205" y="155"/>
                </a:cubicBezTo>
                <a:cubicBezTo>
                  <a:pt x="180" y="105"/>
                  <a:pt x="180" y="105"/>
                  <a:pt x="180" y="105"/>
                </a:cubicBezTo>
                <a:cubicBezTo>
                  <a:pt x="177" y="98"/>
                  <a:pt x="170" y="93"/>
                  <a:pt x="162" y="91"/>
                </a:cubicBezTo>
                <a:cubicBezTo>
                  <a:pt x="155" y="90"/>
                  <a:pt x="148" y="91"/>
                  <a:pt x="141" y="94"/>
                </a:cubicBezTo>
                <a:cubicBezTo>
                  <a:pt x="131" y="99"/>
                  <a:pt x="131" y="99"/>
                  <a:pt x="131" y="99"/>
                </a:cubicBezTo>
                <a:cubicBezTo>
                  <a:pt x="125" y="102"/>
                  <a:pt x="119" y="108"/>
                  <a:pt x="117" y="115"/>
                </a:cubicBezTo>
                <a:cubicBezTo>
                  <a:pt x="114" y="122"/>
                  <a:pt x="114" y="130"/>
                  <a:pt x="118" y="136"/>
                </a:cubicBezTo>
                <a:cubicBezTo>
                  <a:pt x="158" y="217"/>
                  <a:pt x="158" y="217"/>
                  <a:pt x="158" y="217"/>
                </a:cubicBezTo>
                <a:cubicBezTo>
                  <a:pt x="155" y="226"/>
                  <a:pt x="152" y="235"/>
                  <a:pt x="150" y="245"/>
                </a:cubicBezTo>
                <a:cubicBezTo>
                  <a:pt x="140" y="279"/>
                  <a:pt x="160" y="308"/>
                  <a:pt x="160" y="309"/>
                </a:cubicBezTo>
                <a:cubicBezTo>
                  <a:pt x="161" y="310"/>
                  <a:pt x="162" y="312"/>
                  <a:pt x="164" y="312"/>
                </a:cubicBezTo>
                <a:cubicBezTo>
                  <a:pt x="188" y="329"/>
                  <a:pt x="188" y="329"/>
                  <a:pt x="188" y="329"/>
                </a:cubicBezTo>
                <a:cubicBezTo>
                  <a:pt x="184" y="329"/>
                  <a:pt x="180" y="328"/>
                  <a:pt x="176" y="327"/>
                </a:cubicBezTo>
                <a:cubicBezTo>
                  <a:pt x="168" y="325"/>
                  <a:pt x="168" y="325"/>
                  <a:pt x="168" y="325"/>
                </a:cubicBezTo>
                <a:cubicBezTo>
                  <a:pt x="162" y="324"/>
                  <a:pt x="156" y="327"/>
                  <a:pt x="153" y="332"/>
                </a:cubicBezTo>
                <a:cubicBezTo>
                  <a:pt x="139" y="361"/>
                  <a:pt x="139" y="361"/>
                  <a:pt x="139" y="361"/>
                </a:cubicBezTo>
                <a:cubicBezTo>
                  <a:pt x="131" y="357"/>
                  <a:pt x="119" y="351"/>
                  <a:pt x="107" y="344"/>
                </a:cubicBezTo>
                <a:cubicBezTo>
                  <a:pt x="105" y="343"/>
                  <a:pt x="103" y="342"/>
                  <a:pt x="101" y="340"/>
                </a:cubicBezTo>
                <a:cubicBezTo>
                  <a:pt x="92" y="334"/>
                  <a:pt x="87" y="330"/>
                  <a:pt x="83" y="327"/>
                </a:cubicBezTo>
                <a:cubicBezTo>
                  <a:pt x="88" y="321"/>
                  <a:pt x="94" y="313"/>
                  <a:pt x="99" y="306"/>
                </a:cubicBezTo>
                <a:cubicBezTo>
                  <a:pt x="104" y="300"/>
                  <a:pt x="104" y="300"/>
                  <a:pt x="104" y="300"/>
                </a:cubicBezTo>
                <a:cubicBezTo>
                  <a:pt x="107" y="295"/>
                  <a:pt x="107" y="289"/>
                  <a:pt x="104" y="284"/>
                </a:cubicBezTo>
                <a:cubicBezTo>
                  <a:pt x="99" y="278"/>
                  <a:pt x="99" y="278"/>
                  <a:pt x="99" y="278"/>
                </a:cubicBezTo>
                <a:cubicBezTo>
                  <a:pt x="91" y="267"/>
                  <a:pt x="82" y="249"/>
                  <a:pt x="78" y="237"/>
                </a:cubicBezTo>
                <a:cubicBezTo>
                  <a:pt x="76" y="229"/>
                  <a:pt x="76" y="229"/>
                  <a:pt x="76" y="229"/>
                </a:cubicBezTo>
                <a:cubicBezTo>
                  <a:pt x="74" y="223"/>
                  <a:pt x="68" y="219"/>
                  <a:pt x="62" y="219"/>
                </a:cubicBezTo>
                <a:cubicBezTo>
                  <a:pt x="54" y="220"/>
                  <a:pt x="54" y="220"/>
                  <a:pt x="54" y="220"/>
                </a:cubicBezTo>
                <a:cubicBezTo>
                  <a:pt x="47" y="220"/>
                  <a:pt x="38" y="221"/>
                  <a:pt x="31" y="222"/>
                </a:cubicBezTo>
                <a:cubicBezTo>
                  <a:pt x="30" y="204"/>
                  <a:pt x="32" y="174"/>
                  <a:pt x="34" y="157"/>
                </a:cubicBezTo>
                <a:cubicBezTo>
                  <a:pt x="64" y="162"/>
                  <a:pt x="64" y="162"/>
                  <a:pt x="64" y="162"/>
                </a:cubicBezTo>
                <a:cubicBezTo>
                  <a:pt x="70" y="163"/>
                  <a:pt x="76" y="160"/>
                  <a:pt x="78" y="154"/>
                </a:cubicBezTo>
                <a:cubicBezTo>
                  <a:pt x="81" y="146"/>
                  <a:pt x="81" y="146"/>
                  <a:pt x="81" y="146"/>
                </a:cubicBezTo>
                <a:cubicBezTo>
                  <a:pt x="83" y="142"/>
                  <a:pt x="86" y="136"/>
                  <a:pt x="90" y="130"/>
                </a:cubicBezTo>
                <a:cubicBezTo>
                  <a:pt x="95" y="122"/>
                  <a:pt x="102" y="114"/>
                  <a:pt x="107" y="108"/>
                </a:cubicBezTo>
                <a:cubicBezTo>
                  <a:pt x="114" y="101"/>
                  <a:pt x="114" y="101"/>
                  <a:pt x="114" y="101"/>
                </a:cubicBezTo>
                <a:cubicBezTo>
                  <a:pt x="118" y="97"/>
                  <a:pt x="119" y="89"/>
                  <a:pt x="114" y="84"/>
                </a:cubicBezTo>
                <a:cubicBezTo>
                  <a:pt x="109" y="77"/>
                  <a:pt x="109" y="77"/>
                  <a:pt x="109" y="77"/>
                </a:cubicBezTo>
                <a:cubicBezTo>
                  <a:pt x="104" y="71"/>
                  <a:pt x="100" y="66"/>
                  <a:pt x="96" y="59"/>
                </a:cubicBezTo>
                <a:cubicBezTo>
                  <a:pt x="101" y="55"/>
                  <a:pt x="110" y="48"/>
                  <a:pt x="124" y="41"/>
                </a:cubicBezTo>
                <a:cubicBezTo>
                  <a:pt x="136" y="35"/>
                  <a:pt x="146" y="31"/>
                  <a:pt x="152" y="29"/>
                </a:cubicBezTo>
                <a:cubicBezTo>
                  <a:pt x="153" y="33"/>
                  <a:pt x="155" y="37"/>
                  <a:pt x="157" y="41"/>
                </a:cubicBezTo>
                <a:cubicBezTo>
                  <a:pt x="157" y="41"/>
                  <a:pt x="157" y="41"/>
                  <a:pt x="157" y="41"/>
                </a:cubicBezTo>
                <a:cubicBezTo>
                  <a:pt x="160" y="47"/>
                  <a:pt x="162" y="51"/>
                  <a:pt x="163" y="54"/>
                </a:cubicBezTo>
                <a:cubicBezTo>
                  <a:pt x="167" y="61"/>
                  <a:pt x="167" y="61"/>
                  <a:pt x="167" y="61"/>
                </a:cubicBezTo>
                <a:cubicBezTo>
                  <a:pt x="169" y="66"/>
                  <a:pt x="175" y="69"/>
                  <a:pt x="180" y="68"/>
                </a:cubicBezTo>
                <a:cubicBezTo>
                  <a:pt x="188" y="67"/>
                  <a:pt x="188" y="67"/>
                  <a:pt x="188" y="67"/>
                </a:cubicBezTo>
                <a:cubicBezTo>
                  <a:pt x="194" y="66"/>
                  <a:pt x="202" y="66"/>
                  <a:pt x="211" y="67"/>
                </a:cubicBezTo>
                <a:cubicBezTo>
                  <a:pt x="220" y="68"/>
                  <a:pt x="227" y="69"/>
                  <a:pt x="233" y="70"/>
                </a:cubicBezTo>
                <a:cubicBezTo>
                  <a:pt x="241" y="73"/>
                  <a:pt x="241" y="73"/>
                  <a:pt x="241" y="73"/>
                </a:cubicBezTo>
                <a:cubicBezTo>
                  <a:pt x="248" y="75"/>
                  <a:pt x="255" y="71"/>
                  <a:pt x="257" y="65"/>
                </a:cubicBezTo>
                <a:cubicBezTo>
                  <a:pt x="261" y="56"/>
                  <a:pt x="261" y="56"/>
                  <a:pt x="261" y="56"/>
                </a:cubicBezTo>
                <a:cubicBezTo>
                  <a:pt x="262" y="55"/>
                  <a:pt x="262" y="53"/>
                  <a:pt x="263" y="51"/>
                </a:cubicBezTo>
                <a:cubicBezTo>
                  <a:pt x="264" y="48"/>
                  <a:pt x="264" y="48"/>
                  <a:pt x="264" y="48"/>
                </a:cubicBezTo>
                <a:cubicBezTo>
                  <a:pt x="266" y="44"/>
                  <a:pt x="268" y="40"/>
                  <a:pt x="269" y="37"/>
                </a:cubicBezTo>
                <a:cubicBezTo>
                  <a:pt x="273" y="38"/>
                  <a:pt x="279" y="41"/>
                  <a:pt x="289" y="47"/>
                </a:cubicBezTo>
                <a:cubicBezTo>
                  <a:pt x="290" y="48"/>
                  <a:pt x="291" y="48"/>
                  <a:pt x="291" y="49"/>
                </a:cubicBezTo>
                <a:cubicBezTo>
                  <a:pt x="300" y="54"/>
                  <a:pt x="309" y="61"/>
                  <a:pt x="317" y="68"/>
                </a:cubicBezTo>
                <a:cubicBezTo>
                  <a:pt x="320" y="71"/>
                  <a:pt x="323" y="73"/>
                  <a:pt x="324" y="75"/>
                </a:cubicBezTo>
                <a:cubicBezTo>
                  <a:pt x="307" y="99"/>
                  <a:pt x="307" y="99"/>
                  <a:pt x="307" y="99"/>
                </a:cubicBezTo>
                <a:cubicBezTo>
                  <a:pt x="304" y="104"/>
                  <a:pt x="304" y="110"/>
                  <a:pt x="307" y="115"/>
                </a:cubicBezTo>
                <a:cubicBezTo>
                  <a:pt x="311" y="121"/>
                  <a:pt x="311" y="121"/>
                  <a:pt x="311" y="121"/>
                </a:cubicBezTo>
                <a:cubicBezTo>
                  <a:pt x="314" y="124"/>
                  <a:pt x="318" y="130"/>
                  <a:pt x="323" y="142"/>
                </a:cubicBezTo>
                <a:cubicBezTo>
                  <a:pt x="327" y="150"/>
                  <a:pt x="330" y="156"/>
                  <a:pt x="331" y="161"/>
                </a:cubicBezTo>
                <a:cubicBezTo>
                  <a:pt x="334" y="169"/>
                  <a:pt x="334" y="169"/>
                  <a:pt x="334" y="169"/>
                </a:cubicBezTo>
                <a:cubicBezTo>
                  <a:pt x="336" y="175"/>
                  <a:pt x="342" y="179"/>
                  <a:pt x="348" y="178"/>
                </a:cubicBezTo>
                <a:cubicBezTo>
                  <a:pt x="379" y="174"/>
                  <a:pt x="379" y="174"/>
                  <a:pt x="379" y="174"/>
                </a:cubicBezTo>
                <a:cubicBezTo>
                  <a:pt x="381" y="191"/>
                  <a:pt x="383" y="224"/>
                  <a:pt x="373" y="245"/>
                </a:cubicBezTo>
                <a:cubicBezTo>
                  <a:pt x="371" y="247"/>
                  <a:pt x="370" y="250"/>
                  <a:pt x="369" y="253"/>
                </a:cubicBezTo>
                <a:cubicBezTo>
                  <a:pt x="368" y="260"/>
                  <a:pt x="374" y="267"/>
                  <a:pt x="381" y="268"/>
                </a:cubicBezTo>
                <a:cubicBezTo>
                  <a:pt x="386" y="268"/>
                  <a:pt x="392" y="266"/>
                  <a:pt x="395" y="261"/>
                </a:cubicBezTo>
                <a:cubicBezTo>
                  <a:pt x="395" y="261"/>
                  <a:pt x="395" y="260"/>
                  <a:pt x="395" y="260"/>
                </a:cubicBezTo>
                <a:cubicBezTo>
                  <a:pt x="413" y="227"/>
                  <a:pt x="407" y="167"/>
                  <a:pt x="401" y="15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0" name="Freeform 304"/>
          <p:cNvSpPr>
            <a:spLocks noEditPoints="1"/>
          </p:cNvSpPr>
          <p:nvPr userDrawn="1"/>
        </p:nvSpPr>
        <p:spPr bwMode="auto">
          <a:xfrm>
            <a:off x="2416174" y="2249173"/>
            <a:ext cx="296543" cy="373856"/>
          </a:xfrm>
          <a:custGeom>
            <a:avLst/>
            <a:gdLst/>
            <a:ahLst/>
            <a:cxnLst>
              <a:cxn ang="0">
                <a:pos x="144" y="17"/>
              </a:cxn>
              <a:cxn ang="0">
                <a:pos x="108" y="173"/>
              </a:cxn>
              <a:cxn ang="0">
                <a:pos x="89" y="249"/>
              </a:cxn>
              <a:cxn ang="0">
                <a:pos x="62" y="372"/>
              </a:cxn>
              <a:cxn ang="0">
                <a:pos x="0" y="385"/>
              </a:cxn>
              <a:cxn ang="0">
                <a:pos x="69" y="398"/>
              </a:cxn>
              <a:cxn ang="0">
                <a:pos x="139" y="309"/>
              </a:cxn>
              <a:cxn ang="0">
                <a:pos x="141" y="295"/>
              </a:cxn>
              <a:cxn ang="0">
                <a:pos x="110" y="223"/>
              </a:cxn>
              <a:cxn ang="0">
                <a:pos x="136" y="179"/>
              </a:cxn>
              <a:cxn ang="0">
                <a:pos x="130" y="131"/>
              </a:cxn>
              <a:cxn ang="0">
                <a:pos x="167" y="32"/>
              </a:cxn>
              <a:cxn ang="0">
                <a:pos x="238" y="131"/>
              </a:cxn>
              <a:cxn ang="0">
                <a:pos x="272" y="196"/>
              </a:cxn>
              <a:cxn ang="0">
                <a:pos x="271" y="209"/>
              </a:cxn>
              <a:cxn ang="0">
                <a:pos x="307" y="324"/>
              </a:cxn>
              <a:cxn ang="0">
                <a:pos x="170" y="265"/>
              </a:cxn>
              <a:cxn ang="0">
                <a:pos x="161" y="385"/>
              </a:cxn>
              <a:cxn ang="0">
                <a:pos x="240" y="398"/>
              </a:cxn>
              <a:cxn ang="0">
                <a:pos x="14" y="417"/>
              </a:cxn>
              <a:cxn ang="0">
                <a:pos x="14" y="444"/>
              </a:cxn>
              <a:cxn ang="0">
                <a:pos x="266" y="431"/>
              </a:cxn>
              <a:cxn ang="0">
                <a:pos x="253" y="372"/>
              </a:cxn>
              <a:cxn ang="0">
                <a:pos x="188" y="308"/>
              </a:cxn>
              <a:cxn ang="0">
                <a:pos x="325" y="348"/>
              </a:cxn>
              <a:cxn ang="0">
                <a:pos x="336" y="328"/>
              </a:cxn>
              <a:cxn ang="0">
                <a:pos x="332" y="145"/>
              </a:cxn>
              <a:cxn ang="0">
                <a:pos x="352" y="127"/>
              </a:cxn>
              <a:cxn ang="0">
                <a:pos x="334" y="114"/>
              </a:cxn>
              <a:cxn ang="0">
                <a:pos x="249" y="106"/>
              </a:cxn>
              <a:cxn ang="0">
                <a:pos x="157" y="4"/>
              </a:cxn>
              <a:cxn ang="0">
                <a:pos x="275" y="193"/>
              </a:cxn>
              <a:cxn ang="0">
                <a:pos x="274" y="195"/>
              </a:cxn>
              <a:cxn ang="0">
                <a:pos x="274" y="195"/>
              </a:cxn>
            </a:cxnLst>
            <a:rect l="0" t="0" r="r" b="b"/>
            <a:pathLst>
              <a:path w="352" h="444">
                <a:moveTo>
                  <a:pt x="157" y="4"/>
                </a:moveTo>
                <a:cubicBezTo>
                  <a:pt x="153" y="8"/>
                  <a:pt x="148" y="12"/>
                  <a:pt x="144" y="17"/>
                </a:cubicBezTo>
                <a:cubicBezTo>
                  <a:pt x="118" y="47"/>
                  <a:pt x="104" y="87"/>
                  <a:pt x="104" y="131"/>
                </a:cubicBezTo>
                <a:cubicBezTo>
                  <a:pt x="104" y="145"/>
                  <a:pt x="105" y="159"/>
                  <a:pt x="108" y="173"/>
                </a:cubicBezTo>
                <a:cubicBezTo>
                  <a:pt x="92" y="185"/>
                  <a:pt x="84" y="204"/>
                  <a:pt x="84" y="223"/>
                </a:cubicBezTo>
                <a:cubicBezTo>
                  <a:pt x="84" y="231"/>
                  <a:pt x="85" y="240"/>
                  <a:pt x="89" y="249"/>
                </a:cubicBezTo>
                <a:cubicBezTo>
                  <a:pt x="89" y="249"/>
                  <a:pt x="108" y="289"/>
                  <a:pt x="113" y="300"/>
                </a:cubicBezTo>
                <a:cubicBezTo>
                  <a:pt x="106" y="310"/>
                  <a:pt x="69" y="363"/>
                  <a:pt x="62" y="372"/>
                </a:cubicBezTo>
                <a:cubicBezTo>
                  <a:pt x="52" y="372"/>
                  <a:pt x="14" y="372"/>
                  <a:pt x="14" y="372"/>
                </a:cubicBezTo>
                <a:cubicBezTo>
                  <a:pt x="6" y="372"/>
                  <a:pt x="0" y="378"/>
                  <a:pt x="0" y="385"/>
                </a:cubicBezTo>
                <a:cubicBezTo>
                  <a:pt x="0" y="392"/>
                  <a:pt x="6" y="398"/>
                  <a:pt x="14" y="398"/>
                </a:cubicBezTo>
                <a:cubicBezTo>
                  <a:pt x="69" y="398"/>
                  <a:pt x="69" y="398"/>
                  <a:pt x="69" y="398"/>
                </a:cubicBezTo>
                <a:cubicBezTo>
                  <a:pt x="73" y="398"/>
                  <a:pt x="77" y="396"/>
                  <a:pt x="80" y="393"/>
                </a:cubicBezTo>
                <a:cubicBezTo>
                  <a:pt x="139" y="309"/>
                  <a:pt x="139" y="309"/>
                  <a:pt x="139" y="309"/>
                </a:cubicBezTo>
                <a:cubicBezTo>
                  <a:pt x="141" y="306"/>
                  <a:pt x="142" y="304"/>
                  <a:pt x="142" y="301"/>
                </a:cubicBezTo>
                <a:cubicBezTo>
                  <a:pt x="142" y="299"/>
                  <a:pt x="141" y="297"/>
                  <a:pt x="141" y="295"/>
                </a:cubicBezTo>
                <a:cubicBezTo>
                  <a:pt x="114" y="238"/>
                  <a:pt x="114" y="238"/>
                  <a:pt x="114" y="238"/>
                </a:cubicBezTo>
                <a:cubicBezTo>
                  <a:pt x="111" y="233"/>
                  <a:pt x="110" y="228"/>
                  <a:pt x="110" y="223"/>
                </a:cubicBezTo>
                <a:cubicBezTo>
                  <a:pt x="110" y="210"/>
                  <a:pt x="117" y="198"/>
                  <a:pt x="129" y="191"/>
                </a:cubicBezTo>
                <a:cubicBezTo>
                  <a:pt x="134" y="189"/>
                  <a:pt x="136" y="184"/>
                  <a:pt x="136" y="179"/>
                </a:cubicBezTo>
                <a:cubicBezTo>
                  <a:pt x="136" y="178"/>
                  <a:pt x="136" y="177"/>
                  <a:pt x="136" y="176"/>
                </a:cubicBezTo>
                <a:cubicBezTo>
                  <a:pt x="132" y="161"/>
                  <a:pt x="130" y="146"/>
                  <a:pt x="130" y="131"/>
                </a:cubicBezTo>
                <a:cubicBezTo>
                  <a:pt x="130" y="94"/>
                  <a:pt x="142" y="60"/>
                  <a:pt x="164" y="35"/>
                </a:cubicBezTo>
                <a:cubicBezTo>
                  <a:pt x="165" y="34"/>
                  <a:pt x="166" y="33"/>
                  <a:pt x="167" y="32"/>
                </a:cubicBezTo>
                <a:cubicBezTo>
                  <a:pt x="180" y="45"/>
                  <a:pt x="202" y="76"/>
                  <a:pt x="229" y="125"/>
                </a:cubicBezTo>
                <a:cubicBezTo>
                  <a:pt x="231" y="128"/>
                  <a:pt x="234" y="131"/>
                  <a:pt x="238" y="131"/>
                </a:cubicBezTo>
                <a:cubicBezTo>
                  <a:pt x="238" y="131"/>
                  <a:pt x="280" y="139"/>
                  <a:pt x="302" y="143"/>
                </a:cubicBezTo>
                <a:cubicBezTo>
                  <a:pt x="291" y="162"/>
                  <a:pt x="273" y="195"/>
                  <a:pt x="272" y="196"/>
                </a:cubicBezTo>
                <a:cubicBezTo>
                  <a:pt x="270" y="199"/>
                  <a:pt x="270" y="201"/>
                  <a:pt x="270" y="204"/>
                </a:cubicBezTo>
                <a:cubicBezTo>
                  <a:pt x="270" y="206"/>
                  <a:pt x="270" y="208"/>
                  <a:pt x="271" y="209"/>
                </a:cubicBezTo>
                <a:cubicBezTo>
                  <a:pt x="297" y="269"/>
                  <a:pt x="308" y="307"/>
                  <a:pt x="309" y="323"/>
                </a:cubicBezTo>
                <a:cubicBezTo>
                  <a:pt x="309" y="324"/>
                  <a:pt x="308" y="324"/>
                  <a:pt x="307" y="324"/>
                </a:cubicBezTo>
                <a:cubicBezTo>
                  <a:pt x="265" y="327"/>
                  <a:pt x="219" y="307"/>
                  <a:pt x="185" y="268"/>
                </a:cubicBezTo>
                <a:cubicBezTo>
                  <a:pt x="181" y="264"/>
                  <a:pt x="175" y="263"/>
                  <a:pt x="170" y="265"/>
                </a:cubicBezTo>
                <a:cubicBezTo>
                  <a:pt x="165" y="267"/>
                  <a:pt x="161" y="272"/>
                  <a:pt x="161" y="277"/>
                </a:cubicBezTo>
                <a:cubicBezTo>
                  <a:pt x="161" y="385"/>
                  <a:pt x="161" y="385"/>
                  <a:pt x="161" y="385"/>
                </a:cubicBezTo>
                <a:cubicBezTo>
                  <a:pt x="161" y="392"/>
                  <a:pt x="167" y="398"/>
                  <a:pt x="175" y="398"/>
                </a:cubicBezTo>
                <a:cubicBezTo>
                  <a:pt x="175" y="398"/>
                  <a:pt x="221" y="398"/>
                  <a:pt x="240" y="398"/>
                </a:cubicBezTo>
                <a:cubicBezTo>
                  <a:pt x="240" y="406"/>
                  <a:pt x="240" y="409"/>
                  <a:pt x="240" y="417"/>
                </a:cubicBezTo>
                <a:cubicBezTo>
                  <a:pt x="216" y="417"/>
                  <a:pt x="14" y="417"/>
                  <a:pt x="14" y="417"/>
                </a:cubicBezTo>
                <a:cubicBezTo>
                  <a:pt x="6" y="417"/>
                  <a:pt x="0" y="423"/>
                  <a:pt x="0" y="431"/>
                </a:cubicBezTo>
                <a:cubicBezTo>
                  <a:pt x="0" y="438"/>
                  <a:pt x="6" y="444"/>
                  <a:pt x="14" y="444"/>
                </a:cubicBezTo>
                <a:cubicBezTo>
                  <a:pt x="253" y="444"/>
                  <a:pt x="253" y="444"/>
                  <a:pt x="253" y="444"/>
                </a:cubicBezTo>
                <a:cubicBezTo>
                  <a:pt x="260" y="444"/>
                  <a:pt x="266" y="438"/>
                  <a:pt x="266" y="431"/>
                </a:cubicBezTo>
                <a:cubicBezTo>
                  <a:pt x="266" y="385"/>
                  <a:pt x="266" y="385"/>
                  <a:pt x="266" y="385"/>
                </a:cubicBezTo>
                <a:cubicBezTo>
                  <a:pt x="266" y="378"/>
                  <a:pt x="260" y="372"/>
                  <a:pt x="253" y="372"/>
                </a:cubicBezTo>
                <a:cubicBezTo>
                  <a:pt x="253" y="372"/>
                  <a:pt x="206" y="372"/>
                  <a:pt x="188" y="372"/>
                </a:cubicBezTo>
                <a:cubicBezTo>
                  <a:pt x="188" y="358"/>
                  <a:pt x="188" y="334"/>
                  <a:pt x="188" y="308"/>
                </a:cubicBezTo>
                <a:cubicBezTo>
                  <a:pt x="225" y="338"/>
                  <a:pt x="268" y="354"/>
                  <a:pt x="310" y="350"/>
                </a:cubicBezTo>
                <a:cubicBezTo>
                  <a:pt x="315" y="350"/>
                  <a:pt x="320" y="349"/>
                  <a:pt x="325" y="348"/>
                </a:cubicBezTo>
                <a:cubicBezTo>
                  <a:pt x="330" y="347"/>
                  <a:pt x="334" y="343"/>
                  <a:pt x="335" y="339"/>
                </a:cubicBezTo>
                <a:cubicBezTo>
                  <a:pt x="336" y="336"/>
                  <a:pt x="336" y="332"/>
                  <a:pt x="336" y="328"/>
                </a:cubicBezTo>
                <a:cubicBezTo>
                  <a:pt x="336" y="297"/>
                  <a:pt x="312" y="237"/>
                  <a:pt x="298" y="205"/>
                </a:cubicBezTo>
                <a:cubicBezTo>
                  <a:pt x="303" y="196"/>
                  <a:pt x="328" y="151"/>
                  <a:pt x="332" y="145"/>
                </a:cubicBezTo>
                <a:cubicBezTo>
                  <a:pt x="336" y="142"/>
                  <a:pt x="344" y="139"/>
                  <a:pt x="344" y="139"/>
                </a:cubicBezTo>
                <a:cubicBezTo>
                  <a:pt x="349" y="137"/>
                  <a:pt x="352" y="132"/>
                  <a:pt x="352" y="127"/>
                </a:cubicBezTo>
                <a:cubicBezTo>
                  <a:pt x="352" y="125"/>
                  <a:pt x="352" y="123"/>
                  <a:pt x="351" y="122"/>
                </a:cubicBezTo>
                <a:cubicBezTo>
                  <a:pt x="348" y="115"/>
                  <a:pt x="341" y="112"/>
                  <a:pt x="334" y="114"/>
                </a:cubicBezTo>
                <a:cubicBezTo>
                  <a:pt x="334" y="114"/>
                  <a:pt x="325" y="118"/>
                  <a:pt x="321" y="120"/>
                </a:cubicBezTo>
                <a:cubicBezTo>
                  <a:pt x="314" y="119"/>
                  <a:pt x="259" y="108"/>
                  <a:pt x="249" y="106"/>
                </a:cubicBezTo>
                <a:cubicBezTo>
                  <a:pt x="232" y="76"/>
                  <a:pt x="197" y="17"/>
                  <a:pt x="173" y="3"/>
                </a:cubicBezTo>
                <a:cubicBezTo>
                  <a:pt x="168" y="0"/>
                  <a:pt x="162" y="0"/>
                  <a:pt x="157" y="4"/>
                </a:cubicBezTo>
                <a:close/>
                <a:moveTo>
                  <a:pt x="277" y="192"/>
                </a:moveTo>
                <a:cubicBezTo>
                  <a:pt x="276" y="192"/>
                  <a:pt x="276" y="193"/>
                  <a:pt x="275" y="193"/>
                </a:cubicBezTo>
                <a:cubicBezTo>
                  <a:pt x="276" y="193"/>
                  <a:pt x="276" y="192"/>
                  <a:pt x="277" y="192"/>
                </a:cubicBezTo>
                <a:close/>
                <a:moveTo>
                  <a:pt x="274" y="195"/>
                </a:moveTo>
                <a:cubicBezTo>
                  <a:pt x="273" y="195"/>
                  <a:pt x="273" y="195"/>
                  <a:pt x="272" y="196"/>
                </a:cubicBezTo>
                <a:cubicBezTo>
                  <a:pt x="273" y="195"/>
                  <a:pt x="273" y="195"/>
                  <a:pt x="274" y="19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1" name="Freeform 337"/>
          <p:cNvSpPr>
            <a:spLocks noEditPoints="1"/>
          </p:cNvSpPr>
          <p:nvPr userDrawn="1"/>
        </p:nvSpPr>
        <p:spPr bwMode="auto">
          <a:xfrm>
            <a:off x="2376873" y="2759018"/>
            <a:ext cx="375144" cy="386954"/>
          </a:xfrm>
          <a:custGeom>
            <a:avLst/>
            <a:gdLst/>
            <a:ahLst/>
            <a:cxnLst>
              <a:cxn ang="0">
                <a:pos x="238" y="3"/>
              </a:cxn>
              <a:cxn ang="0">
                <a:pos x="176" y="46"/>
              </a:cxn>
              <a:cxn ang="0">
                <a:pos x="175" y="51"/>
              </a:cxn>
              <a:cxn ang="0">
                <a:pos x="175" y="94"/>
              </a:cxn>
              <a:cxn ang="0">
                <a:pos x="32" y="120"/>
              </a:cxn>
              <a:cxn ang="0">
                <a:pos x="21" y="132"/>
              </a:cxn>
              <a:cxn ang="0">
                <a:pos x="0" y="363"/>
              </a:cxn>
              <a:cxn ang="0">
                <a:pos x="0" y="364"/>
              </a:cxn>
              <a:cxn ang="0">
                <a:pos x="5" y="374"/>
              </a:cxn>
              <a:cxn ang="0">
                <a:pos x="95" y="453"/>
              </a:cxn>
              <a:cxn ang="0">
                <a:pos x="109" y="456"/>
              </a:cxn>
              <a:cxn ang="0">
                <a:pos x="117" y="444"/>
              </a:cxn>
              <a:cxn ang="0">
                <a:pos x="130" y="202"/>
              </a:cxn>
              <a:cxn ang="0">
                <a:pos x="191" y="185"/>
              </a:cxn>
              <a:cxn ang="0">
                <a:pos x="201" y="172"/>
              </a:cxn>
              <a:cxn ang="0">
                <a:pos x="201" y="116"/>
              </a:cxn>
              <a:cxn ang="0">
                <a:pos x="279" y="102"/>
              </a:cxn>
              <a:cxn ang="0">
                <a:pos x="280" y="123"/>
              </a:cxn>
              <a:cxn ang="0">
                <a:pos x="293" y="136"/>
              </a:cxn>
              <a:cxn ang="0">
                <a:pos x="306" y="123"/>
              </a:cxn>
              <a:cxn ang="0">
                <a:pos x="306" y="97"/>
              </a:cxn>
              <a:cxn ang="0">
                <a:pos x="380" y="83"/>
              </a:cxn>
              <a:cxn ang="0">
                <a:pos x="418" y="111"/>
              </a:cxn>
              <a:cxn ang="0">
                <a:pos x="418" y="366"/>
              </a:cxn>
              <a:cxn ang="0">
                <a:pos x="158" y="423"/>
              </a:cxn>
              <a:cxn ang="0">
                <a:pos x="148" y="436"/>
              </a:cxn>
              <a:cxn ang="0">
                <a:pos x="148" y="439"/>
              </a:cxn>
              <a:cxn ang="0">
                <a:pos x="164" y="449"/>
              </a:cxn>
              <a:cxn ang="0">
                <a:pos x="435" y="389"/>
              </a:cxn>
              <a:cxn ang="0">
                <a:pos x="445" y="376"/>
              </a:cxn>
              <a:cxn ang="0">
                <a:pos x="445" y="105"/>
              </a:cxn>
              <a:cxn ang="0">
                <a:pos x="440" y="94"/>
              </a:cxn>
              <a:cxn ang="0">
                <a:pos x="391" y="59"/>
              </a:cxn>
              <a:cxn ang="0">
                <a:pos x="381" y="56"/>
              </a:cxn>
              <a:cxn ang="0">
                <a:pos x="305" y="70"/>
              </a:cxn>
              <a:cxn ang="0">
                <a:pos x="305" y="45"/>
              </a:cxn>
              <a:cxn ang="0">
                <a:pos x="304" y="40"/>
              </a:cxn>
              <a:cxn ang="0">
                <a:pos x="238" y="3"/>
              </a:cxn>
              <a:cxn ang="0">
                <a:pos x="240" y="30"/>
              </a:cxn>
              <a:cxn ang="0">
                <a:pos x="278" y="49"/>
              </a:cxn>
              <a:cxn ang="0">
                <a:pos x="279" y="75"/>
              </a:cxn>
              <a:cxn ang="0">
                <a:pos x="202" y="89"/>
              </a:cxn>
              <a:cxn ang="0">
                <a:pos x="202" y="54"/>
              </a:cxn>
              <a:cxn ang="0">
                <a:pos x="240" y="30"/>
              </a:cxn>
              <a:cxn ang="0">
                <a:pos x="175" y="121"/>
              </a:cxn>
              <a:cxn ang="0">
                <a:pos x="174" y="162"/>
              </a:cxn>
              <a:cxn ang="0">
                <a:pos x="114" y="179"/>
              </a:cxn>
              <a:cxn ang="0">
                <a:pos x="104" y="191"/>
              </a:cxn>
              <a:cxn ang="0">
                <a:pos x="92" y="415"/>
              </a:cxn>
              <a:cxn ang="0">
                <a:pos x="27" y="359"/>
              </a:cxn>
              <a:cxn ang="0">
                <a:pos x="47" y="145"/>
              </a:cxn>
              <a:cxn ang="0">
                <a:pos x="175" y="121"/>
              </a:cxn>
            </a:cxnLst>
            <a:rect l="0" t="0" r="r" b="b"/>
            <a:pathLst>
              <a:path w="445" h="457">
                <a:moveTo>
                  <a:pt x="238" y="3"/>
                </a:moveTo>
                <a:cubicBezTo>
                  <a:pt x="191" y="6"/>
                  <a:pt x="177" y="44"/>
                  <a:pt x="176" y="46"/>
                </a:cubicBezTo>
                <a:cubicBezTo>
                  <a:pt x="176" y="47"/>
                  <a:pt x="176" y="49"/>
                  <a:pt x="175" y="51"/>
                </a:cubicBezTo>
                <a:cubicBezTo>
                  <a:pt x="175" y="51"/>
                  <a:pt x="175" y="74"/>
                  <a:pt x="175" y="94"/>
                </a:cubicBezTo>
                <a:cubicBezTo>
                  <a:pt x="106" y="107"/>
                  <a:pt x="32" y="120"/>
                  <a:pt x="32" y="120"/>
                </a:cubicBezTo>
                <a:cubicBezTo>
                  <a:pt x="26" y="122"/>
                  <a:pt x="22" y="126"/>
                  <a:pt x="21" y="132"/>
                </a:cubicBezTo>
                <a:cubicBezTo>
                  <a:pt x="0" y="363"/>
                  <a:pt x="0" y="363"/>
                  <a:pt x="0" y="363"/>
                </a:cubicBezTo>
                <a:cubicBezTo>
                  <a:pt x="0" y="363"/>
                  <a:pt x="0" y="364"/>
                  <a:pt x="0" y="364"/>
                </a:cubicBezTo>
                <a:cubicBezTo>
                  <a:pt x="0" y="368"/>
                  <a:pt x="2" y="372"/>
                  <a:pt x="5" y="374"/>
                </a:cubicBezTo>
                <a:cubicBezTo>
                  <a:pt x="95" y="453"/>
                  <a:pt x="95" y="453"/>
                  <a:pt x="95" y="453"/>
                </a:cubicBezTo>
                <a:cubicBezTo>
                  <a:pt x="98" y="457"/>
                  <a:pt x="104" y="457"/>
                  <a:pt x="109" y="456"/>
                </a:cubicBezTo>
                <a:cubicBezTo>
                  <a:pt x="113" y="454"/>
                  <a:pt x="116" y="449"/>
                  <a:pt x="117" y="444"/>
                </a:cubicBezTo>
                <a:cubicBezTo>
                  <a:pt x="117" y="444"/>
                  <a:pt x="129" y="220"/>
                  <a:pt x="130" y="202"/>
                </a:cubicBezTo>
                <a:cubicBezTo>
                  <a:pt x="144" y="198"/>
                  <a:pt x="191" y="185"/>
                  <a:pt x="191" y="185"/>
                </a:cubicBezTo>
                <a:cubicBezTo>
                  <a:pt x="197" y="183"/>
                  <a:pt x="201" y="178"/>
                  <a:pt x="201" y="172"/>
                </a:cubicBezTo>
                <a:cubicBezTo>
                  <a:pt x="201" y="172"/>
                  <a:pt x="201" y="144"/>
                  <a:pt x="201" y="116"/>
                </a:cubicBezTo>
                <a:cubicBezTo>
                  <a:pt x="240" y="109"/>
                  <a:pt x="246" y="108"/>
                  <a:pt x="279" y="102"/>
                </a:cubicBezTo>
                <a:cubicBezTo>
                  <a:pt x="279" y="110"/>
                  <a:pt x="280" y="123"/>
                  <a:pt x="280" y="123"/>
                </a:cubicBezTo>
                <a:cubicBezTo>
                  <a:pt x="280" y="130"/>
                  <a:pt x="286" y="136"/>
                  <a:pt x="293" y="136"/>
                </a:cubicBezTo>
                <a:cubicBezTo>
                  <a:pt x="300" y="136"/>
                  <a:pt x="306" y="130"/>
                  <a:pt x="306" y="123"/>
                </a:cubicBezTo>
                <a:cubicBezTo>
                  <a:pt x="306" y="123"/>
                  <a:pt x="306" y="108"/>
                  <a:pt x="306" y="97"/>
                </a:cubicBezTo>
                <a:cubicBezTo>
                  <a:pt x="332" y="92"/>
                  <a:pt x="378" y="84"/>
                  <a:pt x="380" y="83"/>
                </a:cubicBezTo>
                <a:cubicBezTo>
                  <a:pt x="387" y="88"/>
                  <a:pt x="411" y="106"/>
                  <a:pt x="418" y="111"/>
                </a:cubicBezTo>
                <a:cubicBezTo>
                  <a:pt x="418" y="124"/>
                  <a:pt x="418" y="346"/>
                  <a:pt x="418" y="366"/>
                </a:cubicBezTo>
                <a:cubicBezTo>
                  <a:pt x="399" y="370"/>
                  <a:pt x="158" y="423"/>
                  <a:pt x="158" y="423"/>
                </a:cubicBezTo>
                <a:cubicBezTo>
                  <a:pt x="152" y="425"/>
                  <a:pt x="148" y="430"/>
                  <a:pt x="148" y="436"/>
                </a:cubicBezTo>
                <a:cubicBezTo>
                  <a:pt x="148" y="437"/>
                  <a:pt x="148" y="438"/>
                  <a:pt x="148" y="439"/>
                </a:cubicBezTo>
                <a:cubicBezTo>
                  <a:pt x="150" y="446"/>
                  <a:pt x="157" y="451"/>
                  <a:pt x="164" y="449"/>
                </a:cubicBezTo>
                <a:cubicBezTo>
                  <a:pt x="435" y="389"/>
                  <a:pt x="435" y="389"/>
                  <a:pt x="435" y="389"/>
                </a:cubicBezTo>
                <a:cubicBezTo>
                  <a:pt x="441" y="388"/>
                  <a:pt x="445" y="383"/>
                  <a:pt x="445" y="376"/>
                </a:cubicBezTo>
                <a:cubicBezTo>
                  <a:pt x="445" y="105"/>
                  <a:pt x="445" y="105"/>
                  <a:pt x="445" y="105"/>
                </a:cubicBezTo>
                <a:cubicBezTo>
                  <a:pt x="445" y="100"/>
                  <a:pt x="443" y="96"/>
                  <a:pt x="440" y="94"/>
                </a:cubicBezTo>
                <a:cubicBezTo>
                  <a:pt x="391" y="59"/>
                  <a:pt x="391" y="59"/>
                  <a:pt x="391" y="59"/>
                </a:cubicBezTo>
                <a:cubicBezTo>
                  <a:pt x="388" y="56"/>
                  <a:pt x="385" y="56"/>
                  <a:pt x="381" y="56"/>
                </a:cubicBezTo>
                <a:cubicBezTo>
                  <a:pt x="381" y="56"/>
                  <a:pt x="331" y="65"/>
                  <a:pt x="305" y="70"/>
                </a:cubicBezTo>
                <a:cubicBezTo>
                  <a:pt x="305" y="59"/>
                  <a:pt x="305" y="45"/>
                  <a:pt x="305" y="45"/>
                </a:cubicBezTo>
                <a:cubicBezTo>
                  <a:pt x="305" y="43"/>
                  <a:pt x="305" y="42"/>
                  <a:pt x="304" y="40"/>
                </a:cubicBezTo>
                <a:cubicBezTo>
                  <a:pt x="303" y="38"/>
                  <a:pt x="285" y="0"/>
                  <a:pt x="238" y="3"/>
                </a:cubicBezTo>
                <a:close/>
                <a:moveTo>
                  <a:pt x="240" y="30"/>
                </a:moveTo>
                <a:cubicBezTo>
                  <a:pt x="263" y="28"/>
                  <a:pt x="275" y="43"/>
                  <a:pt x="278" y="49"/>
                </a:cubicBezTo>
                <a:cubicBezTo>
                  <a:pt x="278" y="51"/>
                  <a:pt x="279" y="63"/>
                  <a:pt x="279" y="75"/>
                </a:cubicBezTo>
                <a:cubicBezTo>
                  <a:pt x="247" y="81"/>
                  <a:pt x="240" y="82"/>
                  <a:pt x="202" y="89"/>
                </a:cubicBezTo>
                <a:cubicBezTo>
                  <a:pt x="202" y="74"/>
                  <a:pt x="202" y="55"/>
                  <a:pt x="202" y="54"/>
                </a:cubicBezTo>
                <a:cubicBezTo>
                  <a:pt x="205" y="48"/>
                  <a:pt x="215" y="32"/>
                  <a:pt x="240" y="30"/>
                </a:cubicBezTo>
                <a:close/>
                <a:moveTo>
                  <a:pt x="175" y="121"/>
                </a:moveTo>
                <a:cubicBezTo>
                  <a:pt x="175" y="141"/>
                  <a:pt x="174" y="156"/>
                  <a:pt x="174" y="162"/>
                </a:cubicBezTo>
                <a:cubicBezTo>
                  <a:pt x="160" y="166"/>
                  <a:pt x="114" y="179"/>
                  <a:pt x="114" y="179"/>
                </a:cubicBezTo>
                <a:cubicBezTo>
                  <a:pt x="108" y="181"/>
                  <a:pt x="105" y="186"/>
                  <a:pt x="104" y="191"/>
                </a:cubicBezTo>
                <a:cubicBezTo>
                  <a:pt x="104" y="191"/>
                  <a:pt x="94" y="372"/>
                  <a:pt x="92" y="415"/>
                </a:cubicBezTo>
                <a:cubicBezTo>
                  <a:pt x="69" y="395"/>
                  <a:pt x="34" y="365"/>
                  <a:pt x="27" y="359"/>
                </a:cubicBezTo>
                <a:cubicBezTo>
                  <a:pt x="28" y="346"/>
                  <a:pt x="45" y="163"/>
                  <a:pt x="47" y="145"/>
                </a:cubicBezTo>
                <a:cubicBezTo>
                  <a:pt x="54" y="144"/>
                  <a:pt x="114" y="133"/>
                  <a:pt x="175" y="12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2" name="Freeform 353"/>
          <p:cNvSpPr>
            <a:spLocks/>
          </p:cNvSpPr>
          <p:nvPr userDrawn="1"/>
        </p:nvSpPr>
        <p:spPr bwMode="auto">
          <a:xfrm>
            <a:off x="2386401" y="3826226"/>
            <a:ext cx="356090" cy="332185"/>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3" name="Freeform 365"/>
          <p:cNvSpPr>
            <a:spLocks/>
          </p:cNvSpPr>
          <p:nvPr userDrawn="1"/>
        </p:nvSpPr>
        <p:spPr bwMode="auto">
          <a:xfrm>
            <a:off x="3640357" y="1338785"/>
            <a:ext cx="165540" cy="332184"/>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grpSp>
        <p:nvGrpSpPr>
          <p:cNvPr id="3" name="Group 214"/>
          <p:cNvGrpSpPr>
            <a:grpSpLocks noChangeAspect="1"/>
          </p:cNvGrpSpPr>
          <p:nvPr userDrawn="1"/>
        </p:nvGrpSpPr>
        <p:grpSpPr bwMode="auto">
          <a:xfrm>
            <a:off x="2877721" y="3225619"/>
            <a:ext cx="292787" cy="415283"/>
            <a:chOff x="1257" y="2375"/>
            <a:chExt cx="320" cy="454"/>
          </a:xfrm>
          <a:solidFill>
            <a:schemeClr val="bg1"/>
          </a:solidFill>
        </p:grpSpPr>
        <p:sp>
          <p:nvSpPr>
            <p:cNvPr id="35" name="Freeform 215"/>
            <p:cNvSpPr>
              <a:spLocks/>
            </p:cNvSpPr>
            <p:nvPr/>
          </p:nvSpPr>
          <p:spPr bwMode="auto">
            <a:xfrm>
              <a:off x="1257" y="2375"/>
              <a:ext cx="320" cy="454"/>
            </a:xfrm>
            <a:custGeom>
              <a:avLst/>
              <a:gdLst/>
              <a:ahLst/>
              <a:cxnLst>
                <a:cxn ang="0">
                  <a:pos x="55" y="0"/>
                </a:cxn>
                <a:cxn ang="0">
                  <a:pos x="0" y="240"/>
                </a:cxn>
                <a:cxn ang="0">
                  <a:pos x="40" y="240"/>
                </a:cxn>
                <a:cxn ang="0">
                  <a:pos x="55" y="38"/>
                </a:cxn>
                <a:cxn ang="0">
                  <a:pos x="412" y="54"/>
                </a:cxn>
                <a:cxn ang="0">
                  <a:pos x="396" y="601"/>
                </a:cxn>
                <a:cxn ang="0">
                  <a:pos x="281" y="581"/>
                </a:cxn>
                <a:cxn ang="0">
                  <a:pos x="169" y="581"/>
                </a:cxn>
                <a:cxn ang="0">
                  <a:pos x="54" y="601"/>
                </a:cxn>
                <a:cxn ang="0">
                  <a:pos x="39" y="337"/>
                </a:cxn>
                <a:cxn ang="0">
                  <a:pos x="98" y="277"/>
                </a:cxn>
                <a:cxn ang="0">
                  <a:pos x="346" y="105"/>
                </a:cxn>
                <a:cxn ang="0">
                  <a:pos x="99" y="475"/>
                </a:cxn>
                <a:cxn ang="0">
                  <a:pos x="80" y="334"/>
                </a:cxn>
                <a:cxn ang="0">
                  <a:pos x="61" y="494"/>
                </a:cxn>
                <a:cxn ang="0">
                  <a:pos x="80" y="513"/>
                </a:cxn>
                <a:cxn ang="0">
                  <a:pos x="385" y="494"/>
                </a:cxn>
                <a:cxn ang="0">
                  <a:pos x="366" y="66"/>
                </a:cxn>
                <a:cxn ang="0">
                  <a:pos x="60" y="86"/>
                </a:cxn>
                <a:cxn ang="0">
                  <a:pos x="60" y="268"/>
                </a:cxn>
                <a:cxn ang="0">
                  <a:pos x="0" y="330"/>
                </a:cxn>
                <a:cxn ang="0">
                  <a:pos x="0" y="586"/>
                </a:cxn>
                <a:cxn ang="0">
                  <a:pos x="193" y="640"/>
                </a:cxn>
                <a:cxn ang="0">
                  <a:pos x="198" y="640"/>
                </a:cxn>
                <a:cxn ang="0">
                  <a:pos x="216" y="603"/>
                </a:cxn>
                <a:cxn ang="0">
                  <a:pos x="210" y="588"/>
                </a:cxn>
                <a:cxn ang="0">
                  <a:pos x="225" y="563"/>
                </a:cxn>
                <a:cxn ang="0">
                  <a:pos x="241" y="588"/>
                </a:cxn>
                <a:cxn ang="0">
                  <a:pos x="237" y="602"/>
                </a:cxn>
                <a:cxn ang="0">
                  <a:pos x="254" y="639"/>
                </a:cxn>
                <a:cxn ang="0">
                  <a:pos x="259" y="640"/>
                </a:cxn>
                <a:cxn ang="0">
                  <a:pos x="450" y="585"/>
                </a:cxn>
                <a:cxn ang="0">
                  <a:pos x="396" y="0"/>
                </a:cxn>
              </a:cxnLst>
              <a:rect l="0" t="0" r="r" b="b"/>
              <a:pathLst>
                <a:path w="450" h="640">
                  <a:moveTo>
                    <a:pt x="396" y="0"/>
                  </a:moveTo>
                  <a:cubicBezTo>
                    <a:pt x="55" y="0"/>
                    <a:pt x="55" y="0"/>
                    <a:pt x="55" y="0"/>
                  </a:cubicBezTo>
                  <a:cubicBezTo>
                    <a:pt x="25" y="0"/>
                    <a:pt x="1" y="24"/>
                    <a:pt x="0" y="54"/>
                  </a:cubicBezTo>
                  <a:cubicBezTo>
                    <a:pt x="0" y="240"/>
                    <a:pt x="0" y="240"/>
                    <a:pt x="0" y="240"/>
                  </a:cubicBezTo>
                  <a:cubicBezTo>
                    <a:pt x="0" y="250"/>
                    <a:pt x="9" y="259"/>
                    <a:pt x="20" y="259"/>
                  </a:cubicBezTo>
                  <a:cubicBezTo>
                    <a:pt x="30" y="259"/>
                    <a:pt x="40" y="250"/>
                    <a:pt x="40" y="240"/>
                  </a:cubicBezTo>
                  <a:cubicBezTo>
                    <a:pt x="40" y="54"/>
                    <a:pt x="40" y="54"/>
                    <a:pt x="40" y="54"/>
                  </a:cubicBezTo>
                  <a:cubicBezTo>
                    <a:pt x="40" y="45"/>
                    <a:pt x="46" y="38"/>
                    <a:pt x="55" y="38"/>
                  </a:cubicBezTo>
                  <a:cubicBezTo>
                    <a:pt x="396" y="38"/>
                    <a:pt x="396" y="38"/>
                    <a:pt x="396" y="38"/>
                  </a:cubicBezTo>
                  <a:cubicBezTo>
                    <a:pt x="405" y="38"/>
                    <a:pt x="412" y="45"/>
                    <a:pt x="412" y="54"/>
                  </a:cubicBezTo>
                  <a:cubicBezTo>
                    <a:pt x="412" y="585"/>
                    <a:pt x="412" y="585"/>
                    <a:pt x="412" y="585"/>
                  </a:cubicBezTo>
                  <a:cubicBezTo>
                    <a:pt x="412" y="593"/>
                    <a:pt x="405" y="601"/>
                    <a:pt x="396" y="601"/>
                  </a:cubicBezTo>
                  <a:cubicBezTo>
                    <a:pt x="278" y="601"/>
                    <a:pt x="278" y="601"/>
                    <a:pt x="278" y="601"/>
                  </a:cubicBezTo>
                  <a:cubicBezTo>
                    <a:pt x="280" y="594"/>
                    <a:pt x="281" y="588"/>
                    <a:pt x="281" y="581"/>
                  </a:cubicBezTo>
                  <a:cubicBezTo>
                    <a:pt x="281" y="550"/>
                    <a:pt x="256" y="525"/>
                    <a:pt x="225" y="525"/>
                  </a:cubicBezTo>
                  <a:cubicBezTo>
                    <a:pt x="195" y="525"/>
                    <a:pt x="169" y="550"/>
                    <a:pt x="169" y="581"/>
                  </a:cubicBezTo>
                  <a:cubicBezTo>
                    <a:pt x="169" y="588"/>
                    <a:pt x="171" y="595"/>
                    <a:pt x="173" y="601"/>
                  </a:cubicBezTo>
                  <a:cubicBezTo>
                    <a:pt x="54" y="601"/>
                    <a:pt x="54" y="601"/>
                    <a:pt x="54" y="601"/>
                  </a:cubicBezTo>
                  <a:cubicBezTo>
                    <a:pt x="46" y="601"/>
                    <a:pt x="39" y="594"/>
                    <a:pt x="39" y="586"/>
                  </a:cubicBezTo>
                  <a:cubicBezTo>
                    <a:pt x="39" y="337"/>
                    <a:pt x="39" y="337"/>
                    <a:pt x="39" y="337"/>
                  </a:cubicBezTo>
                  <a:cubicBezTo>
                    <a:pt x="92" y="292"/>
                    <a:pt x="92" y="292"/>
                    <a:pt x="92" y="292"/>
                  </a:cubicBezTo>
                  <a:cubicBezTo>
                    <a:pt x="96" y="289"/>
                    <a:pt x="98" y="283"/>
                    <a:pt x="98" y="277"/>
                  </a:cubicBezTo>
                  <a:cubicBezTo>
                    <a:pt x="98" y="105"/>
                    <a:pt x="98" y="105"/>
                    <a:pt x="98" y="105"/>
                  </a:cubicBezTo>
                  <a:cubicBezTo>
                    <a:pt x="346" y="105"/>
                    <a:pt x="346" y="105"/>
                    <a:pt x="346" y="105"/>
                  </a:cubicBezTo>
                  <a:cubicBezTo>
                    <a:pt x="346" y="475"/>
                    <a:pt x="346" y="475"/>
                    <a:pt x="346" y="475"/>
                  </a:cubicBezTo>
                  <a:cubicBezTo>
                    <a:pt x="99" y="475"/>
                    <a:pt x="99" y="475"/>
                    <a:pt x="99" y="475"/>
                  </a:cubicBezTo>
                  <a:cubicBezTo>
                    <a:pt x="100" y="353"/>
                    <a:pt x="100" y="353"/>
                    <a:pt x="100" y="353"/>
                  </a:cubicBezTo>
                  <a:cubicBezTo>
                    <a:pt x="100" y="343"/>
                    <a:pt x="91" y="334"/>
                    <a:pt x="80" y="334"/>
                  </a:cubicBezTo>
                  <a:cubicBezTo>
                    <a:pt x="70" y="334"/>
                    <a:pt x="61" y="343"/>
                    <a:pt x="61" y="353"/>
                  </a:cubicBezTo>
                  <a:cubicBezTo>
                    <a:pt x="61" y="494"/>
                    <a:pt x="61" y="494"/>
                    <a:pt x="61" y="494"/>
                  </a:cubicBezTo>
                  <a:cubicBezTo>
                    <a:pt x="61" y="499"/>
                    <a:pt x="63" y="504"/>
                    <a:pt x="67" y="508"/>
                  </a:cubicBezTo>
                  <a:cubicBezTo>
                    <a:pt x="70" y="511"/>
                    <a:pt x="75" y="513"/>
                    <a:pt x="80" y="513"/>
                  </a:cubicBezTo>
                  <a:cubicBezTo>
                    <a:pt x="366" y="513"/>
                    <a:pt x="366" y="513"/>
                    <a:pt x="366" y="513"/>
                  </a:cubicBezTo>
                  <a:cubicBezTo>
                    <a:pt x="377" y="513"/>
                    <a:pt x="385" y="505"/>
                    <a:pt x="385" y="494"/>
                  </a:cubicBezTo>
                  <a:cubicBezTo>
                    <a:pt x="385" y="86"/>
                    <a:pt x="385" y="86"/>
                    <a:pt x="385" y="86"/>
                  </a:cubicBezTo>
                  <a:cubicBezTo>
                    <a:pt x="385" y="75"/>
                    <a:pt x="377" y="66"/>
                    <a:pt x="366" y="66"/>
                  </a:cubicBezTo>
                  <a:cubicBezTo>
                    <a:pt x="79" y="66"/>
                    <a:pt x="79" y="66"/>
                    <a:pt x="79" y="66"/>
                  </a:cubicBezTo>
                  <a:cubicBezTo>
                    <a:pt x="68" y="66"/>
                    <a:pt x="60" y="75"/>
                    <a:pt x="60" y="86"/>
                  </a:cubicBezTo>
                  <a:cubicBezTo>
                    <a:pt x="60" y="86"/>
                    <a:pt x="60" y="87"/>
                    <a:pt x="60" y="87"/>
                  </a:cubicBezTo>
                  <a:cubicBezTo>
                    <a:pt x="60" y="268"/>
                    <a:pt x="60" y="268"/>
                    <a:pt x="60" y="268"/>
                  </a:cubicBezTo>
                  <a:cubicBezTo>
                    <a:pt x="7" y="313"/>
                    <a:pt x="7" y="313"/>
                    <a:pt x="7" y="313"/>
                  </a:cubicBezTo>
                  <a:cubicBezTo>
                    <a:pt x="2" y="317"/>
                    <a:pt x="0" y="324"/>
                    <a:pt x="0" y="330"/>
                  </a:cubicBezTo>
                  <a:cubicBezTo>
                    <a:pt x="0" y="331"/>
                    <a:pt x="0" y="331"/>
                    <a:pt x="0" y="332"/>
                  </a:cubicBezTo>
                  <a:cubicBezTo>
                    <a:pt x="0" y="586"/>
                    <a:pt x="0" y="586"/>
                    <a:pt x="0" y="586"/>
                  </a:cubicBezTo>
                  <a:cubicBezTo>
                    <a:pt x="0" y="615"/>
                    <a:pt x="25" y="640"/>
                    <a:pt x="54" y="640"/>
                  </a:cubicBezTo>
                  <a:cubicBezTo>
                    <a:pt x="193" y="640"/>
                    <a:pt x="193" y="640"/>
                    <a:pt x="193" y="640"/>
                  </a:cubicBezTo>
                  <a:cubicBezTo>
                    <a:pt x="194" y="640"/>
                    <a:pt x="194" y="640"/>
                    <a:pt x="195" y="640"/>
                  </a:cubicBezTo>
                  <a:cubicBezTo>
                    <a:pt x="198" y="640"/>
                    <a:pt x="198" y="640"/>
                    <a:pt x="198" y="640"/>
                  </a:cubicBezTo>
                  <a:cubicBezTo>
                    <a:pt x="208" y="639"/>
                    <a:pt x="216" y="630"/>
                    <a:pt x="216" y="620"/>
                  </a:cubicBezTo>
                  <a:cubicBezTo>
                    <a:pt x="216" y="603"/>
                    <a:pt x="216" y="603"/>
                    <a:pt x="216" y="603"/>
                  </a:cubicBezTo>
                  <a:cubicBezTo>
                    <a:pt x="216" y="598"/>
                    <a:pt x="215" y="596"/>
                    <a:pt x="213" y="593"/>
                  </a:cubicBezTo>
                  <a:cubicBezTo>
                    <a:pt x="210" y="588"/>
                    <a:pt x="210" y="588"/>
                    <a:pt x="210" y="588"/>
                  </a:cubicBezTo>
                  <a:cubicBezTo>
                    <a:pt x="209" y="586"/>
                    <a:pt x="208" y="583"/>
                    <a:pt x="208" y="581"/>
                  </a:cubicBezTo>
                  <a:cubicBezTo>
                    <a:pt x="208" y="569"/>
                    <a:pt x="216" y="563"/>
                    <a:pt x="225" y="563"/>
                  </a:cubicBezTo>
                  <a:cubicBezTo>
                    <a:pt x="236" y="563"/>
                    <a:pt x="243" y="570"/>
                    <a:pt x="243" y="581"/>
                  </a:cubicBezTo>
                  <a:cubicBezTo>
                    <a:pt x="243" y="583"/>
                    <a:pt x="242" y="586"/>
                    <a:pt x="241" y="588"/>
                  </a:cubicBezTo>
                  <a:cubicBezTo>
                    <a:pt x="239" y="593"/>
                    <a:pt x="239" y="593"/>
                    <a:pt x="239" y="593"/>
                  </a:cubicBezTo>
                  <a:cubicBezTo>
                    <a:pt x="237" y="595"/>
                    <a:pt x="237" y="599"/>
                    <a:pt x="237" y="602"/>
                  </a:cubicBezTo>
                  <a:cubicBezTo>
                    <a:pt x="237" y="619"/>
                    <a:pt x="237" y="619"/>
                    <a:pt x="237" y="619"/>
                  </a:cubicBezTo>
                  <a:cubicBezTo>
                    <a:pt x="237" y="630"/>
                    <a:pt x="244" y="638"/>
                    <a:pt x="254" y="639"/>
                  </a:cubicBezTo>
                  <a:cubicBezTo>
                    <a:pt x="258" y="639"/>
                    <a:pt x="258" y="639"/>
                    <a:pt x="258" y="639"/>
                  </a:cubicBezTo>
                  <a:cubicBezTo>
                    <a:pt x="258" y="639"/>
                    <a:pt x="259" y="640"/>
                    <a:pt x="259" y="640"/>
                  </a:cubicBezTo>
                  <a:cubicBezTo>
                    <a:pt x="396" y="640"/>
                    <a:pt x="396" y="640"/>
                    <a:pt x="396" y="640"/>
                  </a:cubicBezTo>
                  <a:cubicBezTo>
                    <a:pt x="426" y="640"/>
                    <a:pt x="450" y="615"/>
                    <a:pt x="450" y="585"/>
                  </a:cubicBezTo>
                  <a:cubicBezTo>
                    <a:pt x="450" y="54"/>
                    <a:pt x="450" y="54"/>
                    <a:pt x="450" y="54"/>
                  </a:cubicBezTo>
                  <a:cubicBezTo>
                    <a:pt x="450" y="24"/>
                    <a:pt x="426" y="0"/>
                    <a:pt x="3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Line 216"/>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Line 217"/>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8" name="Freeform 259"/>
          <p:cNvSpPr>
            <a:spLocks noEditPoints="1"/>
          </p:cNvSpPr>
          <p:nvPr userDrawn="1"/>
        </p:nvSpPr>
        <p:spPr bwMode="auto">
          <a:xfrm>
            <a:off x="2826418" y="908152"/>
            <a:ext cx="395390" cy="316706"/>
          </a:xfrm>
          <a:custGeom>
            <a:avLst/>
            <a:gdLst/>
            <a:ahLst/>
            <a:cxnLst>
              <a:cxn ang="0">
                <a:pos x="205" y="4"/>
              </a:cxn>
              <a:cxn ang="0">
                <a:pos x="61" y="129"/>
              </a:cxn>
              <a:cxn ang="0">
                <a:pos x="60" y="148"/>
              </a:cxn>
              <a:cxn ang="0">
                <a:pos x="79" y="149"/>
              </a:cxn>
              <a:cxn ang="0">
                <a:pos x="218" y="28"/>
              </a:cxn>
              <a:cxn ang="0">
                <a:pos x="413" y="62"/>
              </a:cxn>
              <a:cxn ang="0">
                <a:pos x="400" y="113"/>
              </a:cxn>
              <a:cxn ang="0">
                <a:pos x="402" y="131"/>
              </a:cxn>
              <a:cxn ang="0">
                <a:pos x="430" y="174"/>
              </a:cxn>
              <a:cxn ang="0">
                <a:pos x="261" y="344"/>
              </a:cxn>
              <a:cxn ang="0">
                <a:pos x="71" y="290"/>
              </a:cxn>
              <a:cxn ang="0">
                <a:pos x="32" y="243"/>
              </a:cxn>
              <a:cxn ang="0">
                <a:pos x="31" y="234"/>
              </a:cxn>
              <a:cxn ang="0">
                <a:pos x="58" y="197"/>
              </a:cxn>
              <a:cxn ang="0">
                <a:pos x="241" y="247"/>
              </a:cxn>
              <a:cxn ang="0">
                <a:pos x="253" y="243"/>
              </a:cxn>
              <a:cxn ang="0">
                <a:pos x="376" y="131"/>
              </a:cxn>
              <a:cxn ang="0">
                <a:pos x="385" y="118"/>
              </a:cxn>
              <a:cxn ang="0">
                <a:pos x="372" y="105"/>
              </a:cxn>
              <a:cxn ang="0">
                <a:pos x="295" y="166"/>
              </a:cxn>
              <a:cxn ang="0">
                <a:pos x="240" y="219"/>
              </a:cxn>
              <a:cxn ang="0">
                <a:pos x="60" y="170"/>
              </a:cxn>
              <a:cxn ang="0">
                <a:pos x="51" y="171"/>
              </a:cxn>
              <a:cxn ang="0">
                <a:pos x="6" y="248"/>
              </a:cxn>
              <a:cxn ang="0">
                <a:pos x="69" y="317"/>
              </a:cxn>
              <a:cxn ang="0">
                <a:pos x="261" y="372"/>
              </a:cxn>
              <a:cxn ang="0">
                <a:pos x="274" y="368"/>
              </a:cxn>
              <a:cxn ang="0">
                <a:pos x="462" y="181"/>
              </a:cxn>
              <a:cxn ang="0">
                <a:pos x="466" y="169"/>
              </a:cxn>
              <a:cxn ang="0">
                <a:pos x="457" y="159"/>
              </a:cxn>
              <a:cxn ang="0">
                <a:pos x="428" y="126"/>
              </a:cxn>
              <a:cxn ang="0">
                <a:pos x="446" y="62"/>
              </a:cxn>
              <a:cxn ang="0">
                <a:pos x="449" y="49"/>
              </a:cxn>
              <a:cxn ang="0">
                <a:pos x="439" y="40"/>
              </a:cxn>
              <a:cxn ang="0">
                <a:pos x="216" y="0"/>
              </a:cxn>
              <a:cxn ang="0">
                <a:pos x="205" y="4"/>
              </a:cxn>
              <a:cxn ang="0">
                <a:pos x="374" y="131"/>
              </a:cxn>
              <a:cxn ang="0">
                <a:pos x="372" y="131"/>
              </a:cxn>
              <a:cxn ang="0">
                <a:pos x="374" y="131"/>
              </a:cxn>
            </a:cxnLst>
            <a:rect l="0" t="0" r="r" b="b"/>
            <a:pathLst>
              <a:path w="467" h="373">
                <a:moveTo>
                  <a:pt x="205" y="4"/>
                </a:moveTo>
                <a:cubicBezTo>
                  <a:pt x="61" y="129"/>
                  <a:pt x="61" y="129"/>
                  <a:pt x="61" y="129"/>
                </a:cubicBezTo>
                <a:cubicBezTo>
                  <a:pt x="56" y="134"/>
                  <a:pt x="55" y="142"/>
                  <a:pt x="60" y="148"/>
                </a:cubicBezTo>
                <a:cubicBezTo>
                  <a:pt x="65" y="153"/>
                  <a:pt x="73" y="154"/>
                  <a:pt x="79" y="149"/>
                </a:cubicBezTo>
                <a:cubicBezTo>
                  <a:pt x="79" y="149"/>
                  <a:pt x="209" y="36"/>
                  <a:pt x="218" y="28"/>
                </a:cubicBezTo>
                <a:cubicBezTo>
                  <a:pt x="229" y="30"/>
                  <a:pt x="380" y="57"/>
                  <a:pt x="413" y="62"/>
                </a:cubicBezTo>
                <a:cubicBezTo>
                  <a:pt x="405" y="78"/>
                  <a:pt x="400" y="96"/>
                  <a:pt x="400" y="113"/>
                </a:cubicBezTo>
                <a:cubicBezTo>
                  <a:pt x="400" y="119"/>
                  <a:pt x="401" y="125"/>
                  <a:pt x="402" y="131"/>
                </a:cubicBezTo>
                <a:cubicBezTo>
                  <a:pt x="406" y="149"/>
                  <a:pt x="416" y="164"/>
                  <a:pt x="430" y="174"/>
                </a:cubicBezTo>
                <a:cubicBezTo>
                  <a:pt x="386" y="218"/>
                  <a:pt x="287" y="318"/>
                  <a:pt x="261" y="344"/>
                </a:cubicBezTo>
                <a:cubicBezTo>
                  <a:pt x="229" y="333"/>
                  <a:pt x="109" y="293"/>
                  <a:pt x="71" y="290"/>
                </a:cubicBezTo>
                <a:cubicBezTo>
                  <a:pt x="59" y="289"/>
                  <a:pt x="37" y="268"/>
                  <a:pt x="32" y="243"/>
                </a:cubicBezTo>
                <a:cubicBezTo>
                  <a:pt x="31" y="240"/>
                  <a:pt x="31" y="237"/>
                  <a:pt x="31" y="234"/>
                </a:cubicBezTo>
                <a:cubicBezTo>
                  <a:pt x="31" y="219"/>
                  <a:pt x="40" y="206"/>
                  <a:pt x="58" y="197"/>
                </a:cubicBezTo>
                <a:cubicBezTo>
                  <a:pt x="67" y="200"/>
                  <a:pt x="241" y="247"/>
                  <a:pt x="241" y="247"/>
                </a:cubicBezTo>
                <a:cubicBezTo>
                  <a:pt x="245" y="248"/>
                  <a:pt x="250" y="247"/>
                  <a:pt x="253" y="243"/>
                </a:cubicBezTo>
                <a:cubicBezTo>
                  <a:pt x="305" y="192"/>
                  <a:pt x="365" y="137"/>
                  <a:pt x="376" y="131"/>
                </a:cubicBezTo>
                <a:cubicBezTo>
                  <a:pt x="381" y="129"/>
                  <a:pt x="385" y="124"/>
                  <a:pt x="385" y="118"/>
                </a:cubicBezTo>
                <a:cubicBezTo>
                  <a:pt x="385" y="111"/>
                  <a:pt x="379" y="105"/>
                  <a:pt x="372" y="105"/>
                </a:cubicBezTo>
                <a:cubicBezTo>
                  <a:pt x="365" y="105"/>
                  <a:pt x="361" y="105"/>
                  <a:pt x="295" y="166"/>
                </a:cubicBezTo>
                <a:cubicBezTo>
                  <a:pt x="273" y="188"/>
                  <a:pt x="250" y="209"/>
                  <a:pt x="240" y="219"/>
                </a:cubicBezTo>
                <a:cubicBezTo>
                  <a:pt x="227" y="215"/>
                  <a:pt x="60" y="170"/>
                  <a:pt x="60" y="170"/>
                </a:cubicBezTo>
                <a:cubicBezTo>
                  <a:pt x="57" y="169"/>
                  <a:pt x="54" y="169"/>
                  <a:pt x="51" y="171"/>
                </a:cubicBezTo>
                <a:cubicBezTo>
                  <a:pt x="16" y="186"/>
                  <a:pt x="0" y="215"/>
                  <a:pt x="6" y="248"/>
                </a:cubicBezTo>
                <a:cubicBezTo>
                  <a:pt x="12" y="282"/>
                  <a:pt x="42" y="315"/>
                  <a:pt x="69" y="317"/>
                </a:cubicBezTo>
                <a:cubicBezTo>
                  <a:pt x="102" y="319"/>
                  <a:pt x="218" y="357"/>
                  <a:pt x="261" y="372"/>
                </a:cubicBezTo>
                <a:cubicBezTo>
                  <a:pt x="265" y="373"/>
                  <a:pt x="271" y="372"/>
                  <a:pt x="274" y="368"/>
                </a:cubicBezTo>
                <a:cubicBezTo>
                  <a:pt x="276" y="367"/>
                  <a:pt x="425" y="215"/>
                  <a:pt x="462" y="181"/>
                </a:cubicBezTo>
                <a:cubicBezTo>
                  <a:pt x="465" y="178"/>
                  <a:pt x="467" y="173"/>
                  <a:pt x="466" y="169"/>
                </a:cubicBezTo>
                <a:cubicBezTo>
                  <a:pt x="465" y="164"/>
                  <a:pt x="462" y="160"/>
                  <a:pt x="457" y="159"/>
                </a:cubicBezTo>
                <a:cubicBezTo>
                  <a:pt x="441" y="153"/>
                  <a:pt x="431" y="142"/>
                  <a:pt x="428" y="126"/>
                </a:cubicBezTo>
                <a:cubicBezTo>
                  <a:pt x="423" y="102"/>
                  <a:pt x="433" y="75"/>
                  <a:pt x="446" y="62"/>
                </a:cubicBezTo>
                <a:cubicBezTo>
                  <a:pt x="449" y="59"/>
                  <a:pt x="451" y="54"/>
                  <a:pt x="449" y="49"/>
                </a:cubicBezTo>
                <a:cubicBezTo>
                  <a:pt x="448" y="44"/>
                  <a:pt x="444" y="41"/>
                  <a:pt x="439" y="40"/>
                </a:cubicBezTo>
                <a:cubicBezTo>
                  <a:pt x="216" y="0"/>
                  <a:pt x="216" y="0"/>
                  <a:pt x="216" y="0"/>
                </a:cubicBezTo>
                <a:cubicBezTo>
                  <a:pt x="212" y="0"/>
                  <a:pt x="208" y="1"/>
                  <a:pt x="205" y="4"/>
                </a:cubicBezTo>
                <a:close/>
                <a:moveTo>
                  <a:pt x="374" y="131"/>
                </a:moveTo>
                <a:cubicBezTo>
                  <a:pt x="373" y="131"/>
                  <a:pt x="372" y="131"/>
                  <a:pt x="372" y="131"/>
                </a:cubicBezTo>
                <a:cubicBezTo>
                  <a:pt x="372" y="131"/>
                  <a:pt x="373" y="131"/>
                  <a:pt x="374" y="13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39" name="Freeform 292"/>
          <p:cNvSpPr>
            <a:spLocks/>
          </p:cNvSpPr>
          <p:nvPr userDrawn="1"/>
        </p:nvSpPr>
        <p:spPr bwMode="auto">
          <a:xfrm>
            <a:off x="2829396" y="2247385"/>
            <a:ext cx="389435" cy="377429"/>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0" name="Freeform 325"/>
          <p:cNvSpPr>
            <a:spLocks/>
          </p:cNvSpPr>
          <p:nvPr userDrawn="1"/>
        </p:nvSpPr>
        <p:spPr bwMode="auto">
          <a:xfrm>
            <a:off x="2852619" y="1309021"/>
            <a:ext cx="342989" cy="388144"/>
          </a:xfrm>
          <a:custGeom>
            <a:avLst/>
            <a:gdLst/>
            <a:ahLst/>
            <a:cxnLst>
              <a:cxn ang="0">
                <a:pos x="392" y="0"/>
              </a:cxn>
              <a:cxn ang="0">
                <a:pos x="115" y="0"/>
              </a:cxn>
              <a:cxn ang="0">
                <a:pos x="102" y="13"/>
              </a:cxn>
              <a:cxn ang="0">
                <a:pos x="102" y="188"/>
              </a:cxn>
              <a:cxn ang="0">
                <a:pos x="115" y="201"/>
              </a:cxn>
              <a:cxn ang="0">
                <a:pos x="183" y="201"/>
              </a:cxn>
              <a:cxn ang="0">
                <a:pos x="164" y="222"/>
              </a:cxn>
              <a:cxn ang="0">
                <a:pos x="160" y="231"/>
              </a:cxn>
              <a:cxn ang="0">
                <a:pos x="164" y="241"/>
              </a:cxn>
              <a:cxn ang="0">
                <a:pos x="183" y="240"/>
              </a:cxn>
              <a:cxn ang="0">
                <a:pos x="224" y="197"/>
              </a:cxn>
              <a:cxn ang="0">
                <a:pos x="223" y="179"/>
              </a:cxn>
              <a:cxn ang="0">
                <a:pos x="183" y="139"/>
              </a:cxn>
              <a:cxn ang="0">
                <a:pos x="164" y="139"/>
              </a:cxn>
              <a:cxn ang="0">
                <a:pos x="160" y="148"/>
              </a:cxn>
              <a:cxn ang="0">
                <a:pos x="164" y="158"/>
              </a:cxn>
              <a:cxn ang="0">
                <a:pos x="181" y="175"/>
              </a:cxn>
              <a:cxn ang="0">
                <a:pos x="129" y="175"/>
              </a:cxn>
              <a:cxn ang="0">
                <a:pos x="129" y="27"/>
              </a:cxn>
              <a:cxn ang="0">
                <a:pos x="379" y="27"/>
              </a:cxn>
              <a:cxn ang="0">
                <a:pos x="379" y="432"/>
              </a:cxn>
              <a:cxn ang="0">
                <a:pos x="129" y="432"/>
              </a:cxn>
              <a:cxn ang="0">
                <a:pos x="129" y="269"/>
              </a:cxn>
              <a:cxn ang="0">
                <a:pos x="115" y="256"/>
              </a:cxn>
              <a:cxn ang="0">
                <a:pos x="46" y="256"/>
              </a:cxn>
              <a:cxn ang="0">
                <a:pos x="65" y="235"/>
              </a:cxn>
              <a:cxn ang="0">
                <a:pos x="69" y="226"/>
              </a:cxn>
              <a:cxn ang="0">
                <a:pos x="64" y="217"/>
              </a:cxn>
              <a:cxn ang="0">
                <a:pos x="46" y="217"/>
              </a:cxn>
              <a:cxn ang="0">
                <a:pos x="5" y="260"/>
              </a:cxn>
              <a:cxn ang="0">
                <a:pos x="5" y="278"/>
              </a:cxn>
              <a:cxn ang="0">
                <a:pos x="46" y="318"/>
              </a:cxn>
              <a:cxn ang="0">
                <a:pos x="65" y="318"/>
              </a:cxn>
              <a:cxn ang="0">
                <a:pos x="69" y="309"/>
              </a:cxn>
              <a:cxn ang="0">
                <a:pos x="65" y="300"/>
              </a:cxn>
              <a:cxn ang="0">
                <a:pos x="47" y="282"/>
              </a:cxn>
              <a:cxn ang="0">
                <a:pos x="102" y="282"/>
              </a:cxn>
              <a:cxn ang="0">
                <a:pos x="102" y="445"/>
              </a:cxn>
              <a:cxn ang="0">
                <a:pos x="115" y="459"/>
              </a:cxn>
              <a:cxn ang="0">
                <a:pos x="392" y="459"/>
              </a:cxn>
              <a:cxn ang="0">
                <a:pos x="405" y="445"/>
              </a:cxn>
              <a:cxn ang="0">
                <a:pos x="405" y="13"/>
              </a:cxn>
              <a:cxn ang="0">
                <a:pos x="392" y="0"/>
              </a:cxn>
            </a:cxnLst>
            <a:rect l="0" t="0" r="r" b="b"/>
            <a:pathLst>
              <a:path w="405" h="459">
                <a:moveTo>
                  <a:pt x="392" y="0"/>
                </a:moveTo>
                <a:cubicBezTo>
                  <a:pt x="115" y="0"/>
                  <a:pt x="115" y="0"/>
                  <a:pt x="115" y="0"/>
                </a:cubicBezTo>
                <a:cubicBezTo>
                  <a:pt x="108" y="0"/>
                  <a:pt x="102" y="6"/>
                  <a:pt x="102" y="13"/>
                </a:cubicBezTo>
                <a:cubicBezTo>
                  <a:pt x="102" y="188"/>
                  <a:pt x="102" y="188"/>
                  <a:pt x="102" y="188"/>
                </a:cubicBezTo>
                <a:cubicBezTo>
                  <a:pt x="102" y="196"/>
                  <a:pt x="108" y="201"/>
                  <a:pt x="115" y="201"/>
                </a:cubicBezTo>
                <a:cubicBezTo>
                  <a:pt x="183" y="201"/>
                  <a:pt x="183" y="201"/>
                  <a:pt x="183" y="201"/>
                </a:cubicBezTo>
                <a:cubicBezTo>
                  <a:pt x="173" y="212"/>
                  <a:pt x="164" y="222"/>
                  <a:pt x="164" y="222"/>
                </a:cubicBezTo>
                <a:cubicBezTo>
                  <a:pt x="161" y="224"/>
                  <a:pt x="160" y="228"/>
                  <a:pt x="160" y="231"/>
                </a:cubicBezTo>
                <a:cubicBezTo>
                  <a:pt x="160" y="234"/>
                  <a:pt x="161" y="238"/>
                  <a:pt x="164" y="241"/>
                </a:cubicBezTo>
                <a:cubicBezTo>
                  <a:pt x="170" y="246"/>
                  <a:pt x="178" y="245"/>
                  <a:pt x="183" y="240"/>
                </a:cubicBezTo>
                <a:cubicBezTo>
                  <a:pt x="224" y="197"/>
                  <a:pt x="224" y="197"/>
                  <a:pt x="224" y="197"/>
                </a:cubicBezTo>
                <a:cubicBezTo>
                  <a:pt x="229" y="192"/>
                  <a:pt x="228" y="184"/>
                  <a:pt x="223" y="179"/>
                </a:cubicBezTo>
                <a:cubicBezTo>
                  <a:pt x="183" y="139"/>
                  <a:pt x="183" y="139"/>
                  <a:pt x="183" y="139"/>
                </a:cubicBezTo>
                <a:cubicBezTo>
                  <a:pt x="178" y="133"/>
                  <a:pt x="169" y="134"/>
                  <a:pt x="164" y="139"/>
                </a:cubicBezTo>
                <a:cubicBezTo>
                  <a:pt x="161" y="141"/>
                  <a:pt x="160" y="145"/>
                  <a:pt x="160" y="148"/>
                </a:cubicBezTo>
                <a:cubicBezTo>
                  <a:pt x="160" y="152"/>
                  <a:pt x="161" y="155"/>
                  <a:pt x="164" y="158"/>
                </a:cubicBezTo>
                <a:cubicBezTo>
                  <a:pt x="164" y="158"/>
                  <a:pt x="172" y="166"/>
                  <a:pt x="181" y="175"/>
                </a:cubicBezTo>
                <a:cubicBezTo>
                  <a:pt x="129" y="175"/>
                  <a:pt x="129" y="175"/>
                  <a:pt x="129" y="175"/>
                </a:cubicBezTo>
                <a:cubicBezTo>
                  <a:pt x="129" y="27"/>
                  <a:pt x="129" y="27"/>
                  <a:pt x="129" y="27"/>
                </a:cubicBezTo>
                <a:cubicBezTo>
                  <a:pt x="379" y="27"/>
                  <a:pt x="379" y="27"/>
                  <a:pt x="379" y="27"/>
                </a:cubicBezTo>
                <a:cubicBezTo>
                  <a:pt x="379" y="432"/>
                  <a:pt x="379" y="432"/>
                  <a:pt x="379" y="432"/>
                </a:cubicBezTo>
                <a:cubicBezTo>
                  <a:pt x="129" y="432"/>
                  <a:pt x="129" y="432"/>
                  <a:pt x="129" y="432"/>
                </a:cubicBezTo>
                <a:cubicBezTo>
                  <a:pt x="129" y="409"/>
                  <a:pt x="129" y="269"/>
                  <a:pt x="129" y="269"/>
                </a:cubicBezTo>
                <a:cubicBezTo>
                  <a:pt x="129" y="262"/>
                  <a:pt x="123" y="256"/>
                  <a:pt x="115" y="256"/>
                </a:cubicBezTo>
                <a:cubicBezTo>
                  <a:pt x="46" y="256"/>
                  <a:pt x="46" y="256"/>
                  <a:pt x="46" y="256"/>
                </a:cubicBezTo>
                <a:cubicBezTo>
                  <a:pt x="55" y="245"/>
                  <a:pt x="65" y="235"/>
                  <a:pt x="65" y="235"/>
                </a:cubicBezTo>
                <a:cubicBezTo>
                  <a:pt x="67" y="233"/>
                  <a:pt x="69" y="230"/>
                  <a:pt x="69" y="226"/>
                </a:cubicBezTo>
                <a:cubicBezTo>
                  <a:pt x="69" y="223"/>
                  <a:pt x="67" y="219"/>
                  <a:pt x="64" y="217"/>
                </a:cubicBezTo>
                <a:cubicBezTo>
                  <a:pt x="59" y="211"/>
                  <a:pt x="51" y="212"/>
                  <a:pt x="46" y="217"/>
                </a:cubicBezTo>
                <a:cubicBezTo>
                  <a:pt x="5" y="260"/>
                  <a:pt x="5" y="260"/>
                  <a:pt x="5" y="260"/>
                </a:cubicBezTo>
                <a:cubicBezTo>
                  <a:pt x="0" y="265"/>
                  <a:pt x="0" y="273"/>
                  <a:pt x="5" y="278"/>
                </a:cubicBezTo>
                <a:cubicBezTo>
                  <a:pt x="46" y="318"/>
                  <a:pt x="46" y="318"/>
                  <a:pt x="46" y="318"/>
                </a:cubicBezTo>
                <a:cubicBezTo>
                  <a:pt x="51" y="324"/>
                  <a:pt x="60" y="324"/>
                  <a:pt x="65" y="318"/>
                </a:cubicBezTo>
                <a:cubicBezTo>
                  <a:pt x="67" y="316"/>
                  <a:pt x="69" y="312"/>
                  <a:pt x="69" y="309"/>
                </a:cubicBezTo>
                <a:cubicBezTo>
                  <a:pt x="69" y="306"/>
                  <a:pt x="67" y="302"/>
                  <a:pt x="65" y="300"/>
                </a:cubicBezTo>
                <a:cubicBezTo>
                  <a:pt x="65" y="300"/>
                  <a:pt x="56" y="291"/>
                  <a:pt x="47" y="282"/>
                </a:cubicBezTo>
                <a:cubicBezTo>
                  <a:pt x="102" y="282"/>
                  <a:pt x="102" y="282"/>
                  <a:pt x="102" y="282"/>
                </a:cubicBezTo>
                <a:cubicBezTo>
                  <a:pt x="102" y="305"/>
                  <a:pt x="102" y="445"/>
                  <a:pt x="102" y="445"/>
                </a:cubicBezTo>
                <a:cubicBezTo>
                  <a:pt x="102" y="453"/>
                  <a:pt x="108" y="459"/>
                  <a:pt x="115" y="459"/>
                </a:cubicBezTo>
                <a:cubicBezTo>
                  <a:pt x="392" y="459"/>
                  <a:pt x="392" y="459"/>
                  <a:pt x="392" y="459"/>
                </a:cubicBezTo>
                <a:cubicBezTo>
                  <a:pt x="399" y="459"/>
                  <a:pt x="405" y="453"/>
                  <a:pt x="405" y="445"/>
                </a:cubicBezTo>
                <a:cubicBezTo>
                  <a:pt x="405" y="13"/>
                  <a:pt x="405" y="13"/>
                  <a:pt x="405" y="13"/>
                </a:cubicBezTo>
                <a:cubicBezTo>
                  <a:pt x="405" y="6"/>
                  <a:pt x="399" y="0"/>
                  <a:pt x="392" y="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1" name="Freeform 329"/>
          <p:cNvSpPr>
            <a:spLocks/>
          </p:cNvSpPr>
          <p:nvPr userDrawn="1"/>
        </p:nvSpPr>
        <p:spPr bwMode="auto">
          <a:xfrm>
            <a:off x="2831778" y="1824796"/>
            <a:ext cx="384672" cy="313135"/>
          </a:xfrm>
          <a:custGeom>
            <a:avLst/>
            <a:gdLst/>
            <a:ahLst/>
            <a:cxnLst>
              <a:cxn ang="0">
                <a:pos x="441" y="141"/>
              </a:cxn>
              <a:cxn ang="0">
                <a:pos x="395" y="146"/>
              </a:cxn>
              <a:cxn ang="0">
                <a:pos x="369" y="163"/>
              </a:cxn>
              <a:cxn ang="0">
                <a:pos x="365" y="130"/>
              </a:cxn>
              <a:cxn ang="0">
                <a:pos x="346" y="126"/>
              </a:cxn>
              <a:cxn ang="0">
                <a:pos x="268" y="0"/>
              </a:cxn>
              <a:cxn ang="0">
                <a:pos x="190" y="126"/>
              </a:cxn>
              <a:cxn ang="0">
                <a:pos x="175" y="87"/>
              </a:cxn>
              <a:cxn ang="0">
                <a:pos x="0" y="87"/>
              </a:cxn>
              <a:cxn ang="0">
                <a:pos x="5" y="116"/>
              </a:cxn>
              <a:cxn ang="0">
                <a:pos x="28" y="150"/>
              </a:cxn>
              <a:cxn ang="0">
                <a:pos x="47" y="148"/>
              </a:cxn>
              <a:cxn ang="0">
                <a:pos x="41" y="126"/>
              </a:cxn>
              <a:cxn ang="0">
                <a:pos x="45" y="44"/>
              </a:cxn>
              <a:cxn ang="0">
                <a:pos x="130" y="44"/>
              </a:cxn>
              <a:cxn ang="0">
                <a:pos x="130" y="130"/>
              </a:cxn>
              <a:cxn ang="0">
                <a:pos x="127" y="140"/>
              </a:cxn>
              <a:cxn ang="0">
                <a:pos x="217" y="153"/>
              </a:cxn>
              <a:cxn ang="0">
                <a:pos x="222" y="127"/>
              </a:cxn>
              <a:cxn ang="0">
                <a:pos x="225" y="44"/>
              </a:cxn>
              <a:cxn ang="0">
                <a:pos x="310" y="44"/>
              </a:cxn>
              <a:cxn ang="0">
                <a:pos x="313" y="127"/>
              </a:cxn>
              <a:cxn ang="0">
                <a:pos x="318" y="153"/>
              </a:cxn>
              <a:cxn ang="0">
                <a:pos x="343" y="176"/>
              </a:cxn>
              <a:cxn ang="0">
                <a:pos x="356" y="189"/>
              </a:cxn>
              <a:cxn ang="0">
                <a:pos x="399" y="184"/>
              </a:cxn>
              <a:cxn ang="0">
                <a:pos x="428" y="167"/>
              </a:cxn>
              <a:cxn ang="0">
                <a:pos x="412" y="326"/>
              </a:cxn>
              <a:cxn ang="0">
                <a:pos x="391" y="308"/>
              </a:cxn>
              <a:cxn ang="0">
                <a:pos x="349" y="312"/>
              </a:cxn>
              <a:cxn ang="0">
                <a:pos x="345" y="344"/>
              </a:cxn>
              <a:cxn ang="0">
                <a:pos x="27" y="190"/>
              </a:cxn>
              <a:cxn ang="0">
                <a:pos x="0" y="190"/>
              </a:cxn>
              <a:cxn ang="0">
                <a:pos x="4" y="367"/>
              </a:cxn>
              <a:cxn ang="0">
                <a:pos x="358" y="371"/>
              </a:cxn>
              <a:cxn ang="0">
                <a:pos x="371" y="358"/>
              </a:cxn>
              <a:cxn ang="0">
                <a:pos x="385" y="335"/>
              </a:cxn>
              <a:cxn ang="0">
                <a:pos x="406" y="353"/>
              </a:cxn>
              <a:cxn ang="0">
                <a:pos x="451" y="349"/>
              </a:cxn>
              <a:cxn ang="0">
                <a:pos x="454" y="154"/>
              </a:cxn>
            </a:cxnLst>
            <a:rect l="0" t="0" r="r" b="b"/>
            <a:pathLst>
              <a:path w="454" h="371">
                <a:moveTo>
                  <a:pt x="451" y="145"/>
                </a:moveTo>
                <a:cubicBezTo>
                  <a:pt x="448" y="142"/>
                  <a:pt x="445" y="141"/>
                  <a:pt x="441" y="141"/>
                </a:cubicBezTo>
                <a:cubicBezTo>
                  <a:pt x="406" y="141"/>
                  <a:pt x="406" y="141"/>
                  <a:pt x="406" y="141"/>
                </a:cubicBezTo>
                <a:cubicBezTo>
                  <a:pt x="402" y="141"/>
                  <a:pt x="398" y="143"/>
                  <a:pt x="395" y="146"/>
                </a:cubicBezTo>
                <a:cubicBezTo>
                  <a:pt x="382" y="163"/>
                  <a:pt x="382" y="163"/>
                  <a:pt x="382" y="163"/>
                </a:cubicBezTo>
                <a:cubicBezTo>
                  <a:pt x="369" y="163"/>
                  <a:pt x="369" y="163"/>
                  <a:pt x="369" y="163"/>
                </a:cubicBezTo>
                <a:cubicBezTo>
                  <a:pt x="369" y="140"/>
                  <a:pt x="369" y="140"/>
                  <a:pt x="369" y="140"/>
                </a:cubicBezTo>
                <a:cubicBezTo>
                  <a:pt x="369" y="136"/>
                  <a:pt x="368" y="133"/>
                  <a:pt x="365" y="130"/>
                </a:cubicBezTo>
                <a:cubicBezTo>
                  <a:pt x="363" y="128"/>
                  <a:pt x="359" y="126"/>
                  <a:pt x="356" y="126"/>
                </a:cubicBezTo>
                <a:cubicBezTo>
                  <a:pt x="346" y="126"/>
                  <a:pt x="346" y="126"/>
                  <a:pt x="346" y="126"/>
                </a:cubicBezTo>
                <a:cubicBezTo>
                  <a:pt x="352" y="115"/>
                  <a:pt x="355" y="101"/>
                  <a:pt x="355" y="87"/>
                </a:cubicBezTo>
                <a:cubicBezTo>
                  <a:pt x="355" y="39"/>
                  <a:pt x="316" y="0"/>
                  <a:pt x="268" y="0"/>
                </a:cubicBezTo>
                <a:cubicBezTo>
                  <a:pt x="219" y="0"/>
                  <a:pt x="180" y="39"/>
                  <a:pt x="180" y="87"/>
                </a:cubicBezTo>
                <a:cubicBezTo>
                  <a:pt x="180" y="101"/>
                  <a:pt x="184" y="115"/>
                  <a:pt x="190" y="126"/>
                </a:cubicBezTo>
                <a:cubicBezTo>
                  <a:pt x="166" y="126"/>
                  <a:pt x="166" y="126"/>
                  <a:pt x="166" y="126"/>
                </a:cubicBezTo>
                <a:cubicBezTo>
                  <a:pt x="171" y="115"/>
                  <a:pt x="175" y="101"/>
                  <a:pt x="175" y="87"/>
                </a:cubicBezTo>
                <a:cubicBezTo>
                  <a:pt x="175" y="39"/>
                  <a:pt x="136" y="0"/>
                  <a:pt x="88" y="0"/>
                </a:cubicBezTo>
                <a:cubicBezTo>
                  <a:pt x="39" y="0"/>
                  <a:pt x="0" y="39"/>
                  <a:pt x="0" y="87"/>
                </a:cubicBezTo>
                <a:cubicBezTo>
                  <a:pt x="0" y="96"/>
                  <a:pt x="2" y="105"/>
                  <a:pt x="4" y="114"/>
                </a:cubicBezTo>
                <a:cubicBezTo>
                  <a:pt x="4" y="114"/>
                  <a:pt x="5" y="115"/>
                  <a:pt x="5" y="116"/>
                </a:cubicBezTo>
                <a:cubicBezTo>
                  <a:pt x="5" y="117"/>
                  <a:pt x="7" y="122"/>
                  <a:pt x="11" y="129"/>
                </a:cubicBezTo>
                <a:cubicBezTo>
                  <a:pt x="14" y="135"/>
                  <a:pt x="20" y="144"/>
                  <a:pt x="28" y="150"/>
                </a:cubicBezTo>
                <a:cubicBezTo>
                  <a:pt x="30" y="152"/>
                  <a:pt x="33" y="153"/>
                  <a:pt x="36" y="153"/>
                </a:cubicBezTo>
                <a:cubicBezTo>
                  <a:pt x="40" y="153"/>
                  <a:pt x="44" y="151"/>
                  <a:pt x="47" y="148"/>
                </a:cubicBezTo>
                <a:cubicBezTo>
                  <a:pt x="51" y="142"/>
                  <a:pt x="50" y="134"/>
                  <a:pt x="44" y="129"/>
                </a:cubicBezTo>
                <a:cubicBezTo>
                  <a:pt x="43" y="128"/>
                  <a:pt x="42" y="127"/>
                  <a:pt x="41" y="126"/>
                </a:cubicBezTo>
                <a:cubicBezTo>
                  <a:pt x="32" y="115"/>
                  <a:pt x="27" y="102"/>
                  <a:pt x="27" y="87"/>
                </a:cubicBezTo>
                <a:cubicBezTo>
                  <a:pt x="27" y="70"/>
                  <a:pt x="34" y="55"/>
                  <a:pt x="45" y="44"/>
                </a:cubicBezTo>
                <a:cubicBezTo>
                  <a:pt x="56" y="33"/>
                  <a:pt x="71" y="26"/>
                  <a:pt x="88" y="26"/>
                </a:cubicBezTo>
                <a:cubicBezTo>
                  <a:pt x="104" y="26"/>
                  <a:pt x="119" y="33"/>
                  <a:pt x="130" y="44"/>
                </a:cubicBezTo>
                <a:cubicBezTo>
                  <a:pt x="141" y="55"/>
                  <a:pt x="148" y="70"/>
                  <a:pt x="148" y="87"/>
                </a:cubicBezTo>
                <a:cubicBezTo>
                  <a:pt x="148" y="104"/>
                  <a:pt x="141" y="119"/>
                  <a:pt x="130" y="130"/>
                </a:cubicBezTo>
                <a:cubicBezTo>
                  <a:pt x="131" y="130"/>
                  <a:pt x="131" y="130"/>
                  <a:pt x="131" y="130"/>
                </a:cubicBezTo>
                <a:cubicBezTo>
                  <a:pt x="128" y="133"/>
                  <a:pt x="127" y="136"/>
                  <a:pt x="127" y="140"/>
                </a:cubicBezTo>
                <a:cubicBezTo>
                  <a:pt x="127" y="147"/>
                  <a:pt x="133" y="153"/>
                  <a:pt x="140" y="153"/>
                </a:cubicBezTo>
                <a:cubicBezTo>
                  <a:pt x="217" y="153"/>
                  <a:pt x="217" y="153"/>
                  <a:pt x="217" y="153"/>
                </a:cubicBezTo>
                <a:cubicBezTo>
                  <a:pt x="225" y="153"/>
                  <a:pt x="231" y="147"/>
                  <a:pt x="231" y="140"/>
                </a:cubicBezTo>
                <a:cubicBezTo>
                  <a:pt x="231" y="134"/>
                  <a:pt x="227" y="129"/>
                  <a:pt x="222" y="127"/>
                </a:cubicBezTo>
                <a:cubicBezTo>
                  <a:pt x="213" y="117"/>
                  <a:pt x="207" y="103"/>
                  <a:pt x="207" y="87"/>
                </a:cubicBezTo>
                <a:cubicBezTo>
                  <a:pt x="207" y="70"/>
                  <a:pt x="214" y="55"/>
                  <a:pt x="225" y="44"/>
                </a:cubicBezTo>
                <a:cubicBezTo>
                  <a:pt x="236" y="33"/>
                  <a:pt x="251" y="26"/>
                  <a:pt x="268" y="26"/>
                </a:cubicBezTo>
                <a:cubicBezTo>
                  <a:pt x="284" y="26"/>
                  <a:pt x="299" y="33"/>
                  <a:pt x="310" y="44"/>
                </a:cubicBezTo>
                <a:cubicBezTo>
                  <a:pt x="321" y="55"/>
                  <a:pt x="328" y="70"/>
                  <a:pt x="328" y="87"/>
                </a:cubicBezTo>
                <a:cubicBezTo>
                  <a:pt x="328" y="102"/>
                  <a:pt x="322" y="116"/>
                  <a:pt x="313" y="127"/>
                </a:cubicBezTo>
                <a:cubicBezTo>
                  <a:pt x="308" y="129"/>
                  <a:pt x="304" y="134"/>
                  <a:pt x="304" y="140"/>
                </a:cubicBezTo>
                <a:cubicBezTo>
                  <a:pt x="304" y="147"/>
                  <a:pt x="310" y="153"/>
                  <a:pt x="318" y="153"/>
                </a:cubicBezTo>
                <a:cubicBezTo>
                  <a:pt x="343" y="153"/>
                  <a:pt x="343" y="153"/>
                  <a:pt x="343" y="153"/>
                </a:cubicBezTo>
                <a:cubicBezTo>
                  <a:pt x="343" y="176"/>
                  <a:pt x="343" y="176"/>
                  <a:pt x="343" y="176"/>
                </a:cubicBezTo>
                <a:cubicBezTo>
                  <a:pt x="343" y="180"/>
                  <a:pt x="344" y="183"/>
                  <a:pt x="346" y="185"/>
                </a:cubicBezTo>
                <a:cubicBezTo>
                  <a:pt x="349" y="188"/>
                  <a:pt x="352" y="189"/>
                  <a:pt x="356" y="189"/>
                </a:cubicBezTo>
                <a:cubicBezTo>
                  <a:pt x="388" y="189"/>
                  <a:pt x="388" y="189"/>
                  <a:pt x="388" y="189"/>
                </a:cubicBezTo>
                <a:cubicBezTo>
                  <a:pt x="392" y="189"/>
                  <a:pt x="396" y="188"/>
                  <a:pt x="399" y="184"/>
                </a:cubicBezTo>
                <a:cubicBezTo>
                  <a:pt x="412" y="167"/>
                  <a:pt x="412" y="167"/>
                  <a:pt x="412" y="167"/>
                </a:cubicBezTo>
                <a:cubicBezTo>
                  <a:pt x="428" y="167"/>
                  <a:pt x="428" y="167"/>
                  <a:pt x="428" y="167"/>
                </a:cubicBezTo>
                <a:cubicBezTo>
                  <a:pt x="428" y="326"/>
                  <a:pt x="428" y="326"/>
                  <a:pt x="428" y="326"/>
                </a:cubicBezTo>
                <a:cubicBezTo>
                  <a:pt x="412" y="326"/>
                  <a:pt x="412" y="326"/>
                  <a:pt x="412" y="326"/>
                </a:cubicBezTo>
                <a:cubicBezTo>
                  <a:pt x="402" y="313"/>
                  <a:pt x="402" y="313"/>
                  <a:pt x="402" y="313"/>
                </a:cubicBezTo>
                <a:cubicBezTo>
                  <a:pt x="399" y="310"/>
                  <a:pt x="395" y="308"/>
                  <a:pt x="391" y="308"/>
                </a:cubicBezTo>
                <a:cubicBezTo>
                  <a:pt x="358" y="308"/>
                  <a:pt x="358" y="308"/>
                  <a:pt x="358" y="308"/>
                </a:cubicBezTo>
                <a:cubicBezTo>
                  <a:pt x="354" y="308"/>
                  <a:pt x="351" y="310"/>
                  <a:pt x="349" y="312"/>
                </a:cubicBezTo>
                <a:cubicBezTo>
                  <a:pt x="346" y="315"/>
                  <a:pt x="345" y="318"/>
                  <a:pt x="345" y="322"/>
                </a:cubicBezTo>
                <a:cubicBezTo>
                  <a:pt x="345" y="344"/>
                  <a:pt x="345" y="344"/>
                  <a:pt x="345" y="344"/>
                </a:cubicBezTo>
                <a:cubicBezTo>
                  <a:pt x="27" y="344"/>
                  <a:pt x="27" y="344"/>
                  <a:pt x="27" y="344"/>
                </a:cubicBezTo>
                <a:cubicBezTo>
                  <a:pt x="27" y="190"/>
                  <a:pt x="27" y="190"/>
                  <a:pt x="27" y="190"/>
                </a:cubicBezTo>
                <a:cubicBezTo>
                  <a:pt x="27" y="182"/>
                  <a:pt x="21" y="177"/>
                  <a:pt x="14" y="177"/>
                </a:cubicBezTo>
                <a:cubicBezTo>
                  <a:pt x="6" y="177"/>
                  <a:pt x="0" y="182"/>
                  <a:pt x="0" y="190"/>
                </a:cubicBezTo>
                <a:cubicBezTo>
                  <a:pt x="0" y="358"/>
                  <a:pt x="0" y="358"/>
                  <a:pt x="0" y="358"/>
                </a:cubicBezTo>
                <a:cubicBezTo>
                  <a:pt x="0" y="361"/>
                  <a:pt x="2" y="365"/>
                  <a:pt x="4" y="367"/>
                </a:cubicBezTo>
                <a:cubicBezTo>
                  <a:pt x="7" y="370"/>
                  <a:pt x="10" y="371"/>
                  <a:pt x="14" y="371"/>
                </a:cubicBezTo>
                <a:cubicBezTo>
                  <a:pt x="358" y="371"/>
                  <a:pt x="358" y="371"/>
                  <a:pt x="358" y="371"/>
                </a:cubicBezTo>
                <a:cubicBezTo>
                  <a:pt x="361" y="371"/>
                  <a:pt x="365" y="370"/>
                  <a:pt x="367" y="367"/>
                </a:cubicBezTo>
                <a:cubicBezTo>
                  <a:pt x="370" y="365"/>
                  <a:pt x="371" y="361"/>
                  <a:pt x="371" y="358"/>
                </a:cubicBezTo>
                <a:cubicBezTo>
                  <a:pt x="371" y="335"/>
                  <a:pt x="371" y="335"/>
                  <a:pt x="371" y="335"/>
                </a:cubicBezTo>
                <a:cubicBezTo>
                  <a:pt x="385" y="335"/>
                  <a:pt x="385" y="335"/>
                  <a:pt x="385" y="335"/>
                </a:cubicBezTo>
                <a:cubicBezTo>
                  <a:pt x="395" y="348"/>
                  <a:pt x="395" y="348"/>
                  <a:pt x="395" y="348"/>
                </a:cubicBezTo>
                <a:cubicBezTo>
                  <a:pt x="398" y="351"/>
                  <a:pt x="402" y="353"/>
                  <a:pt x="406" y="353"/>
                </a:cubicBezTo>
                <a:cubicBezTo>
                  <a:pt x="441" y="353"/>
                  <a:pt x="441" y="353"/>
                  <a:pt x="441" y="353"/>
                </a:cubicBezTo>
                <a:cubicBezTo>
                  <a:pt x="445" y="353"/>
                  <a:pt x="448" y="351"/>
                  <a:pt x="451" y="349"/>
                </a:cubicBezTo>
                <a:cubicBezTo>
                  <a:pt x="453" y="346"/>
                  <a:pt x="454" y="343"/>
                  <a:pt x="454" y="339"/>
                </a:cubicBezTo>
                <a:cubicBezTo>
                  <a:pt x="454" y="154"/>
                  <a:pt x="454" y="154"/>
                  <a:pt x="454" y="154"/>
                </a:cubicBezTo>
                <a:cubicBezTo>
                  <a:pt x="454" y="151"/>
                  <a:pt x="453" y="147"/>
                  <a:pt x="451" y="14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2" name="Freeform 381"/>
          <p:cNvSpPr>
            <a:spLocks/>
          </p:cNvSpPr>
          <p:nvPr userDrawn="1"/>
        </p:nvSpPr>
        <p:spPr bwMode="auto">
          <a:xfrm>
            <a:off x="2846665" y="2758424"/>
            <a:ext cx="354899" cy="388144"/>
          </a:xfrm>
          <a:custGeom>
            <a:avLst/>
            <a:gdLst/>
            <a:ahLst/>
            <a:cxnLst>
              <a:cxn ang="0">
                <a:pos x="86" y="76"/>
              </a:cxn>
              <a:cxn ang="0">
                <a:pos x="30" y="95"/>
              </a:cxn>
              <a:cxn ang="0">
                <a:pos x="0" y="162"/>
              </a:cxn>
              <a:cxn ang="0">
                <a:pos x="25" y="223"/>
              </a:cxn>
              <a:cxn ang="0">
                <a:pos x="86" y="249"/>
              </a:cxn>
              <a:cxn ang="0">
                <a:pos x="126" y="249"/>
              </a:cxn>
              <a:cxn ang="0">
                <a:pos x="139" y="235"/>
              </a:cxn>
              <a:cxn ang="0">
                <a:pos x="126" y="222"/>
              </a:cxn>
              <a:cxn ang="0">
                <a:pos x="86" y="222"/>
              </a:cxn>
              <a:cxn ang="0">
                <a:pos x="44" y="204"/>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1"/>
              </a:cxn>
              <a:cxn ang="0">
                <a:pos x="344" y="118"/>
              </a:cxn>
              <a:cxn ang="0">
                <a:pos x="378" y="134"/>
              </a:cxn>
              <a:cxn ang="0">
                <a:pos x="392" y="171"/>
              </a:cxn>
              <a:cxn ang="0">
                <a:pos x="342" y="221"/>
              </a:cxn>
              <a:cxn ang="0">
                <a:pos x="196" y="221"/>
              </a:cxn>
              <a:cxn ang="0">
                <a:pos x="185" y="227"/>
              </a:cxn>
              <a:cxn ang="0">
                <a:pos x="184" y="240"/>
              </a:cxn>
              <a:cxn ang="0">
                <a:pos x="236" y="371"/>
              </a:cxn>
              <a:cxn ang="0">
                <a:pos x="246" y="379"/>
              </a:cxn>
              <a:cxn ang="0">
                <a:pos x="259" y="375"/>
              </a:cxn>
              <a:cxn ang="0">
                <a:pos x="292" y="337"/>
              </a:cxn>
              <a:cxn ang="0">
                <a:pos x="339" y="450"/>
              </a:cxn>
              <a:cxn ang="0">
                <a:pos x="356" y="458"/>
              </a:cxn>
              <a:cxn ang="0">
                <a:pos x="364" y="440"/>
              </a:cxn>
              <a:cxn ang="0">
                <a:pos x="309" y="307"/>
              </a:cxn>
              <a:cxn ang="0">
                <a:pos x="299" y="299"/>
              </a:cxn>
              <a:cxn ang="0">
                <a:pos x="287" y="303"/>
              </a:cxn>
              <a:cxn ang="0">
                <a:pos x="253" y="341"/>
              </a:cxn>
              <a:cxn ang="0">
                <a:pos x="216" y="248"/>
              </a:cxn>
              <a:cxn ang="0">
                <a:pos x="342" y="247"/>
              </a:cxn>
              <a:cxn ang="0">
                <a:pos x="419" y="171"/>
              </a:cxn>
              <a:cxn ang="0">
                <a:pos x="344" y="92"/>
              </a:cxn>
              <a:cxn ang="0">
                <a:pos x="324" y="94"/>
              </a:cxn>
              <a:cxn ang="0">
                <a:pos x="286" y="32"/>
              </a:cxn>
              <a:cxn ang="0">
                <a:pos x="201" y="0"/>
              </a:cxn>
              <a:cxn ang="0">
                <a:pos x="86" y="76"/>
              </a:cxn>
            </a:cxnLst>
            <a:rect l="0" t="0" r="r" b="b"/>
            <a:pathLst>
              <a:path w="419" h="460">
                <a:moveTo>
                  <a:pt x="86" y="76"/>
                </a:moveTo>
                <a:cubicBezTo>
                  <a:pt x="66" y="74"/>
                  <a:pt x="46" y="80"/>
                  <a:pt x="30" y="95"/>
                </a:cubicBezTo>
                <a:cubicBezTo>
                  <a:pt x="11" y="111"/>
                  <a:pt x="0" y="137"/>
                  <a:pt x="0" y="162"/>
                </a:cubicBezTo>
                <a:cubicBezTo>
                  <a:pt x="0" y="185"/>
                  <a:pt x="9" y="207"/>
                  <a:pt x="25" y="223"/>
                </a:cubicBezTo>
                <a:cubicBezTo>
                  <a:pt x="41" y="240"/>
                  <a:pt x="63" y="249"/>
                  <a:pt x="86" y="249"/>
                </a:cubicBezTo>
                <a:cubicBezTo>
                  <a:pt x="126" y="249"/>
                  <a:pt x="126" y="249"/>
                  <a:pt x="126" y="249"/>
                </a:cubicBezTo>
                <a:cubicBezTo>
                  <a:pt x="133" y="249"/>
                  <a:pt x="139" y="243"/>
                  <a:pt x="139" y="235"/>
                </a:cubicBezTo>
                <a:cubicBezTo>
                  <a:pt x="139" y="228"/>
                  <a:pt x="133" y="222"/>
                  <a:pt x="126" y="222"/>
                </a:cubicBezTo>
                <a:cubicBezTo>
                  <a:pt x="86" y="222"/>
                  <a:pt x="86" y="222"/>
                  <a:pt x="86" y="222"/>
                </a:cubicBezTo>
                <a:cubicBezTo>
                  <a:pt x="70" y="222"/>
                  <a:pt x="55" y="216"/>
                  <a:pt x="44" y="204"/>
                </a:cubicBezTo>
                <a:cubicBezTo>
                  <a:pt x="32" y="193"/>
                  <a:pt x="26" y="178"/>
                  <a:pt x="26" y="162"/>
                </a:cubicBezTo>
                <a:cubicBezTo>
                  <a:pt x="26" y="144"/>
                  <a:pt x="34" y="126"/>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1"/>
                  <a:pt x="306" y="124"/>
                </a:cubicBezTo>
                <a:cubicBezTo>
                  <a:pt x="310" y="126"/>
                  <a:pt x="314" y="126"/>
                  <a:pt x="318" y="125"/>
                </a:cubicBezTo>
                <a:cubicBezTo>
                  <a:pt x="318" y="125"/>
                  <a:pt x="327" y="122"/>
                  <a:pt x="327" y="121"/>
                </a:cubicBezTo>
                <a:cubicBezTo>
                  <a:pt x="332" y="119"/>
                  <a:pt x="338" y="118"/>
                  <a:pt x="344" y="118"/>
                </a:cubicBezTo>
                <a:cubicBezTo>
                  <a:pt x="357" y="118"/>
                  <a:pt x="369" y="124"/>
                  <a:pt x="378" y="134"/>
                </a:cubicBezTo>
                <a:cubicBezTo>
                  <a:pt x="387" y="144"/>
                  <a:pt x="392" y="157"/>
                  <a:pt x="392" y="171"/>
                </a:cubicBezTo>
                <a:cubicBezTo>
                  <a:pt x="392" y="198"/>
                  <a:pt x="370" y="221"/>
                  <a:pt x="342" y="221"/>
                </a:cubicBezTo>
                <a:cubicBezTo>
                  <a:pt x="196" y="221"/>
                  <a:pt x="196" y="221"/>
                  <a:pt x="196" y="221"/>
                </a:cubicBezTo>
                <a:cubicBezTo>
                  <a:pt x="192" y="221"/>
                  <a:pt x="188" y="224"/>
                  <a:pt x="185" y="227"/>
                </a:cubicBezTo>
                <a:cubicBezTo>
                  <a:pt x="183" y="231"/>
                  <a:pt x="182" y="236"/>
                  <a:pt x="184" y="240"/>
                </a:cubicBezTo>
                <a:cubicBezTo>
                  <a:pt x="236" y="371"/>
                  <a:pt x="236" y="371"/>
                  <a:pt x="236" y="371"/>
                </a:cubicBezTo>
                <a:cubicBezTo>
                  <a:pt x="238" y="375"/>
                  <a:pt x="242" y="378"/>
                  <a:pt x="246" y="379"/>
                </a:cubicBezTo>
                <a:cubicBezTo>
                  <a:pt x="251" y="380"/>
                  <a:pt x="256" y="378"/>
                  <a:pt x="259" y="375"/>
                </a:cubicBezTo>
                <a:cubicBezTo>
                  <a:pt x="259" y="375"/>
                  <a:pt x="278" y="353"/>
                  <a:pt x="292" y="337"/>
                </a:cubicBezTo>
                <a:cubicBezTo>
                  <a:pt x="304" y="366"/>
                  <a:pt x="339" y="450"/>
                  <a:pt x="339" y="450"/>
                </a:cubicBezTo>
                <a:cubicBezTo>
                  <a:pt x="342" y="457"/>
                  <a:pt x="349" y="460"/>
                  <a:pt x="356" y="458"/>
                </a:cubicBezTo>
                <a:cubicBezTo>
                  <a:pt x="363" y="455"/>
                  <a:pt x="366" y="447"/>
                  <a:pt x="364" y="440"/>
                </a:cubicBezTo>
                <a:cubicBezTo>
                  <a:pt x="309" y="307"/>
                  <a:pt x="309" y="307"/>
                  <a:pt x="309" y="307"/>
                </a:cubicBezTo>
                <a:cubicBezTo>
                  <a:pt x="307" y="303"/>
                  <a:pt x="303" y="300"/>
                  <a:pt x="299" y="299"/>
                </a:cubicBezTo>
                <a:cubicBezTo>
                  <a:pt x="294" y="298"/>
                  <a:pt x="290" y="300"/>
                  <a:pt x="287" y="303"/>
                </a:cubicBezTo>
                <a:cubicBezTo>
                  <a:pt x="287" y="303"/>
                  <a:pt x="267" y="325"/>
                  <a:pt x="253" y="341"/>
                </a:cubicBezTo>
                <a:cubicBezTo>
                  <a:pt x="243" y="317"/>
                  <a:pt x="225" y="270"/>
                  <a:pt x="216" y="248"/>
                </a:cubicBezTo>
                <a:cubicBezTo>
                  <a:pt x="245" y="248"/>
                  <a:pt x="342" y="247"/>
                  <a:pt x="342" y="247"/>
                </a:cubicBezTo>
                <a:cubicBezTo>
                  <a:pt x="385" y="247"/>
                  <a:pt x="419" y="213"/>
                  <a:pt x="419" y="171"/>
                </a:cubicBezTo>
                <a:cubicBezTo>
                  <a:pt x="419" y="127"/>
                  <a:pt x="385" y="92"/>
                  <a:pt x="344" y="92"/>
                </a:cubicBezTo>
                <a:cubicBezTo>
                  <a:pt x="337" y="92"/>
                  <a:pt x="330" y="93"/>
                  <a:pt x="324" y="94"/>
                </a:cubicBezTo>
                <a:cubicBezTo>
                  <a:pt x="318" y="70"/>
                  <a:pt x="305" y="48"/>
                  <a:pt x="286" y="32"/>
                </a:cubicBezTo>
                <a:cubicBezTo>
                  <a:pt x="262" y="11"/>
                  <a:pt x="232" y="0"/>
                  <a:pt x="201" y="0"/>
                </a:cubicBezTo>
                <a:cubicBezTo>
                  <a:pt x="150" y="0"/>
                  <a:pt x="105" y="30"/>
                  <a:pt x="86" y="7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3" name="Freeform 410"/>
          <p:cNvSpPr>
            <a:spLocks noEditPoints="1"/>
          </p:cNvSpPr>
          <p:nvPr userDrawn="1"/>
        </p:nvSpPr>
        <p:spPr bwMode="auto">
          <a:xfrm>
            <a:off x="2855000" y="3823845"/>
            <a:ext cx="338226" cy="336947"/>
          </a:xfrm>
          <a:custGeom>
            <a:avLst/>
            <a:gdLst/>
            <a:ahLst/>
            <a:cxnLst>
              <a:cxn ang="0">
                <a:pos x="0" y="200"/>
              </a:cxn>
              <a:cxn ang="0">
                <a:pos x="238" y="4"/>
              </a:cxn>
              <a:cxn ang="0">
                <a:pos x="352" y="109"/>
              </a:cxn>
              <a:cxn ang="0">
                <a:pos x="78" y="73"/>
              </a:cxn>
              <a:cxn ang="0">
                <a:pos x="201" y="376"/>
              </a:cxn>
              <a:cxn ang="0">
                <a:pos x="376" y="199"/>
              </a:cxn>
              <a:cxn ang="0">
                <a:pos x="357" y="184"/>
              </a:cxn>
              <a:cxn ang="0">
                <a:pos x="336" y="176"/>
              </a:cxn>
              <a:cxn ang="0">
                <a:pos x="290" y="205"/>
              </a:cxn>
              <a:cxn ang="0">
                <a:pos x="317" y="222"/>
              </a:cxn>
              <a:cxn ang="0">
                <a:pos x="305" y="250"/>
              </a:cxn>
              <a:cxn ang="0">
                <a:pos x="289" y="290"/>
              </a:cxn>
              <a:cxn ang="0">
                <a:pos x="237" y="358"/>
              </a:cxn>
              <a:cxn ang="0">
                <a:pos x="190" y="347"/>
              </a:cxn>
              <a:cxn ang="0">
                <a:pos x="164" y="257"/>
              </a:cxn>
              <a:cxn ang="0">
                <a:pos x="118" y="249"/>
              </a:cxn>
              <a:cxn ang="0">
                <a:pos x="93" y="207"/>
              </a:cxn>
              <a:cxn ang="0">
                <a:pos x="137" y="140"/>
              </a:cxn>
              <a:cxn ang="0">
                <a:pos x="117" y="97"/>
              </a:cxn>
              <a:cxn ang="0">
                <a:pos x="144" y="80"/>
              </a:cxn>
              <a:cxn ang="0">
                <a:pos x="148" y="55"/>
              </a:cxn>
              <a:cxn ang="0">
                <a:pos x="181" y="36"/>
              </a:cxn>
              <a:cxn ang="0">
                <a:pos x="228" y="46"/>
              </a:cxn>
              <a:cxn ang="0">
                <a:pos x="248" y="39"/>
              </a:cxn>
              <a:cxn ang="0">
                <a:pos x="249" y="59"/>
              </a:cxn>
              <a:cxn ang="0">
                <a:pos x="215" y="67"/>
              </a:cxn>
              <a:cxn ang="0">
                <a:pos x="180" y="60"/>
              </a:cxn>
              <a:cxn ang="0">
                <a:pos x="168" y="74"/>
              </a:cxn>
              <a:cxn ang="0">
                <a:pos x="169" y="82"/>
              </a:cxn>
              <a:cxn ang="0">
                <a:pos x="152" y="103"/>
              </a:cxn>
              <a:cxn ang="0">
                <a:pos x="147" y="119"/>
              </a:cxn>
              <a:cxn ang="0">
                <a:pos x="164" y="109"/>
              </a:cxn>
              <a:cxn ang="0">
                <a:pos x="188" y="99"/>
              </a:cxn>
              <a:cxn ang="0">
                <a:pos x="229" y="113"/>
              </a:cxn>
              <a:cxn ang="0">
                <a:pos x="255" y="152"/>
              </a:cxn>
              <a:cxn ang="0">
                <a:pos x="237" y="172"/>
              </a:cxn>
              <a:cxn ang="0">
                <a:pos x="197" y="171"/>
              </a:cxn>
              <a:cxn ang="0">
                <a:pos x="152" y="165"/>
              </a:cxn>
              <a:cxn ang="0">
                <a:pos x="117" y="211"/>
              </a:cxn>
              <a:cxn ang="0">
                <a:pos x="132" y="228"/>
              </a:cxn>
              <a:cxn ang="0">
                <a:pos x="185" y="246"/>
              </a:cxn>
              <a:cxn ang="0">
                <a:pos x="210" y="335"/>
              </a:cxn>
              <a:cxn ang="0">
                <a:pos x="226" y="337"/>
              </a:cxn>
              <a:cxn ang="0">
                <a:pos x="265" y="290"/>
              </a:cxn>
              <a:cxn ang="0">
                <a:pos x="266" y="273"/>
              </a:cxn>
              <a:cxn ang="0">
                <a:pos x="281" y="243"/>
              </a:cxn>
              <a:cxn ang="0">
                <a:pos x="275" y="227"/>
              </a:cxn>
              <a:cxn ang="0">
                <a:pos x="268" y="170"/>
              </a:cxn>
              <a:cxn ang="0">
                <a:pos x="337" y="150"/>
              </a:cxn>
              <a:cxn ang="0">
                <a:pos x="357" y="160"/>
              </a:cxn>
              <a:cxn ang="0">
                <a:pos x="365" y="135"/>
              </a:cxn>
              <a:cxn ang="0">
                <a:pos x="388" y="131"/>
              </a:cxn>
              <a:cxn ang="0">
                <a:pos x="277" y="384"/>
              </a:cxn>
              <a:cxn ang="0">
                <a:pos x="225" y="143"/>
              </a:cxn>
              <a:cxn ang="0">
                <a:pos x="188" y="122"/>
              </a:cxn>
              <a:cxn ang="0">
                <a:pos x="180" y="125"/>
              </a:cxn>
              <a:cxn ang="0">
                <a:pos x="155" y="141"/>
              </a:cxn>
              <a:cxn ang="0">
                <a:pos x="206" y="150"/>
              </a:cxn>
              <a:cxn ang="0">
                <a:pos x="216" y="151"/>
              </a:cxn>
            </a:cxnLst>
            <a:rect l="0" t="0" r="r" b="b"/>
            <a:pathLst>
              <a:path w="400" h="399">
                <a:moveTo>
                  <a:pt x="201" y="399"/>
                </a:moveTo>
                <a:cubicBezTo>
                  <a:pt x="131" y="399"/>
                  <a:pt x="70" y="363"/>
                  <a:pt x="35" y="312"/>
                </a:cubicBezTo>
                <a:cubicBezTo>
                  <a:pt x="13" y="280"/>
                  <a:pt x="0" y="241"/>
                  <a:pt x="0" y="200"/>
                </a:cubicBezTo>
                <a:cubicBezTo>
                  <a:pt x="0" y="151"/>
                  <a:pt x="19" y="99"/>
                  <a:pt x="62" y="56"/>
                </a:cubicBezTo>
                <a:cubicBezTo>
                  <a:pt x="96" y="22"/>
                  <a:pt x="145" y="0"/>
                  <a:pt x="199" y="0"/>
                </a:cubicBezTo>
                <a:cubicBezTo>
                  <a:pt x="212" y="0"/>
                  <a:pt x="225" y="1"/>
                  <a:pt x="238" y="4"/>
                </a:cubicBezTo>
                <a:cubicBezTo>
                  <a:pt x="297" y="15"/>
                  <a:pt x="343" y="50"/>
                  <a:pt x="372" y="96"/>
                </a:cubicBezTo>
                <a:cubicBezTo>
                  <a:pt x="376" y="102"/>
                  <a:pt x="374" y="109"/>
                  <a:pt x="368" y="113"/>
                </a:cubicBezTo>
                <a:cubicBezTo>
                  <a:pt x="363" y="116"/>
                  <a:pt x="356" y="114"/>
                  <a:pt x="352" y="109"/>
                </a:cubicBezTo>
                <a:cubicBezTo>
                  <a:pt x="326" y="67"/>
                  <a:pt x="286" y="37"/>
                  <a:pt x="234" y="27"/>
                </a:cubicBezTo>
                <a:cubicBezTo>
                  <a:pt x="222" y="25"/>
                  <a:pt x="210" y="24"/>
                  <a:pt x="199" y="24"/>
                </a:cubicBezTo>
                <a:cubicBezTo>
                  <a:pt x="151" y="24"/>
                  <a:pt x="108" y="43"/>
                  <a:pt x="78" y="73"/>
                </a:cubicBezTo>
                <a:cubicBezTo>
                  <a:pt x="39" y="112"/>
                  <a:pt x="24" y="157"/>
                  <a:pt x="24" y="200"/>
                </a:cubicBezTo>
                <a:cubicBezTo>
                  <a:pt x="24" y="236"/>
                  <a:pt x="35" y="270"/>
                  <a:pt x="54" y="298"/>
                </a:cubicBezTo>
                <a:cubicBezTo>
                  <a:pt x="85" y="343"/>
                  <a:pt x="140" y="376"/>
                  <a:pt x="201" y="376"/>
                </a:cubicBezTo>
                <a:cubicBezTo>
                  <a:pt x="223" y="376"/>
                  <a:pt x="245" y="372"/>
                  <a:pt x="268" y="362"/>
                </a:cubicBezTo>
                <a:cubicBezTo>
                  <a:pt x="302" y="349"/>
                  <a:pt x="329" y="326"/>
                  <a:pt x="347" y="297"/>
                </a:cubicBezTo>
                <a:cubicBezTo>
                  <a:pt x="366" y="268"/>
                  <a:pt x="376" y="234"/>
                  <a:pt x="376" y="199"/>
                </a:cubicBezTo>
                <a:cubicBezTo>
                  <a:pt x="376" y="191"/>
                  <a:pt x="376" y="184"/>
                  <a:pt x="375" y="176"/>
                </a:cubicBezTo>
                <a:cubicBezTo>
                  <a:pt x="373" y="178"/>
                  <a:pt x="371" y="179"/>
                  <a:pt x="369" y="181"/>
                </a:cubicBezTo>
                <a:cubicBezTo>
                  <a:pt x="366" y="183"/>
                  <a:pt x="362" y="184"/>
                  <a:pt x="357" y="184"/>
                </a:cubicBezTo>
                <a:cubicBezTo>
                  <a:pt x="353" y="184"/>
                  <a:pt x="349" y="183"/>
                  <a:pt x="345" y="181"/>
                </a:cubicBezTo>
                <a:cubicBezTo>
                  <a:pt x="344" y="181"/>
                  <a:pt x="344" y="181"/>
                  <a:pt x="344" y="181"/>
                </a:cubicBezTo>
                <a:cubicBezTo>
                  <a:pt x="336" y="176"/>
                  <a:pt x="336" y="176"/>
                  <a:pt x="336" y="176"/>
                </a:cubicBezTo>
                <a:cubicBezTo>
                  <a:pt x="319" y="206"/>
                  <a:pt x="319" y="206"/>
                  <a:pt x="319" y="206"/>
                </a:cubicBezTo>
                <a:cubicBezTo>
                  <a:pt x="316" y="211"/>
                  <a:pt x="310" y="213"/>
                  <a:pt x="304" y="211"/>
                </a:cubicBezTo>
                <a:cubicBezTo>
                  <a:pt x="290" y="205"/>
                  <a:pt x="290" y="205"/>
                  <a:pt x="290" y="205"/>
                </a:cubicBezTo>
                <a:cubicBezTo>
                  <a:pt x="294" y="211"/>
                  <a:pt x="294" y="211"/>
                  <a:pt x="294" y="211"/>
                </a:cubicBezTo>
                <a:cubicBezTo>
                  <a:pt x="309" y="215"/>
                  <a:pt x="309" y="215"/>
                  <a:pt x="309" y="215"/>
                </a:cubicBezTo>
                <a:cubicBezTo>
                  <a:pt x="313" y="216"/>
                  <a:pt x="316" y="218"/>
                  <a:pt x="317" y="222"/>
                </a:cubicBezTo>
                <a:cubicBezTo>
                  <a:pt x="318" y="225"/>
                  <a:pt x="318" y="230"/>
                  <a:pt x="316" y="233"/>
                </a:cubicBezTo>
                <a:cubicBezTo>
                  <a:pt x="316" y="233"/>
                  <a:pt x="315" y="235"/>
                  <a:pt x="313" y="238"/>
                </a:cubicBezTo>
                <a:cubicBezTo>
                  <a:pt x="311" y="241"/>
                  <a:pt x="308" y="245"/>
                  <a:pt x="305" y="250"/>
                </a:cubicBezTo>
                <a:cubicBezTo>
                  <a:pt x="299" y="259"/>
                  <a:pt x="292" y="271"/>
                  <a:pt x="289" y="277"/>
                </a:cubicBezTo>
                <a:cubicBezTo>
                  <a:pt x="289" y="278"/>
                  <a:pt x="288" y="279"/>
                  <a:pt x="288" y="280"/>
                </a:cubicBezTo>
                <a:cubicBezTo>
                  <a:pt x="288" y="281"/>
                  <a:pt x="289" y="285"/>
                  <a:pt x="289" y="290"/>
                </a:cubicBezTo>
                <a:cubicBezTo>
                  <a:pt x="289" y="298"/>
                  <a:pt x="287" y="310"/>
                  <a:pt x="277" y="321"/>
                </a:cubicBezTo>
                <a:cubicBezTo>
                  <a:pt x="274" y="325"/>
                  <a:pt x="268" y="332"/>
                  <a:pt x="261" y="339"/>
                </a:cubicBezTo>
                <a:cubicBezTo>
                  <a:pt x="254" y="346"/>
                  <a:pt x="246" y="353"/>
                  <a:pt x="237" y="358"/>
                </a:cubicBezTo>
                <a:cubicBezTo>
                  <a:pt x="231" y="361"/>
                  <a:pt x="225" y="364"/>
                  <a:pt x="217" y="364"/>
                </a:cubicBezTo>
                <a:cubicBezTo>
                  <a:pt x="212" y="364"/>
                  <a:pt x="206" y="363"/>
                  <a:pt x="201" y="360"/>
                </a:cubicBezTo>
                <a:cubicBezTo>
                  <a:pt x="197" y="356"/>
                  <a:pt x="193" y="352"/>
                  <a:pt x="190" y="347"/>
                </a:cubicBezTo>
                <a:cubicBezTo>
                  <a:pt x="182" y="334"/>
                  <a:pt x="179" y="319"/>
                  <a:pt x="176" y="305"/>
                </a:cubicBezTo>
                <a:cubicBezTo>
                  <a:pt x="174" y="291"/>
                  <a:pt x="172" y="278"/>
                  <a:pt x="170" y="269"/>
                </a:cubicBezTo>
                <a:cubicBezTo>
                  <a:pt x="168" y="262"/>
                  <a:pt x="166" y="258"/>
                  <a:pt x="164" y="257"/>
                </a:cubicBezTo>
                <a:cubicBezTo>
                  <a:pt x="163" y="256"/>
                  <a:pt x="162" y="255"/>
                  <a:pt x="161" y="255"/>
                </a:cubicBezTo>
                <a:cubicBezTo>
                  <a:pt x="155" y="254"/>
                  <a:pt x="148" y="253"/>
                  <a:pt x="141" y="253"/>
                </a:cubicBezTo>
                <a:cubicBezTo>
                  <a:pt x="133" y="252"/>
                  <a:pt x="125" y="252"/>
                  <a:pt x="118" y="249"/>
                </a:cubicBezTo>
                <a:cubicBezTo>
                  <a:pt x="112" y="247"/>
                  <a:pt x="107" y="244"/>
                  <a:pt x="103" y="239"/>
                </a:cubicBezTo>
                <a:cubicBezTo>
                  <a:pt x="97" y="233"/>
                  <a:pt x="94" y="224"/>
                  <a:pt x="93" y="214"/>
                </a:cubicBezTo>
                <a:cubicBezTo>
                  <a:pt x="93" y="211"/>
                  <a:pt x="93" y="209"/>
                  <a:pt x="93" y="207"/>
                </a:cubicBezTo>
                <a:cubicBezTo>
                  <a:pt x="93" y="188"/>
                  <a:pt x="100" y="171"/>
                  <a:pt x="111" y="160"/>
                </a:cubicBezTo>
                <a:cubicBezTo>
                  <a:pt x="120" y="150"/>
                  <a:pt x="132" y="144"/>
                  <a:pt x="144" y="142"/>
                </a:cubicBezTo>
                <a:cubicBezTo>
                  <a:pt x="141" y="142"/>
                  <a:pt x="139" y="141"/>
                  <a:pt x="137" y="140"/>
                </a:cubicBezTo>
                <a:cubicBezTo>
                  <a:pt x="130" y="136"/>
                  <a:pt x="125" y="131"/>
                  <a:pt x="121" y="126"/>
                </a:cubicBezTo>
                <a:cubicBezTo>
                  <a:pt x="117" y="120"/>
                  <a:pt x="115" y="114"/>
                  <a:pt x="115" y="107"/>
                </a:cubicBezTo>
                <a:cubicBezTo>
                  <a:pt x="115" y="104"/>
                  <a:pt x="115" y="101"/>
                  <a:pt x="117" y="97"/>
                </a:cubicBezTo>
                <a:cubicBezTo>
                  <a:pt x="119" y="94"/>
                  <a:pt x="122" y="91"/>
                  <a:pt x="125" y="89"/>
                </a:cubicBezTo>
                <a:cubicBezTo>
                  <a:pt x="128" y="88"/>
                  <a:pt x="131" y="87"/>
                  <a:pt x="135" y="85"/>
                </a:cubicBezTo>
                <a:cubicBezTo>
                  <a:pt x="138" y="84"/>
                  <a:pt x="141" y="82"/>
                  <a:pt x="144" y="80"/>
                </a:cubicBezTo>
                <a:cubicBezTo>
                  <a:pt x="144" y="80"/>
                  <a:pt x="144" y="80"/>
                  <a:pt x="145" y="79"/>
                </a:cubicBezTo>
                <a:cubicBezTo>
                  <a:pt x="145" y="78"/>
                  <a:pt x="145" y="76"/>
                  <a:pt x="145" y="74"/>
                </a:cubicBezTo>
                <a:cubicBezTo>
                  <a:pt x="145" y="68"/>
                  <a:pt x="145" y="61"/>
                  <a:pt x="148" y="55"/>
                </a:cubicBezTo>
                <a:cubicBezTo>
                  <a:pt x="151" y="49"/>
                  <a:pt x="156" y="43"/>
                  <a:pt x="164" y="39"/>
                </a:cubicBezTo>
                <a:cubicBezTo>
                  <a:pt x="168" y="37"/>
                  <a:pt x="174" y="36"/>
                  <a:pt x="180" y="36"/>
                </a:cubicBezTo>
                <a:cubicBezTo>
                  <a:pt x="180" y="36"/>
                  <a:pt x="180" y="36"/>
                  <a:pt x="181" y="36"/>
                </a:cubicBezTo>
                <a:cubicBezTo>
                  <a:pt x="189" y="36"/>
                  <a:pt x="196" y="38"/>
                  <a:pt x="203" y="40"/>
                </a:cubicBezTo>
                <a:cubicBezTo>
                  <a:pt x="210" y="41"/>
                  <a:pt x="216" y="43"/>
                  <a:pt x="221" y="44"/>
                </a:cubicBezTo>
                <a:cubicBezTo>
                  <a:pt x="224" y="45"/>
                  <a:pt x="227" y="46"/>
                  <a:pt x="228" y="46"/>
                </a:cubicBezTo>
                <a:cubicBezTo>
                  <a:pt x="229" y="46"/>
                  <a:pt x="229" y="46"/>
                  <a:pt x="230" y="46"/>
                </a:cubicBezTo>
                <a:cubicBezTo>
                  <a:pt x="232" y="42"/>
                  <a:pt x="232" y="42"/>
                  <a:pt x="232" y="42"/>
                </a:cubicBezTo>
                <a:cubicBezTo>
                  <a:pt x="235" y="37"/>
                  <a:pt x="243" y="35"/>
                  <a:pt x="248" y="39"/>
                </a:cubicBezTo>
                <a:cubicBezTo>
                  <a:pt x="253" y="42"/>
                  <a:pt x="255" y="50"/>
                  <a:pt x="251" y="55"/>
                </a:cubicBezTo>
                <a:cubicBezTo>
                  <a:pt x="249" y="59"/>
                  <a:pt x="249" y="59"/>
                  <a:pt x="249" y="59"/>
                </a:cubicBezTo>
                <a:cubicBezTo>
                  <a:pt x="249" y="59"/>
                  <a:pt x="249" y="59"/>
                  <a:pt x="249" y="59"/>
                </a:cubicBezTo>
                <a:cubicBezTo>
                  <a:pt x="246" y="63"/>
                  <a:pt x="243" y="66"/>
                  <a:pt x="239" y="67"/>
                </a:cubicBezTo>
                <a:cubicBezTo>
                  <a:pt x="235" y="69"/>
                  <a:pt x="232" y="69"/>
                  <a:pt x="228" y="69"/>
                </a:cubicBezTo>
                <a:cubicBezTo>
                  <a:pt x="224" y="69"/>
                  <a:pt x="219" y="68"/>
                  <a:pt x="215" y="67"/>
                </a:cubicBezTo>
                <a:cubicBezTo>
                  <a:pt x="211" y="66"/>
                  <a:pt x="207" y="65"/>
                  <a:pt x="203" y="64"/>
                </a:cubicBezTo>
                <a:cubicBezTo>
                  <a:pt x="195" y="62"/>
                  <a:pt x="187" y="60"/>
                  <a:pt x="181" y="60"/>
                </a:cubicBezTo>
                <a:cubicBezTo>
                  <a:pt x="181" y="60"/>
                  <a:pt x="181" y="60"/>
                  <a:pt x="180" y="60"/>
                </a:cubicBezTo>
                <a:cubicBezTo>
                  <a:pt x="175" y="60"/>
                  <a:pt x="172" y="61"/>
                  <a:pt x="171" y="62"/>
                </a:cubicBezTo>
                <a:cubicBezTo>
                  <a:pt x="170" y="63"/>
                  <a:pt x="170" y="64"/>
                  <a:pt x="169" y="67"/>
                </a:cubicBezTo>
                <a:cubicBezTo>
                  <a:pt x="168" y="69"/>
                  <a:pt x="168" y="71"/>
                  <a:pt x="168" y="74"/>
                </a:cubicBezTo>
                <a:cubicBezTo>
                  <a:pt x="168" y="76"/>
                  <a:pt x="168" y="78"/>
                  <a:pt x="169" y="81"/>
                </a:cubicBezTo>
                <a:cubicBezTo>
                  <a:pt x="169" y="81"/>
                  <a:pt x="169" y="81"/>
                  <a:pt x="169" y="81"/>
                </a:cubicBezTo>
                <a:cubicBezTo>
                  <a:pt x="169" y="81"/>
                  <a:pt x="169" y="82"/>
                  <a:pt x="169" y="82"/>
                </a:cubicBezTo>
                <a:cubicBezTo>
                  <a:pt x="169" y="86"/>
                  <a:pt x="167" y="89"/>
                  <a:pt x="166" y="91"/>
                </a:cubicBezTo>
                <a:cubicBezTo>
                  <a:pt x="165" y="93"/>
                  <a:pt x="163" y="94"/>
                  <a:pt x="162" y="96"/>
                </a:cubicBezTo>
                <a:cubicBezTo>
                  <a:pt x="159" y="99"/>
                  <a:pt x="156" y="101"/>
                  <a:pt x="152" y="103"/>
                </a:cubicBezTo>
                <a:cubicBezTo>
                  <a:pt x="148" y="105"/>
                  <a:pt x="143" y="107"/>
                  <a:pt x="139" y="109"/>
                </a:cubicBezTo>
                <a:cubicBezTo>
                  <a:pt x="139" y="110"/>
                  <a:pt x="140" y="112"/>
                  <a:pt x="141" y="113"/>
                </a:cubicBezTo>
                <a:cubicBezTo>
                  <a:pt x="142" y="115"/>
                  <a:pt x="145" y="118"/>
                  <a:pt x="147" y="119"/>
                </a:cubicBezTo>
                <a:cubicBezTo>
                  <a:pt x="147" y="119"/>
                  <a:pt x="147" y="119"/>
                  <a:pt x="148" y="119"/>
                </a:cubicBezTo>
                <a:cubicBezTo>
                  <a:pt x="148" y="119"/>
                  <a:pt x="151" y="118"/>
                  <a:pt x="154" y="116"/>
                </a:cubicBezTo>
                <a:cubicBezTo>
                  <a:pt x="157" y="114"/>
                  <a:pt x="161" y="111"/>
                  <a:pt x="164" y="109"/>
                </a:cubicBezTo>
                <a:cubicBezTo>
                  <a:pt x="166" y="107"/>
                  <a:pt x="167" y="105"/>
                  <a:pt x="170" y="104"/>
                </a:cubicBezTo>
                <a:cubicBezTo>
                  <a:pt x="173" y="101"/>
                  <a:pt x="176" y="100"/>
                  <a:pt x="179" y="100"/>
                </a:cubicBezTo>
                <a:cubicBezTo>
                  <a:pt x="182" y="99"/>
                  <a:pt x="185" y="99"/>
                  <a:pt x="188" y="99"/>
                </a:cubicBezTo>
                <a:cubicBezTo>
                  <a:pt x="196" y="99"/>
                  <a:pt x="204" y="100"/>
                  <a:pt x="211" y="102"/>
                </a:cubicBezTo>
                <a:cubicBezTo>
                  <a:pt x="215" y="103"/>
                  <a:pt x="218" y="105"/>
                  <a:pt x="220" y="107"/>
                </a:cubicBezTo>
                <a:cubicBezTo>
                  <a:pt x="223" y="109"/>
                  <a:pt x="226" y="111"/>
                  <a:pt x="229" y="113"/>
                </a:cubicBezTo>
                <a:cubicBezTo>
                  <a:pt x="235" y="118"/>
                  <a:pt x="241" y="124"/>
                  <a:pt x="245" y="130"/>
                </a:cubicBezTo>
                <a:cubicBezTo>
                  <a:pt x="248" y="134"/>
                  <a:pt x="251" y="138"/>
                  <a:pt x="253" y="143"/>
                </a:cubicBezTo>
                <a:cubicBezTo>
                  <a:pt x="254" y="146"/>
                  <a:pt x="255" y="148"/>
                  <a:pt x="255" y="152"/>
                </a:cubicBezTo>
                <a:cubicBezTo>
                  <a:pt x="255" y="153"/>
                  <a:pt x="255" y="154"/>
                  <a:pt x="254" y="156"/>
                </a:cubicBezTo>
                <a:cubicBezTo>
                  <a:pt x="253" y="161"/>
                  <a:pt x="250" y="165"/>
                  <a:pt x="247" y="167"/>
                </a:cubicBezTo>
                <a:cubicBezTo>
                  <a:pt x="243" y="169"/>
                  <a:pt x="240" y="171"/>
                  <a:pt x="237" y="172"/>
                </a:cubicBezTo>
                <a:cubicBezTo>
                  <a:pt x="230" y="174"/>
                  <a:pt x="223" y="174"/>
                  <a:pt x="216" y="174"/>
                </a:cubicBezTo>
                <a:cubicBezTo>
                  <a:pt x="213" y="174"/>
                  <a:pt x="209" y="174"/>
                  <a:pt x="206" y="174"/>
                </a:cubicBezTo>
                <a:cubicBezTo>
                  <a:pt x="203" y="173"/>
                  <a:pt x="200" y="173"/>
                  <a:pt x="197" y="171"/>
                </a:cubicBezTo>
                <a:cubicBezTo>
                  <a:pt x="194" y="170"/>
                  <a:pt x="188" y="168"/>
                  <a:pt x="181" y="167"/>
                </a:cubicBezTo>
                <a:cubicBezTo>
                  <a:pt x="174" y="166"/>
                  <a:pt x="165" y="165"/>
                  <a:pt x="154" y="165"/>
                </a:cubicBezTo>
                <a:cubicBezTo>
                  <a:pt x="154" y="165"/>
                  <a:pt x="153" y="165"/>
                  <a:pt x="152" y="165"/>
                </a:cubicBezTo>
                <a:cubicBezTo>
                  <a:pt x="144" y="165"/>
                  <a:pt x="135" y="169"/>
                  <a:pt x="128" y="176"/>
                </a:cubicBezTo>
                <a:cubicBezTo>
                  <a:pt x="121" y="184"/>
                  <a:pt x="116" y="194"/>
                  <a:pt x="116" y="207"/>
                </a:cubicBezTo>
                <a:cubicBezTo>
                  <a:pt x="116" y="208"/>
                  <a:pt x="116" y="210"/>
                  <a:pt x="117" y="211"/>
                </a:cubicBezTo>
                <a:cubicBezTo>
                  <a:pt x="117" y="215"/>
                  <a:pt x="118" y="218"/>
                  <a:pt x="119" y="220"/>
                </a:cubicBezTo>
                <a:cubicBezTo>
                  <a:pt x="119" y="222"/>
                  <a:pt x="120" y="223"/>
                  <a:pt x="121" y="224"/>
                </a:cubicBezTo>
                <a:cubicBezTo>
                  <a:pt x="123" y="226"/>
                  <a:pt x="126" y="227"/>
                  <a:pt x="132" y="228"/>
                </a:cubicBezTo>
                <a:cubicBezTo>
                  <a:pt x="135" y="229"/>
                  <a:pt x="140" y="229"/>
                  <a:pt x="145" y="229"/>
                </a:cubicBezTo>
                <a:cubicBezTo>
                  <a:pt x="151" y="230"/>
                  <a:pt x="159" y="230"/>
                  <a:pt x="166" y="232"/>
                </a:cubicBezTo>
                <a:cubicBezTo>
                  <a:pt x="175" y="234"/>
                  <a:pt x="181" y="239"/>
                  <a:pt x="185" y="246"/>
                </a:cubicBezTo>
                <a:cubicBezTo>
                  <a:pt x="189" y="252"/>
                  <a:pt x="192" y="259"/>
                  <a:pt x="193" y="266"/>
                </a:cubicBezTo>
                <a:cubicBezTo>
                  <a:pt x="197" y="280"/>
                  <a:pt x="198" y="296"/>
                  <a:pt x="201" y="310"/>
                </a:cubicBezTo>
                <a:cubicBezTo>
                  <a:pt x="203" y="320"/>
                  <a:pt x="206" y="329"/>
                  <a:pt x="210" y="335"/>
                </a:cubicBezTo>
                <a:cubicBezTo>
                  <a:pt x="212" y="338"/>
                  <a:pt x="213" y="339"/>
                  <a:pt x="214" y="340"/>
                </a:cubicBezTo>
                <a:cubicBezTo>
                  <a:pt x="215" y="340"/>
                  <a:pt x="216" y="340"/>
                  <a:pt x="217" y="340"/>
                </a:cubicBezTo>
                <a:cubicBezTo>
                  <a:pt x="219" y="340"/>
                  <a:pt x="222" y="340"/>
                  <a:pt x="226" y="337"/>
                </a:cubicBezTo>
                <a:cubicBezTo>
                  <a:pt x="230" y="335"/>
                  <a:pt x="234" y="332"/>
                  <a:pt x="238" y="328"/>
                </a:cubicBezTo>
                <a:cubicBezTo>
                  <a:pt x="247" y="321"/>
                  <a:pt x="255" y="311"/>
                  <a:pt x="259" y="306"/>
                </a:cubicBezTo>
                <a:cubicBezTo>
                  <a:pt x="265" y="299"/>
                  <a:pt x="265" y="295"/>
                  <a:pt x="265" y="290"/>
                </a:cubicBezTo>
                <a:cubicBezTo>
                  <a:pt x="265" y="287"/>
                  <a:pt x="265" y="283"/>
                  <a:pt x="265" y="279"/>
                </a:cubicBezTo>
                <a:cubicBezTo>
                  <a:pt x="265" y="278"/>
                  <a:pt x="265" y="278"/>
                  <a:pt x="265" y="278"/>
                </a:cubicBezTo>
                <a:cubicBezTo>
                  <a:pt x="265" y="275"/>
                  <a:pt x="265" y="274"/>
                  <a:pt x="266" y="273"/>
                </a:cubicBezTo>
                <a:cubicBezTo>
                  <a:pt x="266" y="272"/>
                  <a:pt x="267" y="270"/>
                  <a:pt x="267" y="269"/>
                </a:cubicBezTo>
                <a:cubicBezTo>
                  <a:pt x="268" y="267"/>
                  <a:pt x="269" y="264"/>
                  <a:pt x="271" y="262"/>
                </a:cubicBezTo>
                <a:cubicBezTo>
                  <a:pt x="274" y="256"/>
                  <a:pt x="278" y="250"/>
                  <a:pt x="281" y="243"/>
                </a:cubicBezTo>
                <a:cubicBezTo>
                  <a:pt x="283" y="240"/>
                  <a:pt x="285" y="237"/>
                  <a:pt x="287" y="234"/>
                </a:cubicBezTo>
                <a:cubicBezTo>
                  <a:pt x="283" y="233"/>
                  <a:pt x="283" y="233"/>
                  <a:pt x="283" y="233"/>
                </a:cubicBezTo>
                <a:cubicBezTo>
                  <a:pt x="280" y="232"/>
                  <a:pt x="277" y="230"/>
                  <a:pt x="275" y="227"/>
                </a:cubicBezTo>
                <a:cubicBezTo>
                  <a:pt x="253" y="186"/>
                  <a:pt x="253" y="186"/>
                  <a:pt x="253" y="186"/>
                </a:cubicBezTo>
                <a:cubicBezTo>
                  <a:pt x="250" y="182"/>
                  <a:pt x="251" y="176"/>
                  <a:pt x="254" y="172"/>
                </a:cubicBezTo>
                <a:cubicBezTo>
                  <a:pt x="258" y="169"/>
                  <a:pt x="263" y="168"/>
                  <a:pt x="268" y="170"/>
                </a:cubicBezTo>
                <a:cubicBezTo>
                  <a:pt x="304" y="185"/>
                  <a:pt x="304" y="185"/>
                  <a:pt x="304" y="185"/>
                </a:cubicBezTo>
                <a:cubicBezTo>
                  <a:pt x="321" y="154"/>
                  <a:pt x="321" y="154"/>
                  <a:pt x="321" y="154"/>
                </a:cubicBezTo>
                <a:cubicBezTo>
                  <a:pt x="325" y="148"/>
                  <a:pt x="332" y="147"/>
                  <a:pt x="337" y="150"/>
                </a:cubicBezTo>
                <a:cubicBezTo>
                  <a:pt x="356" y="160"/>
                  <a:pt x="356" y="160"/>
                  <a:pt x="356" y="160"/>
                </a:cubicBezTo>
                <a:cubicBezTo>
                  <a:pt x="356" y="160"/>
                  <a:pt x="357" y="160"/>
                  <a:pt x="357" y="160"/>
                </a:cubicBezTo>
                <a:cubicBezTo>
                  <a:pt x="357" y="160"/>
                  <a:pt x="357" y="160"/>
                  <a:pt x="357" y="160"/>
                </a:cubicBezTo>
                <a:cubicBezTo>
                  <a:pt x="357" y="160"/>
                  <a:pt x="358" y="160"/>
                  <a:pt x="358" y="160"/>
                </a:cubicBezTo>
                <a:cubicBezTo>
                  <a:pt x="359" y="158"/>
                  <a:pt x="360" y="155"/>
                  <a:pt x="362" y="152"/>
                </a:cubicBezTo>
                <a:cubicBezTo>
                  <a:pt x="364" y="145"/>
                  <a:pt x="365" y="136"/>
                  <a:pt x="365" y="135"/>
                </a:cubicBezTo>
                <a:cubicBezTo>
                  <a:pt x="365" y="135"/>
                  <a:pt x="365" y="135"/>
                  <a:pt x="365" y="135"/>
                </a:cubicBezTo>
                <a:cubicBezTo>
                  <a:pt x="365" y="129"/>
                  <a:pt x="369" y="125"/>
                  <a:pt x="375" y="124"/>
                </a:cubicBezTo>
                <a:cubicBezTo>
                  <a:pt x="380" y="123"/>
                  <a:pt x="386" y="126"/>
                  <a:pt x="388" y="131"/>
                </a:cubicBezTo>
                <a:cubicBezTo>
                  <a:pt x="396" y="153"/>
                  <a:pt x="400" y="176"/>
                  <a:pt x="400" y="199"/>
                </a:cubicBezTo>
                <a:cubicBezTo>
                  <a:pt x="400" y="238"/>
                  <a:pt x="388" y="277"/>
                  <a:pt x="367" y="309"/>
                </a:cubicBezTo>
                <a:cubicBezTo>
                  <a:pt x="346" y="342"/>
                  <a:pt x="316" y="369"/>
                  <a:pt x="277" y="384"/>
                </a:cubicBezTo>
                <a:cubicBezTo>
                  <a:pt x="251" y="395"/>
                  <a:pt x="226" y="399"/>
                  <a:pt x="201" y="399"/>
                </a:cubicBezTo>
                <a:close/>
                <a:moveTo>
                  <a:pt x="230" y="149"/>
                </a:moveTo>
                <a:cubicBezTo>
                  <a:pt x="229" y="148"/>
                  <a:pt x="227" y="145"/>
                  <a:pt x="225" y="143"/>
                </a:cubicBezTo>
                <a:cubicBezTo>
                  <a:pt x="221" y="138"/>
                  <a:pt x="216" y="132"/>
                  <a:pt x="211" y="129"/>
                </a:cubicBezTo>
                <a:cubicBezTo>
                  <a:pt x="208" y="126"/>
                  <a:pt x="205" y="125"/>
                  <a:pt x="205" y="125"/>
                </a:cubicBezTo>
                <a:cubicBezTo>
                  <a:pt x="199" y="123"/>
                  <a:pt x="193" y="122"/>
                  <a:pt x="188" y="122"/>
                </a:cubicBezTo>
                <a:cubicBezTo>
                  <a:pt x="187" y="122"/>
                  <a:pt x="185" y="122"/>
                  <a:pt x="185" y="123"/>
                </a:cubicBezTo>
                <a:cubicBezTo>
                  <a:pt x="184" y="123"/>
                  <a:pt x="183" y="123"/>
                  <a:pt x="183" y="123"/>
                </a:cubicBezTo>
                <a:cubicBezTo>
                  <a:pt x="183" y="123"/>
                  <a:pt x="182" y="124"/>
                  <a:pt x="180" y="125"/>
                </a:cubicBezTo>
                <a:cubicBezTo>
                  <a:pt x="179" y="126"/>
                  <a:pt x="177" y="128"/>
                  <a:pt x="175" y="129"/>
                </a:cubicBezTo>
                <a:cubicBezTo>
                  <a:pt x="171" y="133"/>
                  <a:pt x="167" y="136"/>
                  <a:pt x="161" y="139"/>
                </a:cubicBezTo>
                <a:cubicBezTo>
                  <a:pt x="159" y="140"/>
                  <a:pt x="157" y="141"/>
                  <a:pt x="155" y="141"/>
                </a:cubicBezTo>
                <a:cubicBezTo>
                  <a:pt x="167" y="141"/>
                  <a:pt x="177" y="142"/>
                  <a:pt x="185" y="144"/>
                </a:cubicBezTo>
                <a:cubicBezTo>
                  <a:pt x="194" y="146"/>
                  <a:pt x="201" y="148"/>
                  <a:pt x="206" y="150"/>
                </a:cubicBezTo>
                <a:cubicBezTo>
                  <a:pt x="206" y="150"/>
                  <a:pt x="206" y="150"/>
                  <a:pt x="206" y="150"/>
                </a:cubicBezTo>
                <a:cubicBezTo>
                  <a:pt x="207" y="150"/>
                  <a:pt x="207" y="150"/>
                  <a:pt x="207" y="150"/>
                </a:cubicBezTo>
                <a:cubicBezTo>
                  <a:pt x="208" y="150"/>
                  <a:pt x="208" y="150"/>
                  <a:pt x="209" y="151"/>
                </a:cubicBezTo>
                <a:cubicBezTo>
                  <a:pt x="211" y="151"/>
                  <a:pt x="214" y="151"/>
                  <a:pt x="216" y="151"/>
                </a:cubicBezTo>
                <a:cubicBezTo>
                  <a:pt x="221" y="151"/>
                  <a:pt x="226" y="150"/>
                  <a:pt x="230" y="149"/>
                </a:cubicBezTo>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4" name="Freeform 255"/>
          <p:cNvSpPr>
            <a:spLocks/>
          </p:cNvSpPr>
          <p:nvPr userDrawn="1"/>
        </p:nvSpPr>
        <p:spPr bwMode="auto">
          <a:xfrm>
            <a:off x="3286086" y="828975"/>
            <a:ext cx="452555" cy="475060"/>
          </a:xfrm>
          <a:custGeom>
            <a:avLst/>
            <a:gdLst/>
            <a:ahLst/>
            <a:cxnLst>
              <a:cxn ang="0">
                <a:pos x="509" y="500"/>
              </a:cxn>
              <a:cxn ang="0">
                <a:pos x="495" y="96"/>
              </a:cxn>
              <a:cxn ang="0">
                <a:pos x="511" y="74"/>
              </a:cxn>
              <a:cxn ang="0">
                <a:pos x="511" y="29"/>
              </a:cxn>
              <a:cxn ang="0">
                <a:pos x="488" y="2"/>
              </a:cxn>
              <a:cxn ang="0">
                <a:pos x="17" y="0"/>
              </a:cxn>
              <a:cxn ang="0">
                <a:pos x="7" y="25"/>
              </a:cxn>
              <a:cxn ang="0">
                <a:pos x="7" y="25"/>
              </a:cxn>
              <a:cxn ang="0">
                <a:pos x="16" y="50"/>
              </a:cxn>
              <a:cxn ang="0">
                <a:pos x="8" y="75"/>
              </a:cxn>
              <a:cxn ang="0">
                <a:pos x="7" y="75"/>
              </a:cxn>
              <a:cxn ang="0">
                <a:pos x="15" y="102"/>
              </a:cxn>
              <a:cxn ang="0">
                <a:pos x="44" y="288"/>
              </a:cxn>
              <a:cxn ang="0">
                <a:pos x="48" y="453"/>
              </a:cxn>
              <a:cxn ang="0">
                <a:pos x="419" y="458"/>
              </a:cxn>
              <a:cxn ang="0">
                <a:pos x="433" y="439"/>
              </a:cxn>
              <a:cxn ang="0">
                <a:pos x="400" y="367"/>
              </a:cxn>
              <a:cxn ang="0">
                <a:pos x="125" y="335"/>
              </a:cxn>
              <a:cxn ang="0">
                <a:pos x="431" y="329"/>
              </a:cxn>
              <a:cxn ang="0">
                <a:pos x="413" y="257"/>
              </a:cxn>
              <a:cxn ang="0">
                <a:pos x="134" y="247"/>
              </a:cxn>
              <a:cxn ang="0">
                <a:pos x="419" y="218"/>
              </a:cxn>
              <a:cxn ang="0">
                <a:pos x="433" y="200"/>
              </a:cxn>
              <a:cxn ang="0">
                <a:pos x="403" y="131"/>
              </a:cxn>
              <a:cxn ang="0">
                <a:pos x="124" y="102"/>
              </a:cxn>
              <a:cxn ang="0">
                <a:pos x="443" y="88"/>
              </a:cxn>
              <a:cxn ang="0">
                <a:pos x="105" y="73"/>
              </a:cxn>
              <a:cxn ang="0">
                <a:pos x="91" y="91"/>
              </a:cxn>
              <a:cxn ang="0">
                <a:pos x="121" y="160"/>
              </a:cxn>
              <a:cxn ang="0">
                <a:pos x="400" y="189"/>
              </a:cxn>
              <a:cxn ang="0">
                <a:pos x="95" y="195"/>
              </a:cxn>
              <a:cxn ang="0">
                <a:pos x="109" y="266"/>
              </a:cxn>
              <a:cxn ang="0">
                <a:pos x="389" y="276"/>
              </a:cxn>
              <a:cxn ang="0">
                <a:pos x="106" y="306"/>
              </a:cxn>
              <a:cxn ang="0">
                <a:pos x="92" y="325"/>
              </a:cxn>
              <a:cxn ang="0">
                <a:pos x="123" y="396"/>
              </a:cxn>
              <a:cxn ang="0">
                <a:pos x="400" y="428"/>
              </a:cxn>
              <a:cxn ang="0">
                <a:pos x="73" y="288"/>
              </a:cxn>
              <a:cxn ang="0">
                <a:pos x="69" y="77"/>
              </a:cxn>
              <a:cxn ang="0">
                <a:pos x="42" y="73"/>
              </a:cxn>
              <a:cxn ang="0">
                <a:pos x="42" y="29"/>
              </a:cxn>
              <a:cxn ang="0">
                <a:pos x="480" y="34"/>
              </a:cxn>
              <a:cxn ang="0">
                <a:pos x="486" y="51"/>
              </a:cxn>
              <a:cxn ang="0">
                <a:pos x="478" y="72"/>
              </a:cxn>
              <a:cxn ang="0">
                <a:pos x="476" y="74"/>
              </a:cxn>
              <a:cxn ang="0">
                <a:pos x="466" y="495"/>
              </a:cxn>
              <a:cxn ang="0">
                <a:pos x="466" y="513"/>
              </a:cxn>
              <a:cxn ang="0">
                <a:pos x="434" y="500"/>
              </a:cxn>
              <a:cxn ang="0">
                <a:pos x="469" y="555"/>
              </a:cxn>
              <a:cxn ang="0">
                <a:pos x="471" y="557"/>
              </a:cxn>
              <a:cxn ang="0">
                <a:pos x="491" y="557"/>
              </a:cxn>
              <a:cxn ang="0">
                <a:pos x="493" y="555"/>
              </a:cxn>
              <a:cxn ang="0">
                <a:pos x="529" y="500"/>
              </a:cxn>
            </a:cxnLst>
            <a:rect l="0" t="0" r="r" b="b"/>
            <a:pathLst>
              <a:path w="534" h="561">
                <a:moveTo>
                  <a:pt x="529" y="500"/>
                </a:moveTo>
                <a:cubicBezTo>
                  <a:pt x="523" y="494"/>
                  <a:pt x="514" y="494"/>
                  <a:pt x="509" y="500"/>
                </a:cubicBezTo>
                <a:cubicBezTo>
                  <a:pt x="495" y="514"/>
                  <a:pt x="495" y="514"/>
                  <a:pt x="495" y="514"/>
                </a:cubicBezTo>
                <a:cubicBezTo>
                  <a:pt x="495" y="96"/>
                  <a:pt x="495" y="96"/>
                  <a:pt x="495" y="96"/>
                </a:cubicBezTo>
                <a:cubicBezTo>
                  <a:pt x="497" y="94"/>
                  <a:pt x="499" y="92"/>
                  <a:pt x="502" y="90"/>
                </a:cubicBezTo>
                <a:cubicBezTo>
                  <a:pt x="505" y="86"/>
                  <a:pt x="509" y="81"/>
                  <a:pt x="511" y="74"/>
                </a:cubicBezTo>
                <a:cubicBezTo>
                  <a:pt x="514" y="68"/>
                  <a:pt x="515" y="60"/>
                  <a:pt x="515" y="51"/>
                </a:cubicBezTo>
                <a:cubicBezTo>
                  <a:pt x="515" y="42"/>
                  <a:pt x="514" y="35"/>
                  <a:pt x="511" y="29"/>
                </a:cubicBezTo>
                <a:cubicBezTo>
                  <a:pt x="507" y="20"/>
                  <a:pt x="501" y="13"/>
                  <a:pt x="497" y="9"/>
                </a:cubicBezTo>
                <a:cubicBezTo>
                  <a:pt x="492" y="4"/>
                  <a:pt x="489" y="2"/>
                  <a:pt x="488" y="2"/>
                </a:cubicBezTo>
                <a:cubicBezTo>
                  <a:pt x="486" y="0"/>
                  <a:pt x="483" y="0"/>
                  <a:pt x="480" y="0"/>
                </a:cubicBezTo>
                <a:cubicBezTo>
                  <a:pt x="17" y="0"/>
                  <a:pt x="17" y="0"/>
                  <a:pt x="17" y="0"/>
                </a:cubicBezTo>
                <a:cubicBezTo>
                  <a:pt x="11" y="0"/>
                  <a:pt x="5" y="3"/>
                  <a:pt x="3" y="9"/>
                </a:cubicBezTo>
                <a:cubicBezTo>
                  <a:pt x="1" y="15"/>
                  <a:pt x="3" y="21"/>
                  <a:pt x="7" y="25"/>
                </a:cubicBezTo>
                <a:cubicBezTo>
                  <a:pt x="7" y="25"/>
                  <a:pt x="7" y="25"/>
                  <a:pt x="7" y="25"/>
                </a:cubicBezTo>
                <a:cubicBezTo>
                  <a:pt x="7" y="25"/>
                  <a:pt x="7" y="25"/>
                  <a:pt x="7" y="25"/>
                </a:cubicBezTo>
                <a:cubicBezTo>
                  <a:pt x="8" y="26"/>
                  <a:pt x="11" y="29"/>
                  <a:pt x="13" y="33"/>
                </a:cubicBezTo>
                <a:cubicBezTo>
                  <a:pt x="15" y="37"/>
                  <a:pt x="16" y="43"/>
                  <a:pt x="16" y="50"/>
                </a:cubicBezTo>
                <a:cubicBezTo>
                  <a:pt x="16" y="61"/>
                  <a:pt x="13" y="67"/>
                  <a:pt x="11" y="71"/>
                </a:cubicBezTo>
                <a:cubicBezTo>
                  <a:pt x="10" y="73"/>
                  <a:pt x="8" y="74"/>
                  <a:pt x="8" y="75"/>
                </a:cubicBezTo>
                <a:cubicBezTo>
                  <a:pt x="7" y="75"/>
                  <a:pt x="7" y="75"/>
                  <a:pt x="7" y="75"/>
                </a:cubicBezTo>
                <a:cubicBezTo>
                  <a:pt x="7" y="75"/>
                  <a:pt x="7" y="75"/>
                  <a:pt x="7" y="75"/>
                </a:cubicBezTo>
                <a:cubicBezTo>
                  <a:pt x="2" y="79"/>
                  <a:pt x="0" y="86"/>
                  <a:pt x="1" y="92"/>
                </a:cubicBezTo>
                <a:cubicBezTo>
                  <a:pt x="3" y="98"/>
                  <a:pt x="9" y="102"/>
                  <a:pt x="15" y="102"/>
                </a:cubicBezTo>
                <a:cubicBezTo>
                  <a:pt x="44" y="102"/>
                  <a:pt x="44" y="102"/>
                  <a:pt x="44" y="102"/>
                </a:cubicBezTo>
                <a:cubicBezTo>
                  <a:pt x="44" y="288"/>
                  <a:pt x="44" y="288"/>
                  <a:pt x="44" y="288"/>
                </a:cubicBezTo>
                <a:cubicBezTo>
                  <a:pt x="44" y="443"/>
                  <a:pt x="44" y="443"/>
                  <a:pt x="44" y="443"/>
                </a:cubicBezTo>
                <a:cubicBezTo>
                  <a:pt x="44" y="447"/>
                  <a:pt x="45" y="451"/>
                  <a:pt x="48" y="453"/>
                </a:cubicBezTo>
                <a:cubicBezTo>
                  <a:pt x="51" y="456"/>
                  <a:pt x="55" y="458"/>
                  <a:pt x="58" y="458"/>
                </a:cubicBezTo>
                <a:cubicBezTo>
                  <a:pt x="419" y="458"/>
                  <a:pt x="419" y="458"/>
                  <a:pt x="419" y="458"/>
                </a:cubicBezTo>
                <a:cubicBezTo>
                  <a:pt x="424" y="458"/>
                  <a:pt x="428" y="455"/>
                  <a:pt x="431" y="452"/>
                </a:cubicBezTo>
                <a:cubicBezTo>
                  <a:pt x="434" y="448"/>
                  <a:pt x="435" y="443"/>
                  <a:pt x="433" y="439"/>
                </a:cubicBezTo>
                <a:cubicBezTo>
                  <a:pt x="414" y="377"/>
                  <a:pt x="414" y="377"/>
                  <a:pt x="414" y="377"/>
                </a:cubicBezTo>
                <a:cubicBezTo>
                  <a:pt x="412" y="371"/>
                  <a:pt x="407" y="367"/>
                  <a:pt x="400" y="367"/>
                </a:cubicBezTo>
                <a:cubicBezTo>
                  <a:pt x="134" y="367"/>
                  <a:pt x="134" y="367"/>
                  <a:pt x="134" y="367"/>
                </a:cubicBezTo>
                <a:cubicBezTo>
                  <a:pt x="125" y="335"/>
                  <a:pt x="125" y="335"/>
                  <a:pt x="125" y="335"/>
                </a:cubicBezTo>
                <a:cubicBezTo>
                  <a:pt x="419" y="335"/>
                  <a:pt x="419" y="335"/>
                  <a:pt x="419" y="335"/>
                </a:cubicBezTo>
                <a:cubicBezTo>
                  <a:pt x="424" y="335"/>
                  <a:pt x="428" y="333"/>
                  <a:pt x="431" y="329"/>
                </a:cubicBezTo>
                <a:cubicBezTo>
                  <a:pt x="434" y="325"/>
                  <a:pt x="434" y="321"/>
                  <a:pt x="433" y="316"/>
                </a:cubicBezTo>
                <a:cubicBezTo>
                  <a:pt x="413" y="257"/>
                  <a:pt x="413" y="257"/>
                  <a:pt x="413" y="257"/>
                </a:cubicBezTo>
                <a:cubicBezTo>
                  <a:pt x="411" y="251"/>
                  <a:pt x="406" y="247"/>
                  <a:pt x="399" y="247"/>
                </a:cubicBezTo>
                <a:cubicBezTo>
                  <a:pt x="134" y="247"/>
                  <a:pt x="134" y="247"/>
                  <a:pt x="134" y="247"/>
                </a:cubicBezTo>
                <a:cubicBezTo>
                  <a:pt x="126" y="218"/>
                  <a:pt x="126" y="218"/>
                  <a:pt x="126" y="218"/>
                </a:cubicBezTo>
                <a:cubicBezTo>
                  <a:pt x="419" y="218"/>
                  <a:pt x="419" y="218"/>
                  <a:pt x="419" y="218"/>
                </a:cubicBezTo>
                <a:cubicBezTo>
                  <a:pt x="424" y="218"/>
                  <a:pt x="428" y="216"/>
                  <a:pt x="431" y="213"/>
                </a:cubicBezTo>
                <a:cubicBezTo>
                  <a:pt x="434" y="209"/>
                  <a:pt x="435" y="204"/>
                  <a:pt x="433" y="200"/>
                </a:cubicBezTo>
                <a:cubicBezTo>
                  <a:pt x="417" y="142"/>
                  <a:pt x="417" y="142"/>
                  <a:pt x="417" y="142"/>
                </a:cubicBezTo>
                <a:cubicBezTo>
                  <a:pt x="415" y="136"/>
                  <a:pt x="409" y="131"/>
                  <a:pt x="403" y="131"/>
                </a:cubicBezTo>
                <a:cubicBezTo>
                  <a:pt x="132" y="131"/>
                  <a:pt x="132" y="131"/>
                  <a:pt x="132" y="131"/>
                </a:cubicBezTo>
                <a:cubicBezTo>
                  <a:pt x="124" y="102"/>
                  <a:pt x="124" y="102"/>
                  <a:pt x="124" y="102"/>
                </a:cubicBezTo>
                <a:cubicBezTo>
                  <a:pt x="429" y="102"/>
                  <a:pt x="429" y="102"/>
                  <a:pt x="429" y="102"/>
                </a:cubicBezTo>
                <a:cubicBezTo>
                  <a:pt x="437" y="102"/>
                  <a:pt x="443" y="96"/>
                  <a:pt x="443" y="88"/>
                </a:cubicBezTo>
                <a:cubicBezTo>
                  <a:pt x="443" y="80"/>
                  <a:pt x="437" y="73"/>
                  <a:pt x="429" y="73"/>
                </a:cubicBezTo>
                <a:cubicBezTo>
                  <a:pt x="105" y="73"/>
                  <a:pt x="105" y="73"/>
                  <a:pt x="105" y="73"/>
                </a:cubicBezTo>
                <a:cubicBezTo>
                  <a:pt x="100" y="73"/>
                  <a:pt x="96" y="75"/>
                  <a:pt x="93" y="79"/>
                </a:cubicBezTo>
                <a:cubicBezTo>
                  <a:pt x="91" y="82"/>
                  <a:pt x="90" y="87"/>
                  <a:pt x="91" y="91"/>
                </a:cubicBezTo>
                <a:cubicBezTo>
                  <a:pt x="107" y="150"/>
                  <a:pt x="107" y="150"/>
                  <a:pt x="107" y="150"/>
                </a:cubicBezTo>
                <a:cubicBezTo>
                  <a:pt x="108" y="156"/>
                  <a:pt x="114" y="160"/>
                  <a:pt x="121" y="160"/>
                </a:cubicBezTo>
                <a:cubicBezTo>
                  <a:pt x="392" y="160"/>
                  <a:pt x="392" y="160"/>
                  <a:pt x="392" y="160"/>
                </a:cubicBezTo>
                <a:cubicBezTo>
                  <a:pt x="400" y="189"/>
                  <a:pt x="400" y="189"/>
                  <a:pt x="400" y="189"/>
                </a:cubicBezTo>
                <a:cubicBezTo>
                  <a:pt x="107" y="189"/>
                  <a:pt x="107" y="189"/>
                  <a:pt x="107" y="189"/>
                </a:cubicBezTo>
                <a:cubicBezTo>
                  <a:pt x="103" y="189"/>
                  <a:pt x="98" y="191"/>
                  <a:pt x="95" y="195"/>
                </a:cubicBezTo>
                <a:cubicBezTo>
                  <a:pt x="93" y="199"/>
                  <a:pt x="92" y="203"/>
                  <a:pt x="93" y="208"/>
                </a:cubicBezTo>
                <a:cubicBezTo>
                  <a:pt x="109" y="266"/>
                  <a:pt x="109" y="266"/>
                  <a:pt x="109" y="266"/>
                </a:cubicBezTo>
                <a:cubicBezTo>
                  <a:pt x="111" y="272"/>
                  <a:pt x="116" y="276"/>
                  <a:pt x="123" y="276"/>
                </a:cubicBezTo>
                <a:cubicBezTo>
                  <a:pt x="389" y="276"/>
                  <a:pt x="389" y="276"/>
                  <a:pt x="389" y="276"/>
                </a:cubicBezTo>
                <a:cubicBezTo>
                  <a:pt x="399" y="306"/>
                  <a:pt x="399" y="306"/>
                  <a:pt x="399" y="306"/>
                </a:cubicBezTo>
                <a:cubicBezTo>
                  <a:pt x="106" y="306"/>
                  <a:pt x="106" y="306"/>
                  <a:pt x="106" y="306"/>
                </a:cubicBezTo>
                <a:cubicBezTo>
                  <a:pt x="102" y="306"/>
                  <a:pt x="97" y="308"/>
                  <a:pt x="95" y="312"/>
                </a:cubicBezTo>
                <a:cubicBezTo>
                  <a:pt x="92" y="316"/>
                  <a:pt x="91" y="320"/>
                  <a:pt x="92" y="325"/>
                </a:cubicBezTo>
                <a:cubicBezTo>
                  <a:pt x="109" y="385"/>
                  <a:pt x="109" y="385"/>
                  <a:pt x="109" y="385"/>
                </a:cubicBezTo>
                <a:cubicBezTo>
                  <a:pt x="111" y="392"/>
                  <a:pt x="116" y="396"/>
                  <a:pt x="123" y="396"/>
                </a:cubicBezTo>
                <a:cubicBezTo>
                  <a:pt x="389" y="396"/>
                  <a:pt x="389" y="396"/>
                  <a:pt x="389" y="396"/>
                </a:cubicBezTo>
                <a:cubicBezTo>
                  <a:pt x="400" y="428"/>
                  <a:pt x="400" y="428"/>
                  <a:pt x="400" y="428"/>
                </a:cubicBezTo>
                <a:cubicBezTo>
                  <a:pt x="73" y="428"/>
                  <a:pt x="73" y="428"/>
                  <a:pt x="73" y="428"/>
                </a:cubicBezTo>
                <a:cubicBezTo>
                  <a:pt x="73" y="288"/>
                  <a:pt x="73" y="288"/>
                  <a:pt x="73" y="288"/>
                </a:cubicBezTo>
                <a:cubicBezTo>
                  <a:pt x="73" y="87"/>
                  <a:pt x="73" y="87"/>
                  <a:pt x="73" y="87"/>
                </a:cubicBezTo>
                <a:cubicBezTo>
                  <a:pt x="73" y="84"/>
                  <a:pt x="71" y="80"/>
                  <a:pt x="69" y="77"/>
                </a:cubicBezTo>
                <a:cubicBezTo>
                  <a:pt x="66" y="74"/>
                  <a:pt x="62" y="73"/>
                  <a:pt x="58" y="73"/>
                </a:cubicBezTo>
                <a:cubicBezTo>
                  <a:pt x="42" y="73"/>
                  <a:pt x="42" y="73"/>
                  <a:pt x="42" y="73"/>
                </a:cubicBezTo>
                <a:cubicBezTo>
                  <a:pt x="44" y="66"/>
                  <a:pt x="46" y="59"/>
                  <a:pt x="46" y="50"/>
                </a:cubicBezTo>
                <a:cubicBezTo>
                  <a:pt x="46" y="42"/>
                  <a:pt x="44" y="35"/>
                  <a:pt x="42" y="29"/>
                </a:cubicBezTo>
                <a:cubicBezTo>
                  <a:pt x="475" y="29"/>
                  <a:pt x="475" y="29"/>
                  <a:pt x="475" y="29"/>
                </a:cubicBezTo>
                <a:cubicBezTo>
                  <a:pt x="477" y="30"/>
                  <a:pt x="478" y="31"/>
                  <a:pt x="480" y="34"/>
                </a:cubicBezTo>
                <a:cubicBezTo>
                  <a:pt x="482" y="36"/>
                  <a:pt x="483" y="38"/>
                  <a:pt x="484" y="41"/>
                </a:cubicBezTo>
                <a:cubicBezTo>
                  <a:pt x="486" y="44"/>
                  <a:pt x="486" y="47"/>
                  <a:pt x="486" y="51"/>
                </a:cubicBezTo>
                <a:cubicBezTo>
                  <a:pt x="486" y="56"/>
                  <a:pt x="485" y="61"/>
                  <a:pt x="484" y="64"/>
                </a:cubicBezTo>
                <a:cubicBezTo>
                  <a:pt x="482" y="68"/>
                  <a:pt x="480" y="71"/>
                  <a:pt x="478" y="72"/>
                </a:cubicBezTo>
                <a:cubicBezTo>
                  <a:pt x="477" y="73"/>
                  <a:pt x="476" y="74"/>
                  <a:pt x="476" y="74"/>
                </a:cubicBezTo>
                <a:cubicBezTo>
                  <a:pt x="476" y="74"/>
                  <a:pt x="476" y="74"/>
                  <a:pt x="476" y="74"/>
                </a:cubicBezTo>
                <a:cubicBezTo>
                  <a:pt x="470" y="76"/>
                  <a:pt x="466" y="82"/>
                  <a:pt x="466" y="88"/>
                </a:cubicBezTo>
                <a:cubicBezTo>
                  <a:pt x="466" y="495"/>
                  <a:pt x="466" y="495"/>
                  <a:pt x="466" y="495"/>
                </a:cubicBezTo>
                <a:cubicBezTo>
                  <a:pt x="466" y="495"/>
                  <a:pt x="466" y="495"/>
                  <a:pt x="466" y="495"/>
                </a:cubicBezTo>
                <a:cubicBezTo>
                  <a:pt x="466" y="513"/>
                  <a:pt x="466" y="513"/>
                  <a:pt x="466" y="513"/>
                </a:cubicBezTo>
                <a:cubicBezTo>
                  <a:pt x="453" y="500"/>
                  <a:pt x="453" y="500"/>
                  <a:pt x="453" y="500"/>
                </a:cubicBezTo>
                <a:cubicBezTo>
                  <a:pt x="448" y="494"/>
                  <a:pt x="439" y="494"/>
                  <a:pt x="434" y="500"/>
                </a:cubicBezTo>
                <a:cubicBezTo>
                  <a:pt x="428" y="505"/>
                  <a:pt x="428" y="514"/>
                  <a:pt x="434" y="519"/>
                </a:cubicBezTo>
                <a:cubicBezTo>
                  <a:pt x="469" y="555"/>
                  <a:pt x="469" y="555"/>
                  <a:pt x="469" y="555"/>
                </a:cubicBezTo>
                <a:cubicBezTo>
                  <a:pt x="469" y="555"/>
                  <a:pt x="469" y="555"/>
                  <a:pt x="469" y="555"/>
                </a:cubicBezTo>
                <a:cubicBezTo>
                  <a:pt x="471" y="557"/>
                  <a:pt x="471" y="557"/>
                  <a:pt x="471" y="557"/>
                </a:cubicBezTo>
                <a:cubicBezTo>
                  <a:pt x="474" y="560"/>
                  <a:pt x="478" y="561"/>
                  <a:pt x="481" y="561"/>
                </a:cubicBezTo>
                <a:cubicBezTo>
                  <a:pt x="485" y="561"/>
                  <a:pt x="488" y="560"/>
                  <a:pt x="491" y="557"/>
                </a:cubicBezTo>
                <a:cubicBezTo>
                  <a:pt x="493" y="555"/>
                  <a:pt x="493" y="555"/>
                  <a:pt x="493" y="555"/>
                </a:cubicBezTo>
                <a:cubicBezTo>
                  <a:pt x="493" y="555"/>
                  <a:pt x="493" y="555"/>
                  <a:pt x="493" y="555"/>
                </a:cubicBezTo>
                <a:cubicBezTo>
                  <a:pt x="529" y="519"/>
                  <a:pt x="529" y="519"/>
                  <a:pt x="529" y="519"/>
                </a:cubicBezTo>
                <a:cubicBezTo>
                  <a:pt x="534" y="514"/>
                  <a:pt x="534" y="505"/>
                  <a:pt x="529" y="50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5" name="Freeform 312"/>
          <p:cNvSpPr>
            <a:spLocks/>
          </p:cNvSpPr>
          <p:nvPr userDrawn="1"/>
        </p:nvSpPr>
        <p:spPr bwMode="auto">
          <a:xfrm>
            <a:off x="3341465" y="3325631"/>
            <a:ext cx="341799" cy="340519"/>
          </a:xfrm>
          <a:custGeom>
            <a:avLst/>
            <a:gdLst/>
            <a:ahLst/>
            <a:cxnLst>
              <a:cxn ang="0">
                <a:pos x="398" y="125"/>
              </a:cxn>
              <a:cxn ang="0">
                <a:pos x="277" y="4"/>
              </a:cxn>
              <a:cxn ang="0">
                <a:pos x="268" y="0"/>
              </a:cxn>
              <a:cxn ang="0">
                <a:pos x="259" y="4"/>
              </a:cxn>
              <a:cxn ang="0">
                <a:pos x="171" y="92"/>
              </a:cxn>
              <a:cxn ang="0">
                <a:pos x="171" y="111"/>
              </a:cxn>
              <a:cxn ang="0">
                <a:pos x="189" y="111"/>
              </a:cxn>
              <a:cxn ang="0">
                <a:pos x="268" y="32"/>
              </a:cxn>
              <a:cxn ang="0">
                <a:pos x="370" y="134"/>
              </a:cxn>
              <a:cxn ang="0">
                <a:pos x="293" y="212"/>
              </a:cxn>
              <a:cxn ang="0">
                <a:pos x="271" y="202"/>
              </a:cxn>
              <a:cxn ang="0">
                <a:pos x="254" y="205"/>
              </a:cxn>
              <a:cxn ang="0">
                <a:pos x="253" y="207"/>
              </a:cxn>
              <a:cxn ang="0">
                <a:pos x="153" y="326"/>
              </a:cxn>
              <a:cxn ang="0">
                <a:pos x="122" y="333"/>
              </a:cxn>
              <a:cxn ang="0">
                <a:pos x="97" y="337"/>
              </a:cxn>
              <a:cxn ang="0">
                <a:pos x="82" y="341"/>
              </a:cxn>
              <a:cxn ang="0">
                <a:pos x="152" y="270"/>
              </a:cxn>
              <a:cxn ang="0">
                <a:pos x="152" y="251"/>
              </a:cxn>
              <a:cxn ang="0">
                <a:pos x="133" y="251"/>
              </a:cxn>
              <a:cxn ang="0">
                <a:pos x="62" y="323"/>
              </a:cxn>
              <a:cxn ang="0">
                <a:pos x="66" y="306"/>
              </a:cxn>
              <a:cxn ang="0">
                <a:pos x="70" y="281"/>
              </a:cxn>
              <a:cxn ang="0">
                <a:pos x="77" y="250"/>
              </a:cxn>
              <a:cxn ang="0">
                <a:pos x="197" y="151"/>
              </a:cxn>
              <a:cxn ang="0">
                <a:pos x="201" y="140"/>
              </a:cxn>
              <a:cxn ang="0">
                <a:pos x="198" y="132"/>
              </a:cxn>
              <a:cxn ang="0">
                <a:pos x="180" y="130"/>
              </a:cxn>
              <a:cxn ang="0">
                <a:pos x="59" y="230"/>
              </a:cxn>
              <a:cxn ang="0">
                <a:pos x="44" y="277"/>
              </a:cxn>
              <a:cxn ang="0">
                <a:pos x="40" y="301"/>
              </a:cxn>
              <a:cxn ang="0">
                <a:pos x="7" y="371"/>
              </a:cxn>
              <a:cxn ang="0">
                <a:pos x="6" y="372"/>
              </a:cxn>
              <a:cxn ang="0">
                <a:pos x="8" y="395"/>
              </a:cxn>
              <a:cxn ang="0">
                <a:pos x="31" y="397"/>
              </a:cxn>
              <a:cxn ang="0">
                <a:pos x="32" y="396"/>
              </a:cxn>
              <a:cxn ang="0">
                <a:pos x="102" y="363"/>
              </a:cxn>
              <a:cxn ang="0">
                <a:pos x="126" y="359"/>
              </a:cxn>
              <a:cxn ang="0">
                <a:pos x="173" y="344"/>
              </a:cxn>
              <a:cxn ang="0">
                <a:pos x="267" y="231"/>
              </a:cxn>
              <a:cxn ang="0">
                <a:pos x="310" y="232"/>
              </a:cxn>
              <a:cxn ang="0">
                <a:pos x="398" y="144"/>
              </a:cxn>
              <a:cxn ang="0">
                <a:pos x="398" y="125"/>
              </a:cxn>
            </a:cxnLst>
            <a:rect l="0" t="0" r="r" b="b"/>
            <a:pathLst>
              <a:path w="404" h="403">
                <a:moveTo>
                  <a:pt x="398" y="125"/>
                </a:moveTo>
                <a:cubicBezTo>
                  <a:pt x="277" y="4"/>
                  <a:pt x="277" y="4"/>
                  <a:pt x="277" y="4"/>
                </a:cubicBezTo>
                <a:cubicBezTo>
                  <a:pt x="275" y="1"/>
                  <a:pt x="272" y="0"/>
                  <a:pt x="268" y="0"/>
                </a:cubicBezTo>
                <a:cubicBezTo>
                  <a:pt x="264" y="0"/>
                  <a:pt x="261" y="1"/>
                  <a:pt x="259" y="4"/>
                </a:cubicBezTo>
                <a:cubicBezTo>
                  <a:pt x="171" y="92"/>
                  <a:pt x="171" y="92"/>
                  <a:pt x="171" y="92"/>
                </a:cubicBezTo>
                <a:cubicBezTo>
                  <a:pt x="165" y="97"/>
                  <a:pt x="165" y="105"/>
                  <a:pt x="171" y="111"/>
                </a:cubicBezTo>
                <a:cubicBezTo>
                  <a:pt x="176" y="116"/>
                  <a:pt x="184" y="116"/>
                  <a:pt x="189" y="111"/>
                </a:cubicBezTo>
                <a:cubicBezTo>
                  <a:pt x="189" y="111"/>
                  <a:pt x="253" y="47"/>
                  <a:pt x="268" y="32"/>
                </a:cubicBezTo>
                <a:cubicBezTo>
                  <a:pt x="283" y="47"/>
                  <a:pt x="355" y="120"/>
                  <a:pt x="370" y="134"/>
                </a:cubicBezTo>
                <a:cubicBezTo>
                  <a:pt x="355" y="149"/>
                  <a:pt x="295" y="209"/>
                  <a:pt x="293" y="212"/>
                </a:cubicBezTo>
                <a:cubicBezTo>
                  <a:pt x="290" y="211"/>
                  <a:pt x="283" y="210"/>
                  <a:pt x="271" y="202"/>
                </a:cubicBezTo>
                <a:cubicBezTo>
                  <a:pt x="265" y="199"/>
                  <a:pt x="258" y="200"/>
                  <a:pt x="254" y="205"/>
                </a:cubicBezTo>
                <a:cubicBezTo>
                  <a:pt x="253" y="207"/>
                  <a:pt x="253" y="207"/>
                  <a:pt x="253" y="207"/>
                </a:cubicBezTo>
                <a:cubicBezTo>
                  <a:pt x="220" y="246"/>
                  <a:pt x="159" y="320"/>
                  <a:pt x="153" y="326"/>
                </a:cubicBezTo>
                <a:cubicBezTo>
                  <a:pt x="151" y="328"/>
                  <a:pt x="137" y="330"/>
                  <a:pt x="122" y="333"/>
                </a:cubicBezTo>
                <a:cubicBezTo>
                  <a:pt x="97" y="337"/>
                  <a:pt x="97" y="337"/>
                  <a:pt x="97" y="337"/>
                </a:cubicBezTo>
                <a:cubicBezTo>
                  <a:pt x="92" y="338"/>
                  <a:pt x="87" y="339"/>
                  <a:pt x="82" y="341"/>
                </a:cubicBezTo>
                <a:cubicBezTo>
                  <a:pt x="152" y="270"/>
                  <a:pt x="152" y="270"/>
                  <a:pt x="152" y="270"/>
                </a:cubicBezTo>
                <a:cubicBezTo>
                  <a:pt x="157" y="265"/>
                  <a:pt x="157" y="257"/>
                  <a:pt x="152" y="251"/>
                </a:cubicBezTo>
                <a:cubicBezTo>
                  <a:pt x="147" y="246"/>
                  <a:pt x="139" y="246"/>
                  <a:pt x="133" y="251"/>
                </a:cubicBezTo>
                <a:cubicBezTo>
                  <a:pt x="62" y="323"/>
                  <a:pt x="62" y="323"/>
                  <a:pt x="62" y="323"/>
                </a:cubicBezTo>
                <a:cubicBezTo>
                  <a:pt x="64" y="317"/>
                  <a:pt x="65" y="312"/>
                  <a:pt x="66" y="306"/>
                </a:cubicBezTo>
                <a:cubicBezTo>
                  <a:pt x="70" y="281"/>
                  <a:pt x="70" y="281"/>
                  <a:pt x="70" y="281"/>
                </a:cubicBezTo>
                <a:cubicBezTo>
                  <a:pt x="73" y="266"/>
                  <a:pt x="75" y="253"/>
                  <a:pt x="77" y="250"/>
                </a:cubicBezTo>
                <a:cubicBezTo>
                  <a:pt x="83" y="245"/>
                  <a:pt x="158" y="183"/>
                  <a:pt x="197" y="151"/>
                </a:cubicBezTo>
                <a:cubicBezTo>
                  <a:pt x="200" y="148"/>
                  <a:pt x="201" y="144"/>
                  <a:pt x="201" y="140"/>
                </a:cubicBezTo>
                <a:cubicBezTo>
                  <a:pt x="201" y="137"/>
                  <a:pt x="200" y="134"/>
                  <a:pt x="198" y="132"/>
                </a:cubicBezTo>
                <a:cubicBezTo>
                  <a:pt x="194" y="126"/>
                  <a:pt x="185" y="125"/>
                  <a:pt x="180" y="130"/>
                </a:cubicBezTo>
                <a:cubicBezTo>
                  <a:pt x="175" y="134"/>
                  <a:pt x="66" y="224"/>
                  <a:pt x="59" y="230"/>
                </a:cubicBezTo>
                <a:cubicBezTo>
                  <a:pt x="50" y="238"/>
                  <a:pt x="49" y="248"/>
                  <a:pt x="44" y="277"/>
                </a:cubicBezTo>
                <a:cubicBezTo>
                  <a:pt x="40" y="301"/>
                  <a:pt x="40" y="301"/>
                  <a:pt x="40" y="301"/>
                </a:cubicBezTo>
                <a:cubicBezTo>
                  <a:pt x="33" y="341"/>
                  <a:pt x="7" y="371"/>
                  <a:pt x="7" y="371"/>
                </a:cubicBezTo>
                <a:cubicBezTo>
                  <a:pt x="6" y="371"/>
                  <a:pt x="6" y="372"/>
                  <a:pt x="6" y="372"/>
                </a:cubicBezTo>
                <a:cubicBezTo>
                  <a:pt x="2" y="378"/>
                  <a:pt x="0" y="388"/>
                  <a:pt x="8" y="395"/>
                </a:cubicBezTo>
                <a:cubicBezTo>
                  <a:pt x="15" y="403"/>
                  <a:pt x="25" y="402"/>
                  <a:pt x="31" y="397"/>
                </a:cubicBezTo>
                <a:cubicBezTo>
                  <a:pt x="31" y="397"/>
                  <a:pt x="32" y="397"/>
                  <a:pt x="32" y="396"/>
                </a:cubicBezTo>
                <a:cubicBezTo>
                  <a:pt x="33" y="396"/>
                  <a:pt x="63" y="370"/>
                  <a:pt x="102" y="363"/>
                </a:cubicBezTo>
                <a:cubicBezTo>
                  <a:pt x="102" y="363"/>
                  <a:pt x="126" y="359"/>
                  <a:pt x="126" y="359"/>
                </a:cubicBezTo>
                <a:cubicBezTo>
                  <a:pt x="155" y="354"/>
                  <a:pt x="166" y="353"/>
                  <a:pt x="173" y="344"/>
                </a:cubicBezTo>
                <a:cubicBezTo>
                  <a:pt x="178" y="338"/>
                  <a:pt x="246" y="256"/>
                  <a:pt x="267" y="231"/>
                </a:cubicBezTo>
                <a:cubicBezTo>
                  <a:pt x="287" y="240"/>
                  <a:pt x="301" y="241"/>
                  <a:pt x="310" y="232"/>
                </a:cubicBezTo>
                <a:cubicBezTo>
                  <a:pt x="398" y="144"/>
                  <a:pt x="398" y="144"/>
                  <a:pt x="398" y="144"/>
                </a:cubicBezTo>
                <a:cubicBezTo>
                  <a:pt x="404" y="138"/>
                  <a:pt x="404" y="130"/>
                  <a:pt x="398" y="12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6" name="Freeform 333"/>
          <p:cNvSpPr>
            <a:spLocks/>
          </p:cNvSpPr>
          <p:nvPr userDrawn="1"/>
        </p:nvSpPr>
        <p:spPr bwMode="auto">
          <a:xfrm>
            <a:off x="3336701" y="2259887"/>
            <a:ext cx="351326" cy="352425"/>
          </a:xfrm>
          <a:custGeom>
            <a:avLst/>
            <a:gdLst/>
            <a:ahLst/>
            <a:cxnLst>
              <a:cxn ang="0">
                <a:pos x="264" y="362"/>
              </a:cxn>
              <a:cxn ang="0">
                <a:pos x="166" y="362"/>
              </a:cxn>
              <a:cxn ang="0">
                <a:pos x="166" y="416"/>
              </a:cxn>
              <a:cxn ang="0">
                <a:pos x="415" y="416"/>
              </a:cxn>
              <a:cxn ang="0">
                <a:pos x="414" y="362"/>
              </a:cxn>
              <a:cxn ang="0">
                <a:pos x="318" y="362"/>
              </a:cxn>
              <a:cxn ang="0">
                <a:pos x="393" y="228"/>
              </a:cxn>
              <a:cxn ang="0">
                <a:pos x="282" y="66"/>
              </a:cxn>
              <a:cxn ang="0">
                <a:pos x="204" y="95"/>
              </a:cxn>
              <a:cxn ang="0">
                <a:pos x="184" y="67"/>
              </a:cxn>
              <a:cxn ang="0">
                <a:pos x="203" y="27"/>
              </a:cxn>
              <a:cxn ang="0">
                <a:pos x="149" y="0"/>
              </a:cxn>
              <a:cxn ang="0">
                <a:pos x="124" y="44"/>
              </a:cxn>
              <a:cxn ang="0">
                <a:pos x="1" y="123"/>
              </a:cxn>
              <a:cxn ang="0">
                <a:pos x="0" y="157"/>
              </a:cxn>
              <a:cxn ang="0">
                <a:pos x="199" y="228"/>
              </a:cxn>
              <a:cxn ang="0">
                <a:pos x="217" y="198"/>
              </a:cxn>
              <a:cxn ang="0">
                <a:pos x="215" y="135"/>
              </a:cxn>
            </a:cxnLst>
            <a:rect l="0" t="0" r="r" b="b"/>
            <a:pathLst>
              <a:path w="415" h="416">
                <a:moveTo>
                  <a:pt x="264" y="362"/>
                </a:moveTo>
                <a:cubicBezTo>
                  <a:pt x="166" y="362"/>
                  <a:pt x="166" y="362"/>
                  <a:pt x="166" y="362"/>
                </a:cubicBezTo>
                <a:cubicBezTo>
                  <a:pt x="166" y="416"/>
                  <a:pt x="166" y="416"/>
                  <a:pt x="166" y="416"/>
                </a:cubicBezTo>
                <a:cubicBezTo>
                  <a:pt x="415" y="416"/>
                  <a:pt x="415" y="416"/>
                  <a:pt x="415" y="416"/>
                </a:cubicBezTo>
                <a:cubicBezTo>
                  <a:pt x="414" y="362"/>
                  <a:pt x="414" y="362"/>
                  <a:pt x="414" y="362"/>
                </a:cubicBezTo>
                <a:cubicBezTo>
                  <a:pt x="318" y="362"/>
                  <a:pt x="318" y="362"/>
                  <a:pt x="318" y="362"/>
                </a:cubicBezTo>
                <a:cubicBezTo>
                  <a:pt x="393" y="228"/>
                  <a:pt x="393" y="228"/>
                  <a:pt x="393" y="228"/>
                </a:cubicBezTo>
                <a:cubicBezTo>
                  <a:pt x="282" y="66"/>
                  <a:pt x="282" y="66"/>
                  <a:pt x="282" y="66"/>
                </a:cubicBezTo>
                <a:cubicBezTo>
                  <a:pt x="204" y="95"/>
                  <a:pt x="204" y="95"/>
                  <a:pt x="204" y="95"/>
                </a:cubicBezTo>
                <a:cubicBezTo>
                  <a:pt x="204" y="95"/>
                  <a:pt x="196" y="81"/>
                  <a:pt x="184" y="67"/>
                </a:cubicBezTo>
                <a:cubicBezTo>
                  <a:pt x="183" y="67"/>
                  <a:pt x="203" y="27"/>
                  <a:pt x="203" y="27"/>
                </a:cubicBezTo>
                <a:cubicBezTo>
                  <a:pt x="149" y="0"/>
                  <a:pt x="149" y="0"/>
                  <a:pt x="149" y="0"/>
                </a:cubicBezTo>
                <a:cubicBezTo>
                  <a:pt x="137" y="18"/>
                  <a:pt x="142" y="15"/>
                  <a:pt x="124" y="44"/>
                </a:cubicBezTo>
                <a:cubicBezTo>
                  <a:pt x="19" y="46"/>
                  <a:pt x="1" y="123"/>
                  <a:pt x="1" y="123"/>
                </a:cubicBezTo>
                <a:cubicBezTo>
                  <a:pt x="0" y="157"/>
                  <a:pt x="0" y="157"/>
                  <a:pt x="0" y="157"/>
                </a:cubicBezTo>
                <a:cubicBezTo>
                  <a:pt x="199" y="228"/>
                  <a:pt x="199" y="228"/>
                  <a:pt x="199" y="228"/>
                </a:cubicBezTo>
                <a:cubicBezTo>
                  <a:pt x="217" y="198"/>
                  <a:pt x="217" y="198"/>
                  <a:pt x="217" y="198"/>
                </a:cubicBezTo>
                <a:cubicBezTo>
                  <a:pt x="217" y="198"/>
                  <a:pt x="229" y="162"/>
                  <a:pt x="215" y="135"/>
                </a:cubicBezTo>
              </a:path>
            </a:pathLst>
          </a:custGeom>
          <a:noFill/>
          <a:ln w="28575" cap="rnd">
            <a:solidFill>
              <a:srgbClr val="FFFFFF"/>
            </a:solidFill>
            <a:prstDash val="solid"/>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7" name="Freeform 361"/>
          <p:cNvSpPr>
            <a:spLocks noEditPoints="1"/>
          </p:cNvSpPr>
          <p:nvPr userDrawn="1"/>
        </p:nvSpPr>
        <p:spPr bwMode="auto">
          <a:xfrm>
            <a:off x="3436740" y="1309617"/>
            <a:ext cx="151249" cy="386953"/>
          </a:xfrm>
          <a:custGeom>
            <a:avLst/>
            <a:gdLst/>
            <a:ahLst/>
            <a:cxnLst>
              <a:cxn ang="0">
                <a:pos x="67" y="6"/>
              </a:cxn>
              <a:cxn ang="0">
                <a:pos x="54" y="26"/>
              </a:cxn>
              <a:cxn ang="0">
                <a:pos x="67" y="40"/>
              </a:cxn>
              <a:cxn ang="0">
                <a:pos x="80" y="29"/>
              </a:cxn>
              <a:cxn ang="0">
                <a:pos x="90" y="27"/>
              </a:cxn>
              <a:cxn ang="0">
                <a:pos x="99" y="29"/>
              </a:cxn>
              <a:cxn ang="0">
                <a:pos x="99" y="71"/>
              </a:cxn>
              <a:cxn ang="0">
                <a:pos x="109" y="84"/>
              </a:cxn>
              <a:cxn ang="0">
                <a:pos x="152" y="127"/>
              </a:cxn>
              <a:cxn ang="0">
                <a:pos x="152" y="407"/>
              </a:cxn>
              <a:cxn ang="0">
                <a:pos x="136" y="424"/>
              </a:cxn>
              <a:cxn ang="0">
                <a:pos x="90" y="432"/>
              </a:cxn>
              <a:cxn ang="0">
                <a:pos x="43" y="424"/>
              </a:cxn>
              <a:cxn ang="0">
                <a:pos x="28" y="407"/>
              </a:cxn>
              <a:cxn ang="0">
                <a:pos x="27" y="127"/>
              </a:cxn>
              <a:cxn ang="0">
                <a:pos x="70" y="85"/>
              </a:cxn>
              <a:cxn ang="0">
                <a:pos x="80" y="69"/>
              </a:cxn>
              <a:cxn ang="0">
                <a:pos x="64" y="59"/>
              </a:cxn>
              <a:cxn ang="0">
                <a:pos x="0" y="127"/>
              </a:cxn>
              <a:cxn ang="0">
                <a:pos x="1" y="407"/>
              </a:cxn>
              <a:cxn ang="0">
                <a:pos x="90" y="459"/>
              </a:cxn>
              <a:cxn ang="0">
                <a:pos x="147" y="448"/>
              </a:cxn>
              <a:cxn ang="0">
                <a:pos x="178" y="407"/>
              </a:cxn>
              <a:cxn ang="0">
                <a:pos x="178" y="127"/>
              </a:cxn>
              <a:cxn ang="0">
                <a:pos x="126" y="61"/>
              </a:cxn>
              <a:cxn ang="0">
                <a:pos x="126" y="26"/>
              </a:cxn>
              <a:cxn ang="0">
                <a:pos x="90" y="0"/>
              </a:cxn>
              <a:cxn ang="0">
                <a:pos x="67" y="6"/>
              </a:cxn>
              <a:cxn ang="0">
                <a:pos x="80" y="26"/>
              </a:cxn>
              <a:cxn ang="0">
                <a:pos x="80" y="28"/>
              </a:cxn>
              <a:cxn ang="0">
                <a:pos x="80" y="26"/>
              </a:cxn>
            </a:cxnLst>
            <a:rect l="0" t="0" r="r" b="b"/>
            <a:pathLst>
              <a:path w="178" h="459">
                <a:moveTo>
                  <a:pt x="67" y="6"/>
                </a:moveTo>
                <a:cubicBezTo>
                  <a:pt x="59" y="11"/>
                  <a:pt x="54" y="18"/>
                  <a:pt x="54" y="26"/>
                </a:cubicBezTo>
                <a:cubicBezTo>
                  <a:pt x="54" y="34"/>
                  <a:pt x="60" y="40"/>
                  <a:pt x="67" y="40"/>
                </a:cubicBezTo>
                <a:cubicBezTo>
                  <a:pt x="74" y="40"/>
                  <a:pt x="79" y="35"/>
                  <a:pt x="80" y="29"/>
                </a:cubicBezTo>
                <a:cubicBezTo>
                  <a:pt x="81" y="28"/>
                  <a:pt x="85" y="27"/>
                  <a:pt x="90" y="27"/>
                </a:cubicBezTo>
                <a:cubicBezTo>
                  <a:pt x="94" y="27"/>
                  <a:pt x="98" y="28"/>
                  <a:pt x="99" y="29"/>
                </a:cubicBezTo>
                <a:cubicBezTo>
                  <a:pt x="99" y="33"/>
                  <a:pt x="99" y="71"/>
                  <a:pt x="99" y="71"/>
                </a:cubicBezTo>
                <a:cubicBezTo>
                  <a:pt x="99" y="77"/>
                  <a:pt x="103" y="82"/>
                  <a:pt x="109" y="84"/>
                </a:cubicBezTo>
                <a:cubicBezTo>
                  <a:pt x="111" y="84"/>
                  <a:pt x="152" y="95"/>
                  <a:pt x="152" y="127"/>
                </a:cubicBezTo>
                <a:cubicBezTo>
                  <a:pt x="152" y="407"/>
                  <a:pt x="152" y="407"/>
                  <a:pt x="152" y="407"/>
                </a:cubicBezTo>
                <a:cubicBezTo>
                  <a:pt x="152" y="409"/>
                  <a:pt x="152" y="417"/>
                  <a:pt x="136" y="424"/>
                </a:cubicBezTo>
                <a:cubicBezTo>
                  <a:pt x="125" y="429"/>
                  <a:pt x="108" y="432"/>
                  <a:pt x="90" y="432"/>
                </a:cubicBezTo>
                <a:cubicBezTo>
                  <a:pt x="71" y="432"/>
                  <a:pt x="55" y="429"/>
                  <a:pt x="43" y="424"/>
                </a:cubicBezTo>
                <a:cubicBezTo>
                  <a:pt x="28" y="417"/>
                  <a:pt x="28" y="409"/>
                  <a:pt x="28" y="407"/>
                </a:cubicBezTo>
                <a:cubicBezTo>
                  <a:pt x="27" y="127"/>
                  <a:pt x="27" y="127"/>
                  <a:pt x="27" y="127"/>
                </a:cubicBezTo>
                <a:cubicBezTo>
                  <a:pt x="27" y="95"/>
                  <a:pt x="68" y="85"/>
                  <a:pt x="70" y="85"/>
                </a:cubicBezTo>
                <a:cubicBezTo>
                  <a:pt x="77" y="83"/>
                  <a:pt x="82" y="76"/>
                  <a:pt x="80" y="69"/>
                </a:cubicBezTo>
                <a:cubicBezTo>
                  <a:pt x="79" y="62"/>
                  <a:pt x="72" y="57"/>
                  <a:pt x="64" y="59"/>
                </a:cubicBezTo>
                <a:cubicBezTo>
                  <a:pt x="62" y="59"/>
                  <a:pt x="0" y="73"/>
                  <a:pt x="0" y="127"/>
                </a:cubicBezTo>
                <a:cubicBezTo>
                  <a:pt x="1" y="407"/>
                  <a:pt x="1" y="407"/>
                  <a:pt x="1" y="407"/>
                </a:cubicBezTo>
                <a:cubicBezTo>
                  <a:pt x="1" y="439"/>
                  <a:pt x="35" y="459"/>
                  <a:pt x="90" y="459"/>
                </a:cubicBezTo>
                <a:cubicBezTo>
                  <a:pt x="106" y="459"/>
                  <a:pt x="128" y="457"/>
                  <a:pt x="147" y="448"/>
                </a:cubicBezTo>
                <a:cubicBezTo>
                  <a:pt x="167" y="439"/>
                  <a:pt x="178" y="424"/>
                  <a:pt x="178" y="407"/>
                </a:cubicBezTo>
                <a:cubicBezTo>
                  <a:pt x="178" y="127"/>
                  <a:pt x="178" y="127"/>
                  <a:pt x="178" y="127"/>
                </a:cubicBezTo>
                <a:cubicBezTo>
                  <a:pt x="178" y="86"/>
                  <a:pt x="143" y="68"/>
                  <a:pt x="126" y="61"/>
                </a:cubicBezTo>
                <a:cubicBezTo>
                  <a:pt x="126" y="49"/>
                  <a:pt x="126" y="26"/>
                  <a:pt x="126" y="26"/>
                </a:cubicBezTo>
                <a:cubicBezTo>
                  <a:pt x="126" y="11"/>
                  <a:pt x="110" y="0"/>
                  <a:pt x="90" y="0"/>
                </a:cubicBezTo>
                <a:cubicBezTo>
                  <a:pt x="81" y="0"/>
                  <a:pt x="73" y="2"/>
                  <a:pt x="67" y="6"/>
                </a:cubicBezTo>
                <a:close/>
                <a:moveTo>
                  <a:pt x="80" y="26"/>
                </a:moveTo>
                <a:cubicBezTo>
                  <a:pt x="80" y="27"/>
                  <a:pt x="80" y="27"/>
                  <a:pt x="80" y="28"/>
                </a:cubicBezTo>
                <a:cubicBezTo>
                  <a:pt x="80" y="27"/>
                  <a:pt x="80" y="27"/>
                  <a:pt x="80" y="2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8" name="Freeform 377"/>
          <p:cNvSpPr>
            <a:spLocks/>
          </p:cNvSpPr>
          <p:nvPr userDrawn="1"/>
        </p:nvSpPr>
        <p:spPr bwMode="auto">
          <a:xfrm>
            <a:off x="3357542" y="1786696"/>
            <a:ext cx="309643" cy="389335"/>
          </a:xfrm>
          <a:custGeom>
            <a:avLst/>
            <a:gdLst/>
            <a:ahLst/>
            <a:cxnLst>
              <a:cxn ang="0">
                <a:pos x="130" y="44"/>
              </a:cxn>
              <a:cxn ang="0">
                <a:pos x="121" y="98"/>
              </a:cxn>
              <a:cxn ang="0">
                <a:pos x="5" y="103"/>
              </a:cxn>
              <a:cxn ang="0">
                <a:pos x="0" y="124"/>
              </a:cxn>
              <a:cxn ang="0">
                <a:pos x="67" y="204"/>
              </a:cxn>
              <a:cxn ang="0">
                <a:pos x="21" y="282"/>
              </a:cxn>
              <a:cxn ang="0">
                <a:pos x="38" y="323"/>
              </a:cxn>
              <a:cxn ang="0">
                <a:pos x="181" y="242"/>
              </a:cxn>
              <a:cxn ang="0">
                <a:pos x="172" y="225"/>
              </a:cxn>
              <a:cxn ang="0">
                <a:pos x="179" y="178"/>
              </a:cxn>
              <a:cxn ang="0">
                <a:pos x="203" y="202"/>
              </a:cxn>
              <a:cxn ang="0">
                <a:pos x="186" y="241"/>
              </a:cxn>
              <a:cxn ang="0">
                <a:pos x="230" y="202"/>
              </a:cxn>
              <a:cxn ang="0">
                <a:pos x="144" y="166"/>
              </a:cxn>
              <a:cxn ang="0">
                <a:pos x="151" y="244"/>
              </a:cxn>
              <a:cxn ang="0">
                <a:pos x="47" y="282"/>
              </a:cxn>
              <a:cxn ang="0">
                <a:pos x="108" y="215"/>
              </a:cxn>
              <a:cxn ang="0">
                <a:pos x="119" y="201"/>
              </a:cxn>
              <a:cxn ang="0">
                <a:pos x="34" y="145"/>
              </a:cxn>
              <a:cxn ang="0">
                <a:pos x="28" y="118"/>
              </a:cxn>
              <a:cxn ang="0">
                <a:pos x="131" y="140"/>
              </a:cxn>
              <a:cxn ang="0">
                <a:pos x="156" y="133"/>
              </a:cxn>
              <a:cxn ang="0">
                <a:pos x="147" y="92"/>
              </a:cxn>
              <a:cxn ang="0">
                <a:pos x="184" y="28"/>
              </a:cxn>
              <a:cxn ang="0">
                <a:pos x="217" y="88"/>
              </a:cxn>
              <a:cxn ang="0">
                <a:pos x="208" y="138"/>
              </a:cxn>
              <a:cxn ang="0">
                <a:pos x="229" y="149"/>
              </a:cxn>
              <a:cxn ang="0">
                <a:pos x="255" y="203"/>
              </a:cxn>
              <a:cxn ang="0">
                <a:pos x="243" y="217"/>
              </a:cxn>
              <a:cxn ang="0">
                <a:pos x="305" y="302"/>
              </a:cxn>
              <a:cxn ang="0">
                <a:pos x="205" y="264"/>
              </a:cxn>
              <a:cxn ang="0">
                <a:pos x="184" y="261"/>
              </a:cxn>
              <a:cxn ang="0">
                <a:pos x="164" y="340"/>
              </a:cxn>
              <a:cxn ang="0">
                <a:pos x="81" y="368"/>
              </a:cxn>
              <a:cxn ang="0">
                <a:pos x="200" y="414"/>
              </a:cxn>
              <a:cxn ang="0">
                <a:pos x="227" y="460"/>
              </a:cxn>
              <a:cxn ang="0">
                <a:pos x="217" y="391"/>
              </a:cxn>
              <a:cxn ang="0">
                <a:pos x="116" y="370"/>
              </a:cxn>
              <a:cxn ang="0">
                <a:pos x="197" y="368"/>
              </a:cxn>
              <a:cxn ang="0">
                <a:pos x="198" y="352"/>
              </a:cxn>
              <a:cxn ang="0">
                <a:pos x="193" y="295"/>
              </a:cxn>
              <a:cxn ang="0">
                <a:pos x="330" y="326"/>
              </a:cxn>
              <a:cxn ang="0">
                <a:pos x="319" y="250"/>
              </a:cxn>
              <a:cxn ang="0">
                <a:pos x="331" y="202"/>
              </a:cxn>
              <a:cxn ang="0">
                <a:pos x="361" y="121"/>
              </a:cxn>
              <a:cxn ang="0">
                <a:pos x="244" y="88"/>
              </a:cxn>
              <a:cxn ang="0">
                <a:pos x="187" y="1"/>
              </a:cxn>
            </a:cxnLst>
            <a:rect l="0" t="0" r="r" b="b"/>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49" name="Freeform 393"/>
          <p:cNvSpPr>
            <a:spLocks/>
          </p:cNvSpPr>
          <p:nvPr userDrawn="1"/>
        </p:nvSpPr>
        <p:spPr bwMode="auto">
          <a:xfrm>
            <a:off x="3319432" y="3885757"/>
            <a:ext cx="385863" cy="213122"/>
          </a:xfrm>
          <a:custGeom>
            <a:avLst/>
            <a:gdLst/>
            <a:ahLst/>
            <a:cxnLst>
              <a:cxn ang="0">
                <a:pos x="8" y="95"/>
              </a:cxn>
              <a:cxn ang="0">
                <a:pos x="0" y="107"/>
              </a:cxn>
              <a:cxn ang="0">
                <a:pos x="36" y="134"/>
              </a:cxn>
              <a:cxn ang="0">
                <a:pos x="61" y="146"/>
              </a:cxn>
              <a:cxn ang="0">
                <a:pos x="65" y="193"/>
              </a:cxn>
              <a:cxn ang="0">
                <a:pos x="65" y="193"/>
              </a:cxn>
              <a:cxn ang="0">
                <a:pos x="62" y="209"/>
              </a:cxn>
              <a:cxn ang="0">
                <a:pos x="51" y="220"/>
              </a:cxn>
              <a:cxn ang="0">
                <a:pos x="45" y="238"/>
              </a:cxn>
              <a:cxn ang="0">
                <a:pos x="59" y="251"/>
              </a:cxn>
              <a:cxn ang="0">
                <a:pos x="107" y="246"/>
              </a:cxn>
              <a:cxn ang="0">
                <a:pos x="110" y="236"/>
              </a:cxn>
              <a:cxn ang="0">
                <a:pos x="104" y="218"/>
              </a:cxn>
              <a:cxn ang="0">
                <a:pos x="92" y="206"/>
              </a:cxn>
              <a:cxn ang="0">
                <a:pos x="93" y="200"/>
              </a:cxn>
              <a:cxn ang="0">
                <a:pos x="92" y="184"/>
              </a:cxn>
              <a:cxn ang="0">
                <a:pos x="122" y="134"/>
              </a:cxn>
              <a:cxn ang="0">
                <a:pos x="265" y="109"/>
              </a:cxn>
              <a:cxn ang="0">
                <a:pos x="338" y="130"/>
              </a:cxn>
              <a:cxn ang="0">
                <a:pos x="350" y="106"/>
              </a:cxn>
              <a:cxn ang="0">
                <a:pos x="340" y="101"/>
              </a:cxn>
              <a:cxn ang="0">
                <a:pos x="110" y="110"/>
              </a:cxn>
              <a:cxn ang="0">
                <a:pos x="76" y="123"/>
              </a:cxn>
              <a:cxn ang="0">
                <a:pos x="45" y="108"/>
              </a:cxn>
              <a:cxn ang="0">
                <a:pos x="413" y="107"/>
              </a:cxn>
              <a:cxn ang="0">
                <a:pos x="329" y="160"/>
              </a:cxn>
              <a:cxn ang="0">
                <a:pos x="149" y="207"/>
              </a:cxn>
              <a:cxn ang="0">
                <a:pos x="134" y="141"/>
              </a:cxn>
              <a:cxn ang="0">
                <a:pos x="123" y="221"/>
              </a:cxn>
              <a:cxn ang="0">
                <a:pos x="343" y="234"/>
              </a:cxn>
              <a:cxn ang="0">
                <a:pos x="356" y="168"/>
              </a:cxn>
              <a:cxn ang="0">
                <a:pos x="457" y="106"/>
              </a:cxn>
              <a:cxn ang="0">
                <a:pos x="449" y="94"/>
              </a:cxn>
              <a:cxn ang="0">
                <a:pos x="235" y="1"/>
              </a:cxn>
            </a:cxnLst>
            <a:rect l="0" t="0" r="r" b="b"/>
            <a:pathLst>
              <a:path w="457" h="251">
                <a:moveTo>
                  <a:pt x="235" y="1"/>
                </a:moveTo>
                <a:cubicBezTo>
                  <a:pt x="8" y="95"/>
                  <a:pt x="8" y="95"/>
                  <a:pt x="8" y="95"/>
                </a:cubicBezTo>
                <a:cubicBezTo>
                  <a:pt x="3" y="97"/>
                  <a:pt x="0" y="101"/>
                  <a:pt x="0" y="106"/>
                </a:cubicBezTo>
                <a:cubicBezTo>
                  <a:pt x="0" y="107"/>
                  <a:pt x="0" y="107"/>
                  <a:pt x="0" y="107"/>
                </a:cubicBezTo>
                <a:cubicBezTo>
                  <a:pt x="0" y="112"/>
                  <a:pt x="3" y="116"/>
                  <a:pt x="7" y="119"/>
                </a:cubicBezTo>
                <a:cubicBezTo>
                  <a:pt x="36" y="134"/>
                  <a:pt x="36" y="134"/>
                  <a:pt x="36" y="134"/>
                </a:cubicBezTo>
                <a:cubicBezTo>
                  <a:pt x="57" y="144"/>
                  <a:pt x="57" y="144"/>
                  <a:pt x="57" y="144"/>
                </a:cubicBezTo>
                <a:cubicBezTo>
                  <a:pt x="58" y="145"/>
                  <a:pt x="60" y="146"/>
                  <a:pt x="61" y="146"/>
                </a:cubicBezTo>
                <a:cubicBezTo>
                  <a:pt x="61" y="155"/>
                  <a:pt x="62" y="171"/>
                  <a:pt x="62" y="185"/>
                </a:cubicBezTo>
                <a:cubicBezTo>
                  <a:pt x="63" y="188"/>
                  <a:pt x="63" y="191"/>
                  <a:pt x="65" y="193"/>
                </a:cubicBezTo>
                <a:cubicBezTo>
                  <a:pt x="65" y="193"/>
                  <a:pt x="65" y="193"/>
                  <a:pt x="65" y="193"/>
                </a:cubicBezTo>
                <a:cubicBezTo>
                  <a:pt x="65" y="193"/>
                  <a:pt x="65" y="193"/>
                  <a:pt x="65" y="193"/>
                </a:cubicBezTo>
                <a:cubicBezTo>
                  <a:pt x="63" y="195"/>
                  <a:pt x="62" y="198"/>
                  <a:pt x="62" y="201"/>
                </a:cubicBezTo>
                <a:cubicBezTo>
                  <a:pt x="62" y="201"/>
                  <a:pt x="62" y="205"/>
                  <a:pt x="62" y="209"/>
                </a:cubicBezTo>
                <a:cubicBezTo>
                  <a:pt x="59" y="212"/>
                  <a:pt x="55" y="215"/>
                  <a:pt x="55" y="215"/>
                </a:cubicBezTo>
                <a:cubicBezTo>
                  <a:pt x="53" y="217"/>
                  <a:pt x="52" y="218"/>
                  <a:pt x="51" y="220"/>
                </a:cubicBezTo>
                <a:cubicBezTo>
                  <a:pt x="46" y="233"/>
                  <a:pt x="46" y="233"/>
                  <a:pt x="46" y="233"/>
                </a:cubicBezTo>
                <a:cubicBezTo>
                  <a:pt x="46" y="234"/>
                  <a:pt x="45" y="236"/>
                  <a:pt x="45" y="238"/>
                </a:cubicBezTo>
                <a:cubicBezTo>
                  <a:pt x="45" y="240"/>
                  <a:pt x="46" y="243"/>
                  <a:pt x="48" y="245"/>
                </a:cubicBezTo>
                <a:cubicBezTo>
                  <a:pt x="50" y="249"/>
                  <a:pt x="54" y="251"/>
                  <a:pt x="59" y="251"/>
                </a:cubicBezTo>
                <a:cubicBezTo>
                  <a:pt x="96" y="251"/>
                  <a:pt x="96" y="251"/>
                  <a:pt x="96" y="251"/>
                </a:cubicBezTo>
                <a:cubicBezTo>
                  <a:pt x="100" y="251"/>
                  <a:pt x="104" y="249"/>
                  <a:pt x="107" y="246"/>
                </a:cubicBezTo>
                <a:cubicBezTo>
                  <a:pt x="109" y="244"/>
                  <a:pt x="110" y="241"/>
                  <a:pt x="110" y="238"/>
                </a:cubicBezTo>
                <a:cubicBezTo>
                  <a:pt x="110" y="237"/>
                  <a:pt x="110" y="236"/>
                  <a:pt x="110" y="236"/>
                </a:cubicBezTo>
                <a:cubicBezTo>
                  <a:pt x="108" y="226"/>
                  <a:pt x="108" y="226"/>
                  <a:pt x="108" y="226"/>
                </a:cubicBezTo>
                <a:cubicBezTo>
                  <a:pt x="107" y="223"/>
                  <a:pt x="106" y="220"/>
                  <a:pt x="104" y="218"/>
                </a:cubicBezTo>
                <a:cubicBezTo>
                  <a:pt x="104" y="218"/>
                  <a:pt x="97" y="212"/>
                  <a:pt x="93" y="208"/>
                </a:cubicBezTo>
                <a:cubicBezTo>
                  <a:pt x="93" y="207"/>
                  <a:pt x="93" y="207"/>
                  <a:pt x="92" y="206"/>
                </a:cubicBezTo>
                <a:cubicBezTo>
                  <a:pt x="93" y="205"/>
                  <a:pt x="93" y="203"/>
                  <a:pt x="93" y="202"/>
                </a:cubicBezTo>
                <a:cubicBezTo>
                  <a:pt x="93" y="201"/>
                  <a:pt x="93" y="200"/>
                  <a:pt x="93" y="200"/>
                </a:cubicBezTo>
                <a:cubicBezTo>
                  <a:pt x="93" y="200"/>
                  <a:pt x="92" y="191"/>
                  <a:pt x="92" y="189"/>
                </a:cubicBezTo>
                <a:cubicBezTo>
                  <a:pt x="92" y="187"/>
                  <a:pt x="92" y="186"/>
                  <a:pt x="92" y="184"/>
                </a:cubicBezTo>
                <a:cubicBezTo>
                  <a:pt x="92" y="184"/>
                  <a:pt x="93" y="157"/>
                  <a:pt x="93" y="145"/>
                </a:cubicBezTo>
                <a:cubicBezTo>
                  <a:pt x="101" y="142"/>
                  <a:pt x="113" y="138"/>
                  <a:pt x="122" y="134"/>
                </a:cubicBezTo>
                <a:cubicBezTo>
                  <a:pt x="122" y="134"/>
                  <a:pt x="122" y="134"/>
                  <a:pt x="122" y="134"/>
                </a:cubicBezTo>
                <a:cubicBezTo>
                  <a:pt x="166" y="111"/>
                  <a:pt x="214" y="103"/>
                  <a:pt x="265" y="109"/>
                </a:cubicBezTo>
                <a:cubicBezTo>
                  <a:pt x="302" y="113"/>
                  <a:pt x="327" y="124"/>
                  <a:pt x="328" y="125"/>
                </a:cubicBezTo>
                <a:cubicBezTo>
                  <a:pt x="329" y="125"/>
                  <a:pt x="338" y="130"/>
                  <a:pt x="338" y="130"/>
                </a:cubicBezTo>
                <a:cubicBezTo>
                  <a:pt x="344" y="133"/>
                  <a:pt x="352" y="130"/>
                  <a:pt x="356" y="124"/>
                </a:cubicBezTo>
                <a:cubicBezTo>
                  <a:pt x="359" y="117"/>
                  <a:pt x="356" y="109"/>
                  <a:pt x="350" y="106"/>
                </a:cubicBezTo>
                <a:cubicBezTo>
                  <a:pt x="340" y="101"/>
                  <a:pt x="340" y="101"/>
                  <a:pt x="340" y="101"/>
                </a:cubicBezTo>
                <a:cubicBezTo>
                  <a:pt x="340" y="101"/>
                  <a:pt x="340" y="101"/>
                  <a:pt x="340" y="101"/>
                </a:cubicBezTo>
                <a:cubicBezTo>
                  <a:pt x="338" y="100"/>
                  <a:pt x="311" y="88"/>
                  <a:pt x="269" y="82"/>
                </a:cubicBezTo>
                <a:cubicBezTo>
                  <a:pt x="230" y="78"/>
                  <a:pt x="171" y="79"/>
                  <a:pt x="110" y="110"/>
                </a:cubicBezTo>
                <a:cubicBezTo>
                  <a:pt x="110" y="110"/>
                  <a:pt x="110" y="110"/>
                  <a:pt x="110" y="110"/>
                </a:cubicBezTo>
                <a:cubicBezTo>
                  <a:pt x="98" y="116"/>
                  <a:pt x="76" y="123"/>
                  <a:pt x="76" y="123"/>
                </a:cubicBezTo>
                <a:cubicBezTo>
                  <a:pt x="76" y="123"/>
                  <a:pt x="75" y="123"/>
                  <a:pt x="75" y="123"/>
                </a:cubicBezTo>
                <a:cubicBezTo>
                  <a:pt x="71" y="122"/>
                  <a:pt x="59" y="116"/>
                  <a:pt x="45" y="108"/>
                </a:cubicBezTo>
                <a:cubicBezTo>
                  <a:pt x="85" y="92"/>
                  <a:pt x="231" y="32"/>
                  <a:pt x="240" y="28"/>
                </a:cubicBezTo>
                <a:cubicBezTo>
                  <a:pt x="249" y="32"/>
                  <a:pt x="376" y="90"/>
                  <a:pt x="413" y="107"/>
                </a:cubicBezTo>
                <a:cubicBezTo>
                  <a:pt x="385" y="122"/>
                  <a:pt x="336" y="148"/>
                  <a:pt x="336" y="148"/>
                </a:cubicBezTo>
                <a:cubicBezTo>
                  <a:pt x="332" y="150"/>
                  <a:pt x="329" y="155"/>
                  <a:pt x="329" y="160"/>
                </a:cubicBezTo>
                <a:cubicBezTo>
                  <a:pt x="329" y="160"/>
                  <a:pt x="329" y="191"/>
                  <a:pt x="329" y="207"/>
                </a:cubicBezTo>
                <a:cubicBezTo>
                  <a:pt x="308" y="207"/>
                  <a:pt x="170" y="207"/>
                  <a:pt x="149" y="207"/>
                </a:cubicBezTo>
                <a:cubicBezTo>
                  <a:pt x="148" y="190"/>
                  <a:pt x="148" y="154"/>
                  <a:pt x="148" y="154"/>
                </a:cubicBezTo>
                <a:cubicBezTo>
                  <a:pt x="147" y="146"/>
                  <a:pt x="141" y="140"/>
                  <a:pt x="134" y="141"/>
                </a:cubicBezTo>
                <a:cubicBezTo>
                  <a:pt x="127" y="141"/>
                  <a:pt x="121" y="147"/>
                  <a:pt x="121" y="154"/>
                </a:cubicBezTo>
                <a:cubicBezTo>
                  <a:pt x="123" y="221"/>
                  <a:pt x="123" y="221"/>
                  <a:pt x="123" y="221"/>
                </a:cubicBezTo>
                <a:cubicBezTo>
                  <a:pt x="123" y="228"/>
                  <a:pt x="129" y="234"/>
                  <a:pt x="136" y="234"/>
                </a:cubicBezTo>
                <a:cubicBezTo>
                  <a:pt x="343" y="234"/>
                  <a:pt x="343" y="234"/>
                  <a:pt x="343" y="234"/>
                </a:cubicBezTo>
                <a:cubicBezTo>
                  <a:pt x="350" y="234"/>
                  <a:pt x="356" y="228"/>
                  <a:pt x="356" y="220"/>
                </a:cubicBezTo>
                <a:cubicBezTo>
                  <a:pt x="356" y="220"/>
                  <a:pt x="356" y="180"/>
                  <a:pt x="356" y="168"/>
                </a:cubicBezTo>
                <a:cubicBezTo>
                  <a:pt x="368" y="161"/>
                  <a:pt x="450" y="118"/>
                  <a:pt x="450" y="118"/>
                </a:cubicBezTo>
                <a:cubicBezTo>
                  <a:pt x="454" y="116"/>
                  <a:pt x="457" y="111"/>
                  <a:pt x="457" y="106"/>
                </a:cubicBezTo>
                <a:cubicBezTo>
                  <a:pt x="457" y="106"/>
                  <a:pt x="457" y="106"/>
                  <a:pt x="457" y="106"/>
                </a:cubicBezTo>
                <a:cubicBezTo>
                  <a:pt x="457" y="101"/>
                  <a:pt x="453" y="96"/>
                  <a:pt x="449" y="94"/>
                </a:cubicBezTo>
                <a:cubicBezTo>
                  <a:pt x="246" y="1"/>
                  <a:pt x="246" y="1"/>
                  <a:pt x="246" y="1"/>
                </a:cubicBezTo>
                <a:cubicBezTo>
                  <a:pt x="242" y="0"/>
                  <a:pt x="239" y="0"/>
                  <a:pt x="235" y="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50" name="Freeform 433"/>
          <p:cNvSpPr>
            <a:spLocks/>
          </p:cNvSpPr>
          <p:nvPr userDrawn="1"/>
        </p:nvSpPr>
        <p:spPr bwMode="auto">
          <a:xfrm>
            <a:off x="3400416" y="2757232"/>
            <a:ext cx="223896" cy="390525"/>
          </a:xfrm>
          <a:custGeom>
            <a:avLst/>
            <a:gdLst/>
            <a:ahLst/>
            <a:cxnLst>
              <a:cxn ang="0">
                <a:pos x="251" y="293"/>
              </a:cxn>
              <a:cxn ang="0">
                <a:pos x="233" y="293"/>
              </a:cxn>
              <a:cxn ang="0">
                <a:pos x="241" y="274"/>
              </a:cxn>
              <a:cxn ang="0">
                <a:pos x="241" y="265"/>
              </a:cxn>
              <a:cxn ang="0">
                <a:pos x="195" y="115"/>
              </a:cxn>
              <a:cxn ang="0">
                <a:pos x="195" y="14"/>
              </a:cxn>
              <a:cxn ang="0">
                <a:pos x="182" y="0"/>
              </a:cxn>
              <a:cxn ang="0">
                <a:pos x="168" y="14"/>
              </a:cxn>
              <a:cxn ang="0">
                <a:pos x="168" y="36"/>
              </a:cxn>
              <a:cxn ang="0">
                <a:pos x="154" y="25"/>
              </a:cxn>
              <a:cxn ang="0">
                <a:pos x="136" y="29"/>
              </a:cxn>
              <a:cxn ang="0">
                <a:pos x="139" y="47"/>
              </a:cxn>
              <a:cxn ang="0">
                <a:pos x="168" y="68"/>
              </a:cxn>
              <a:cxn ang="0">
                <a:pos x="168" y="117"/>
              </a:cxn>
              <a:cxn ang="0">
                <a:pos x="169" y="121"/>
              </a:cxn>
              <a:cxn ang="0">
                <a:pos x="214" y="268"/>
              </a:cxn>
              <a:cxn ang="0">
                <a:pos x="169" y="384"/>
              </a:cxn>
              <a:cxn ang="0">
                <a:pos x="171" y="397"/>
              </a:cxn>
              <a:cxn ang="0">
                <a:pos x="201" y="434"/>
              </a:cxn>
              <a:cxn ang="0">
                <a:pos x="64" y="434"/>
              </a:cxn>
              <a:cxn ang="0">
                <a:pos x="94" y="397"/>
              </a:cxn>
              <a:cxn ang="0">
                <a:pos x="96" y="384"/>
              </a:cxn>
              <a:cxn ang="0">
                <a:pos x="51" y="268"/>
              </a:cxn>
              <a:cxn ang="0">
                <a:pos x="96" y="121"/>
              </a:cxn>
              <a:cxn ang="0">
                <a:pos x="96" y="117"/>
              </a:cxn>
              <a:cxn ang="0">
                <a:pos x="96" y="68"/>
              </a:cxn>
              <a:cxn ang="0">
                <a:pos x="126" y="47"/>
              </a:cxn>
              <a:cxn ang="0">
                <a:pos x="130" y="29"/>
              </a:cxn>
              <a:cxn ang="0">
                <a:pos x="111" y="25"/>
              </a:cxn>
              <a:cxn ang="0">
                <a:pos x="96" y="36"/>
              </a:cxn>
              <a:cxn ang="0">
                <a:pos x="96" y="14"/>
              </a:cxn>
              <a:cxn ang="0">
                <a:pos x="83" y="0"/>
              </a:cxn>
              <a:cxn ang="0">
                <a:pos x="70" y="14"/>
              </a:cxn>
              <a:cxn ang="0">
                <a:pos x="70" y="115"/>
              </a:cxn>
              <a:cxn ang="0">
                <a:pos x="24" y="265"/>
              </a:cxn>
              <a:cxn ang="0">
                <a:pos x="24" y="274"/>
              </a:cxn>
              <a:cxn ang="0">
                <a:pos x="32" y="293"/>
              </a:cxn>
              <a:cxn ang="0">
                <a:pos x="14" y="293"/>
              </a:cxn>
              <a:cxn ang="0">
                <a:pos x="0" y="307"/>
              </a:cxn>
              <a:cxn ang="0">
                <a:pos x="14" y="320"/>
              </a:cxn>
              <a:cxn ang="0">
                <a:pos x="42" y="320"/>
              </a:cxn>
              <a:cxn ang="0">
                <a:pos x="68" y="386"/>
              </a:cxn>
              <a:cxn ang="0">
                <a:pos x="26" y="440"/>
              </a:cxn>
              <a:cxn ang="0">
                <a:pos x="25" y="454"/>
              </a:cxn>
              <a:cxn ang="0">
                <a:pos x="37" y="461"/>
              </a:cxn>
              <a:cxn ang="0">
                <a:pos x="229" y="461"/>
              </a:cxn>
              <a:cxn ang="0">
                <a:pos x="240" y="454"/>
              </a:cxn>
              <a:cxn ang="0">
                <a:pos x="239" y="439"/>
              </a:cxn>
              <a:cxn ang="0">
                <a:pos x="197" y="386"/>
              </a:cxn>
              <a:cxn ang="0">
                <a:pos x="223" y="320"/>
              </a:cxn>
              <a:cxn ang="0">
                <a:pos x="251" y="320"/>
              </a:cxn>
              <a:cxn ang="0">
                <a:pos x="264" y="307"/>
              </a:cxn>
              <a:cxn ang="0">
                <a:pos x="251" y="293"/>
              </a:cxn>
            </a:cxnLst>
            <a:rect l="0" t="0" r="r" b="b"/>
            <a:pathLst>
              <a:path w="264" h="461">
                <a:moveTo>
                  <a:pt x="251" y="293"/>
                </a:moveTo>
                <a:cubicBezTo>
                  <a:pt x="233" y="293"/>
                  <a:pt x="233" y="293"/>
                  <a:pt x="233" y="293"/>
                </a:cubicBezTo>
                <a:cubicBezTo>
                  <a:pt x="241" y="274"/>
                  <a:pt x="241" y="274"/>
                  <a:pt x="241" y="274"/>
                </a:cubicBezTo>
                <a:cubicBezTo>
                  <a:pt x="242" y="271"/>
                  <a:pt x="242" y="268"/>
                  <a:pt x="241" y="265"/>
                </a:cubicBezTo>
                <a:cubicBezTo>
                  <a:pt x="195" y="115"/>
                  <a:pt x="195" y="115"/>
                  <a:pt x="195" y="115"/>
                </a:cubicBezTo>
                <a:cubicBezTo>
                  <a:pt x="195" y="14"/>
                  <a:pt x="195" y="14"/>
                  <a:pt x="195" y="14"/>
                </a:cubicBezTo>
                <a:cubicBezTo>
                  <a:pt x="195" y="6"/>
                  <a:pt x="189" y="0"/>
                  <a:pt x="182" y="0"/>
                </a:cubicBezTo>
                <a:cubicBezTo>
                  <a:pt x="174" y="0"/>
                  <a:pt x="168" y="6"/>
                  <a:pt x="168" y="14"/>
                </a:cubicBezTo>
                <a:cubicBezTo>
                  <a:pt x="168" y="36"/>
                  <a:pt x="168" y="36"/>
                  <a:pt x="168" y="36"/>
                </a:cubicBezTo>
                <a:cubicBezTo>
                  <a:pt x="154" y="25"/>
                  <a:pt x="154" y="25"/>
                  <a:pt x="154" y="25"/>
                </a:cubicBezTo>
                <a:cubicBezTo>
                  <a:pt x="148" y="21"/>
                  <a:pt x="140" y="23"/>
                  <a:pt x="136" y="29"/>
                </a:cubicBezTo>
                <a:cubicBezTo>
                  <a:pt x="131" y="35"/>
                  <a:pt x="133" y="43"/>
                  <a:pt x="139" y="47"/>
                </a:cubicBezTo>
                <a:cubicBezTo>
                  <a:pt x="168" y="68"/>
                  <a:pt x="168" y="68"/>
                  <a:pt x="168" y="68"/>
                </a:cubicBezTo>
                <a:cubicBezTo>
                  <a:pt x="168" y="117"/>
                  <a:pt x="168" y="117"/>
                  <a:pt x="168" y="117"/>
                </a:cubicBezTo>
                <a:cubicBezTo>
                  <a:pt x="168" y="118"/>
                  <a:pt x="169" y="120"/>
                  <a:pt x="169" y="121"/>
                </a:cubicBezTo>
                <a:cubicBezTo>
                  <a:pt x="214" y="268"/>
                  <a:pt x="214" y="268"/>
                  <a:pt x="214" y="268"/>
                </a:cubicBezTo>
                <a:cubicBezTo>
                  <a:pt x="169" y="384"/>
                  <a:pt x="169" y="384"/>
                  <a:pt x="169" y="384"/>
                </a:cubicBezTo>
                <a:cubicBezTo>
                  <a:pt x="168" y="388"/>
                  <a:pt x="168" y="393"/>
                  <a:pt x="171" y="397"/>
                </a:cubicBezTo>
                <a:cubicBezTo>
                  <a:pt x="201" y="434"/>
                  <a:pt x="201" y="434"/>
                  <a:pt x="201" y="434"/>
                </a:cubicBezTo>
                <a:cubicBezTo>
                  <a:pt x="64" y="434"/>
                  <a:pt x="64" y="434"/>
                  <a:pt x="64" y="434"/>
                </a:cubicBezTo>
                <a:cubicBezTo>
                  <a:pt x="94" y="397"/>
                  <a:pt x="94" y="397"/>
                  <a:pt x="94" y="397"/>
                </a:cubicBezTo>
                <a:cubicBezTo>
                  <a:pt x="96" y="393"/>
                  <a:pt x="97" y="388"/>
                  <a:pt x="96" y="384"/>
                </a:cubicBezTo>
                <a:cubicBezTo>
                  <a:pt x="51" y="268"/>
                  <a:pt x="51" y="268"/>
                  <a:pt x="51" y="268"/>
                </a:cubicBezTo>
                <a:cubicBezTo>
                  <a:pt x="96" y="121"/>
                  <a:pt x="96" y="121"/>
                  <a:pt x="96" y="121"/>
                </a:cubicBezTo>
                <a:cubicBezTo>
                  <a:pt x="96" y="120"/>
                  <a:pt x="96" y="118"/>
                  <a:pt x="96" y="117"/>
                </a:cubicBezTo>
                <a:cubicBezTo>
                  <a:pt x="96" y="68"/>
                  <a:pt x="96" y="68"/>
                  <a:pt x="96" y="68"/>
                </a:cubicBezTo>
                <a:cubicBezTo>
                  <a:pt x="126" y="47"/>
                  <a:pt x="126" y="47"/>
                  <a:pt x="126" y="47"/>
                </a:cubicBezTo>
                <a:cubicBezTo>
                  <a:pt x="132" y="43"/>
                  <a:pt x="134" y="35"/>
                  <a:pt x="130" y="29"/>
                </a:cubicBezTo>
                <a:cubicBezTo>
                  <a:pt x="125" y="23"/>
                  <a:pt x="117" y="21"/>
                  <a:pt x="111" y="25"/>
                </a:cubicBezTo>
                <a:cubicBezTo>
                  <a:pt x="96" y="36"/>
                  <a:pt x="96" y="36"/>
                  <a:pt x="96" y="36"/>
                </a:cubicBezTo>
                <a:cubicBezTo>
                  <a:pt x="96" y="14"/>
                  <a:pt x="96" y="14"/>
                  <a:pt x="96" y="14"/>
                </a:cubicBezTo>
                <a:cubicBezTo>
                  <a:pt x="96" y="6"/>
                  <a:pt x="90" y="0"/>
                  <a:pt x="83" y="0"/>
                </a:cubicBezTo>
                <a:cubicBezTo>
                  <a:pt x="76" y="0"/>
                  <a:pt x="70" y="6"/>
                  <a:pt x="70" y="14"/>
                </a:cubicBezTo>
                <a:cubicBezTo>
                  <a:pt x="70" y="115"/>
                  <a:pt x="70" y="115"/>
                  <a:pt x="70" y="115"/>
                </a:cubicBezTo>
                <a:cubicBezTo>
                  <a:pt x="24" y="265"/>
                  <a:pt x="24" y="265"/>
                  <a:pt x="24" y="265"/>
                </a:cubicBezTo>
                <a:cubicBezTo>
                  <a:pt x="23" y="268"/>
                  <a:pt x="23" y="271"/>
                  <a:pt x="24" y="274"/>
                </a:cubicBezTo>
                <a:cubicBezTo>
                  <a:pt x="32" y="293"/>
                  <a:pt x="32" y="293"/>
                  <a:pt x="32" y="293"/>
                </a:cubicBezTo>
                <a:cubicBezTo>
                  <a:pt x="14" y="293"/>
                  <a:pt x="14" y="293"/>
                  <a:pt x="14" y="293"/>
                </a:cubicBezTo>
                <a:cubicBezTo>
                  <a:pt x="6" y="293"/>
                  <a:pt x="0" y="299"/>
                  <a:pt x="0" y="307"/>
                </a:cubicBezTo>
                <a:cubicBezTo>
                  <a:pt x="0" y="314"/>
                  <a:pt x="6" y="320"/>
                  <a:pt x="14" y="320"/>
                </a:cubicBezTo>
                <a:cubicBezTo>
                  <a:pt x="42" y="320"/>
                  <a:pt x="42" y="320"/>
                  <a:pt x="42" y="320"/>
                </a:cubicBezTo>
                <a:cubicBezTo>
                  <a:pt x="68" y="386"/>
                  <a:pt x="68" y="386"/>
                  <a:pt x="68" y="386"/>
                </a:cubicBezTo>
                <a:cubicBezTo>
                  <a:pt x="26" y="440"/>
                  <a:pt x="26" y="440"/>
                  <a:pt x="26" y="440"/>
                </a:cubicBezTo>
                <a:cubicBezTo>
                  <a:pt x="23" y="444"/>
                  <a:pt x="23" y="449"/>
                  <a:pt x="25" y="454"/>
                </a:cubicBezTo>
                <a:cubicBezTo>
                  <a:pt x="27" y="458"/>
                  <a:pt x="32" y="461"/>
                  <a:pt x="37" y="461"/>
                </a:cubicBezTo>
                <a:cubicBezTo>
                  <a:pt x="229" y="461"/>
                  <a:pt x="229" y="461"/>
                  <a:pt x="229" y="461"/>
                </a:cubicBezTo>
                <a:cubicBezTo>
                  <a:pt x="234" y="461"/>
                  <a:pt x="238" y="458"/>
                  <a:pt x="240" y="454"/>
                </a:cubicBezTo>
                <a:cubicBezTo>
                  <a:pt x="243" y="449"/>
                  <a:pt x="242" y="443"/>
                  <a:pt x="239" y="439"/>
                </a:cubicBezTo>
                <a:cubicBezTo>
                  <a:pt x="197" y="386"/>
                  <a:pt x="197" y="386"/>
                  <a:pt x="197" y="386"/>
                </a:cubicBezTo>
                <a:cubicBezTo>
                  <a:pt x="223" y="320"/>
                  <a:pt x="223" y="320"/>
                  <a:pt x="223" y="320"/>
                </a:cubicBezTo>
                <a:cubicBezTo>
                  <a:pt x="251" y="320"/>
                  <a:pt x="251" y="320"/>
                  <a:pt x="251" y="320"/>
                </a:cubicBezTo>
                <a:cubicBezTo>
                  <a:pt x="258" y="320"/>
                  <a:pt x="264" y="314"/>
                  <a:pt x="264" y="307"/>
                </a:cubicBezTo>
                <a:cubicBezTo>
                  <a:pt x="264" y="299"/>
                  <a:pt x="258" y="293"/>
                  <a:pt x="251" y="293"/>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51" name="Freeform 251"/>
          <p:cNvSpPr>
            <a:spLocks/>
          </p:cNvSpPr>
          <p:nvPr userDrawn="1"/>
        </p:nvSpPr>
        <p:spPr bwMode="auto">
          <a:xfrm>
            <a:off x="3803514" y="892078"/>
            <a:ext cx="385863" cy="348854"/>
          </a:xfrm>
          <a:custGeom>
            <a:avLst/>
            <a:gdLst/>
            <a:ahLst/>
            <a:cxnLst>
              <a:cxn ang="0">
                <a:pos x="113" y="0"/>
              </a:cxn>
              <a:cxn ang="0">
                <a:pos x="69" y="44"/>
              </a:cxn>
              <a:cxn ang="0">
                <a:pos x="69" y="298"/>
              </a:cxn>
              <a:cxn ang="0">
                <a:pos x="83" y="312"/>
              </a:cxn>
              <a:cxn ang="0">
                <a:pos x="96" y="298"/>
              </a:cxn>
              <a:cxn ang="0">
                <a:pos x="96" y="44"/>
              </a:cxn>
              <a:cxn ang="0">
                <a:pos x="113" y="27"/>
              </a:cxn>
              <a:cxn ang="0">
                <a:pos x="152" y="27"/>
              </a:cxn>
              <a:cxn ang="0">
                <a:pos x="169" y="44"/>
              </a:cxn>
              <a:cxn ang="0">
                <a:pos x="169" y="298"/>
              </a:cxn>
              <a:cxn ang="0">
                <a:pos x="183" y="312"/>
              </a:cxn>
              <a:cxn ang="0">
                <a:pos x="246" y="312"/>
              </a:cxn>
              <a:cxn ang="0">
                <a:pos x="259" y="298"/>
              </a:cxn>
              <a:cxn ang="0">
                <a:pos x="259" y="194"/>
              </a:cxn>
              <a:cxn ang="0">
                <a:pos x="301" y="194"/>
              </a:cxn>
              <a:cxn ang="0">
                <a:pos x="301" y="298"/>
              </a:cxn>
              <a:cxn ang="0">
                <a:pos x="314" y="312"/>
              </a:cxn>
              <a:cxn ang="0">
                <a:pos x="375" y="312"/>
              </a:cxn>
              <a:cxn ang="0">
                <a:pos x="388" y="298"/>
              </a:cxn>
              <a:cxn ang="0">
                <a:pos x="388" y="194"/>
              </a:cxn>
              <a:cxn ang="0">
                <a:pos x="430" y="194"/>
              </a:cxn>
              <a:cxn ang="0">
                <a:pos x="430" y="340"/>
              </a:cxn>
              <a:cxn ang="0">
                <a:pos x="42" y="340"/>
              </a:cxn>
              <a:cxn ang="0">
                <a:pos x="31" y="346"/>
              </a:cxn>
              <a:cxn ang="0">
                <a:pos x="3" y="390"/>
              </a:cxn>
              <a:cxn ang="0">
                <a:pos x="0" y="397"/>
              </a:cxn>
              <a:cxn ang="0">
                <a:pos x="6" y="408"/>
              </a:cxn>
              <a:cxn ang="0">
                <a:pos x="25" y="404"/>
              </a:cxn>
              <a:cxn ang="0">
                <a:pos x="50" y="367"/>
              </a:cxn>
              <a:cxn ang="0">
                <a:pos x="443" y="367"/>
              </a:cxn>
              <a:cxn ang="0">
                <a:pos x="456" y="354"/>
              </a:cxn>
              <a:cxn ang="0">
                <a:pos x="456" y="181"/>
              </a:cxn>
              <a:cxn ang="0">
                <a:pos x="443" y="168"/>
              </a:cxn>
              <a:cxn ang="0">
                <a:pos x="375" y="168"/>
              </a:cxn>
              <a:cxn ang="0">
                <a:pos x="362" y="181"/>
              </a:cxn>
              <a:cxn ang="0">
                <a:pos x="362" y="285"/>
              </a:cxn>
              <a:cxn ang="0">
                <a:pos x="327" y="285"/>
              </a:cxn>
              <a:cxn ang="0">
                <a:pos x="327" y="181"/>
              </a:cxn>
              <a:cxn ang="0">
                <a:pos x="314" y="168"/>
              </a:cxn>
              <a:cxn ang="0">
                <a:pos x="246" y="168"/>
              </a:cxn>
              <a:cxn ang="0">
                <a:pos x="233" y="181"/>
              </a:cxn>
              <a:cxn ang="0">
                <a:pos x="233" y="285"/>
              </a:cxn>
              <a:cxn ang="0">
                <a:pos x="196" y="285"/>
              </a:cxn>
              <a:cxn ang="0">
                <a:pos x="196" y="44"/>
              </a:cxn>
              <a:cxn ang="0">
                <a:pos x="152" y="0"/>
              </a:cxn>
              <a:cxn ang="0">
                <a:pos x="113" y="0"/>
              </a:cxn>
            </a:cxnLst>
            <a:rect l="0" t="0" r="r" b="b"/>
            <a:pathLst>
              <a:path w="456" h="412">
                <a:moveTo>
                  <a:pt x="113" y="0"/>
                </a:moveTo>
                <a:cubicBezTo>
                  <a:pt x="89" y="0"/>
                  <a:pt x="69" y="20"/>
                  <a:pt x="69" y="44"/>
                </a:cubicBezTo>
                <a:cubicBezTo>
                  <a:pt x="69" y="298"/>
                  <a:pt x="69" y="298"/>
                  <a:pt x="69" y="298"/>
                </a:cubicBezTo>
                <a:cubicBezTo>
                  <a:pt x="69" y="306"/>
                  <a:pt x="75" y="312"/>
                  <a:pt x="83" y="312"/>
                </a:cubicBezTo>
                <a:cubicBezTo>
                  <a:pt x="90" y="312"/>
                  <a:pt x="96" y="306"/>
                  <a:pt x="96" y="298"/>
                </a:cubicBezTo>
                <a:cubicBezTo>
                  <a:pt x="96" y="44"/>
                  <a:pt x="96" y="44"/>
                  <a:pt x="96" y="44"/>
                </a:cubicBezTo>
                <a:cubicBezTo>
                  <a:pt x="96" y="34"/>
                  <a:pt x="104" y="27"/>
                  <a:pt x="113" y="27"/>
                </a:cubicBezTo>
                <a:cubicBezTo>
                  <a:pt x="152" y="27"/>
                  <a:pt x="152" y="27"/>
                  <a:pt x="152" y="27"/>
                </a:cubicBezTo>
                <a:cubicBezTo>
                  <a:pt x="162" y="27"/>
                  <a:pt x="169" y="34"/>
                  <a:pt x="169" y="44"/>
                </a:cubicBezTo>
                <a:cubicBezTo>
                  <a:pt x="169" y="298"/>
                  <a:pt x="169" y="298"/>
                  <a:pt x="169" y="298"/>
                </a:cubicBezTo>
                <a:cubicBezTo>
                  <a:pt x="169" y="306"/>
                  <a:pt x="175" y="312"/>
                  <a:pt x="183" y="312"/>
                </a:cubicBezTo>
                <a:cubicBezTo>
                  <a:pt x="246" y="312"/>
                  <a:pt x="246" y="312"/>
                  <a:pt x="246" y="312"/>
                </a:cubicBezTo>
                <a:cubicBezTo>
                  <a:pt x="253" y="312"/>
                  <a:pt x="259" y="306"/>
                  <a:pt x="259" y="298"/>
                </a:cubicBezTo>
                <a:cubicBezTo>
                  <a:pt x="259" y="298"/>
                  <a:pt x="259" y="215"/>
                  <a:pt x="259" y="194"/>
                </a:cubicBezTo>
                <a:cubicBezTo>
                  <a:pt x="272" y="194"/>
                  <a:pt x="288" y="194"/>
                  <a:pt x="301" y="194"/>
                </a:cubicBezTo>
                <a:cubicBezTo>
                  <a:pt x="301" y="215"/>
                  <a:pt x="301" y="298"/>
                  <a:pt x="301" y="298"/>
                </a:cubicBezTo>
                <a:cubicBezTo>
                  <a:pt x="301" y="306"/>
                  <a:pt x="307" y="312"/>
                  <a:pt x="314" y="312"/>
                </a:cubicBezTo>
                <a:cubicBezTo>
                  <a:pt x="375" y="312"/>
                  <a:pt x="375" y="312"/>
                  <a:pt x="375" y="312"/>
                </a:cubicBezTo>
                <a:cubicBezTo>
                  <a:pt x="382" y="312"/>
                  <a:pt x="388" y="306"/>
                  <a:pt x="388" y="298"/>
                </a:cubicBezTo>
                <a:cubicBezTo>
                  <a:pt x="388" y="298"/>
                  <a:pt x="388" y="215"/>
                  <a:pt x="388" y="194"/>
                </a:cubicBezTo>
                <a:cubicBezTo>
                  <a:pt x="401" y="194"/>
                  <a:pt x="417" y="194"/>
                  <a:pt x="430" y="194"/>
                </a:cubicBezTo>
                <a:cubicBezTo>
                  <a:pt x="430" y="215"/>
                  <a:pt x="430" y="320"/>
                  <a:pt x="430" y="340"/>
                </a:cubicBezTo>
                <a:cubicBezTo>
                  <a:pt x="405" y="340"/>
                  <a:pt x="42" y="340"/>
                  <a:pt x="42" y="340"/>
                </a:cubicBezTo>
                <a:cubicBezTo>
                  <a:pt x="38" y="340"/>
                  <a:pt x="34" y="343"/>
                  <a:pt x="31" y="346"/>
                </a:cubicBezTo>
                <a:cubicBezTo>
                  <a:pt x="3" y="390"/>
                  <a:pt x="3" y="390"/>
                  <a:pt x="3" y="390"/>
                </a:cubicBezTo>
                <a:cubicBezTo>
                  <a:pt x="1" y="392"/>
                  <a:pt x="0" y="394"/>
                  <a:pt x="0" y="397"/>
                </a:cubicBezTo>
                <a:cubicBezTo>
                  <a:pt x="0" y="401"/>
                  <a:pt x="2" y="406"/>
                  <a:pt x="6" y="408"/>
                </a:cubicBezTo>
                <a:cubicBezTo>
                  <a:pt x="12" y="412"/>
                  <a:pt x="21" y="411"/>
                  <a:pt x="25" y="404"/>
                </a:cubicBezTo>
                <a:cubicBezTo>
                  <a:pt x="25" y="404"/>
                  <a:pt x="44" y="376"/>
                  <a:pt x="50" y="367"/>
                </a:cubicBezTo>
                <a:cubicBezTo>
                  <a:pt x="63" y="367"/>
                  <a:pt x="443" y="367"/>
                  <a:pt x="443" y="367"/>
                </a:cubicBezTo>
                <a:cubicBezTo>
                  <a:pt x="450" y="367"/>
                  <a:pt x="456" y="361"/>
                  <a:pt x="456" y="354"/>
                </a:cubicBezTo>
                <a:cubicBezTo>
                  <a:pt x="456" y="181"/>
                  <a:pt x="456" y="181"/>
                  <a:pt x="456" y="181"/>
                </a:cubicBezTo>
                <a:cubicBezTo>
                  <a:pt x="456" y="174"/>
                  <a:pt x="450" y="168"/>
                  <a:pt x="443" y="168"/>
                </a:cubicBezTo>
                <a:cubicBezTo>
                  <a:pt x="375" y="168"/>
                  <a:pt x="375" y="168"/>
                  <a:pt x="375" y="168"/>
                </a:cubicBezTo>
                <a:cubicBezTo>
                  <a:pt x="368" y="168"/>
                  <a:pt x="362" y="174"/>
                  <a:pt x="362" y="181"/>
                </a:cubicBezTo>
                <a:cubicBezTo>
                  <a:pt x="362" y="181"/>
                  <a:pt x="362" y="264"/>
                  <a:pt x="362" y="285"/>
                </a:cubicBezTo>
                <a:cubicBezTo>
                  <a:pt x="350" y="285"/>
                  <a:pt x="339" y="285"/>
                  <a:pt x="327" y="285"/>
                </a:cubicBezTo>
                <a:cubicBezTo>
                  <a:pt x="327" y="264"/>
                  <a:pt x="327" y="181"/>
                  <a:pt x="327" y="181"/>
                </a:cubicBezTo>
                <a:cubicBezTo>
                  <a:pt x="327" y="174"/>
                  <a:pt x="321" y="168"/>
                  <a:pt x="314" y="168"/>
                </a:cubicBezTo>
                <a:cubicBezTo>
                  <a:pt x="246" y="168"/>
                  <a:pt x="246" y="168"/>
                  <a:pt x="246" y="168"/>
                </a:cubicBezTo>
                <a:cubicBezTo>
                  <a:pt x="238" y="168"/>
                  <a:pt x="233" y="174"/>
                  <a:pt x="233" y="181"/>
                </a:cubicBezTo>
                <a:cubicBezTo>
                  <a:pt x="233" y="181"/>
                  <a:pt x="233" y="264"/>
                  <a:pt x="233" y="285"/>
                </a:cubicBezTo>
                <a:cubicBezTo>
                  <a:pt x="220" y="285"/>
                  <a:pt x="208" y="285"/>
                  <a:pt x="196" y="285"/>
                </a:cubicBezTo>
                <a:cubicBezTo>
                  <a:pt x="196" y="261"/>
                  <a:pt x="196" y="44"/>
                  <a:pt x="196" y="44"/>
                </a:cubicBezTo>
                <a:cubicBezTo>
                  <a:pt x="196" y="20"/>
                  <a:pt x="176" y="0"/>
                  <a:pt x="152" y="0"/>
                </a:cubicBezTo>
                <a:lnTo>
                  <a:pt x="113" y="0"/>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52" name="Freeform 345"/>
          <p:cNvSpPr>
            <a:spLocks/>
          </p:cNvSpPr>
          <p:nvPr userDrawn="1"/>
        </p:nvSpPr>
        <p:spPr bwMode="auto">
          <a:xfrm>
            <a:off x="3802919" y="2312275"/>
            <a:ext cx="387054" cy="247650"/>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53" name="Freeform 349"/>
          <p:cNvSpPr>
            <a:spLocks/>
          </p:cNvSpPr>
          <p:nvPr userDrawn="1"/>
        </p:nvSpPr>
        <p:spPr bwMode="auto">
          <a:xfrm>
            <a:off x="3852938" y="3298841"/>
            <a:ext cx="287016" cy="394097"/>
          </a:xfrm>
          <a:custGeom>
            <a:avLst/>
            <a:gdLst/>
            <a:ahLst/>
            <a:cxnLst>
              <a:cxn ang="0">
                <a:pos x="299" y="75"/>
              </a:cxn>
              <a:cxn ang="0">
                <a:pos x="227" y="20"/>
              </a:cxn>
              <a:cxn ang="0">
                <a:pos x="170" y="0"/>
              </a:cxn>
              <a:cxn ang="0">
                <a:pos x="102" y="30"/>
              </a:cxn>
              <a:cxn ang="0">
                <a:pos x="56" y="67"/>
              </a:cxn>
              <a:cxn ang="0">
                <a:pos x="0" y="151"/>
              </a:cxn>
              <a:cxn ang="0">
                <a:pos x="35" y="222"/>
              </a:cxn>
              <a:cxn ang="0">
                <a:pos x="39" y="274"/>
              </a:cxn>
              <a:cxn ang="0">
                <a:pos x="116" y="325"/>
              </a:cxn>
              <a:cxn ang="0">
                <a:pos x="130" y="323"/>
              </a:cxn>
              <a:cxn ang="0">
                <a:pos x="95" y="440"/>
              </a:cxn>
              <a:cxn ang="0">
                <a:pos x="95" y="466"/>
              </a:cxn>
              <a:cxn ang="0">
                <a:pos x="152" y="462"/>
              </a:cxn>
              <a:cxn ang="0">
                <a:pos x="156" y="306"/>
              </a:cxn>
              <a:cxn ang="0">
                <a:pos x="139" y="293"/>
              </a:cxn>
              <a:cxn ang="0">
                <a:pos x="130" y="296"/>
              </a:cxn>
              <a:cxn ang="0">
                <a:pos x="118" y="298"/>
              </a:cxn>
              <a:cxn ang="0">
                <a:pos x="94" y="293"/>
              </a:cxn>
              <a:cxn ang="0">
                <a:pos x="59" y="241"/>
              </a:cxn>
              <a:cxn ang="0">
                <a:pos x="57" y="206"/>
              </a:cxn>
              <a:cxn ang="0">
                <a:pos x="27" y="151"/>
              </a:cxn>
              <a:cxn ang="0">
                <a:pos x="55" y="97"/>
              </a:cxn>
              <a:cxn ang="0">
                <a:pos x="93" y="86"/>
              </a:cxn>
              <a:cxn ang="0">
                <a:pos x="129" y="41"/>
              </a:cxn>
              <a:cxn ang="0">
                <a:pos x="170" y="26"/>
              </a:cxn>
              <a:cxn ang="0">
                <a:pos x="218" y="48"/>
              </a:cxn>
              <a:cxn ang="0">
                <a:pos x="246" y="86"/>
              </a:cxn>
              <a:cxn ang="0">
                <a:pos x="273" y="91"/>
              </a:cxn>
              <a:cxn ang="0">
                <a:pos x="313" y="151"/>
              </a:cxn>
              <a:cxn ang="0">
                <a:pos x="282" y="206"/>
              </a:cxn>
              <a:cxn ang="0">
                <a:pos x="280" y="241"/>
              </a:cxn>
              <a:cxn ang="0">
                <a:pos x="255" y="288"/>
              </a:cxn>
              <a:cxn ang="0">
                <a:pos x="221" y="298"/>
              </a:cxn>
              <a:cxn ang="0">
                <a:pos x="205" y="294"/>
              </a:cxn>
              <a:cxn ang="0">
                <a:pos x="201" y="293"/>
              </a:cxn>
              <a:cxn ang="0">
                <a:pos x="200" y="293"/>
              </a:cxn>
              <a:cxn ang="0">
                <a:pos x="189" y="296"/>
              </a:cxn>
              <a:cxn ang="0">
                <a:pos x="183" y="453"/>
              </a:cxn>
              <a:cxn ang="0">
                <a:pos x="197" y="466"/>
              </a:cxn>
              <a:cxn ang="0">
                <a:pos x="258" y="453"/>
              </a:cxn>
              <a:cxn ang="0">
                <a:pos x="210" y="440"/>
              </a:cxn>
              <a:cxn ang="0">
                <a:pos x="213" y="324"/>
              </a:cxn>
              <a:cxn ang="0">
                <a:pos x="224" y="324"/>
              </a:cxn>
              <a:cxn ang="0">
                <a:pos x="293" y="288"/>
              </a:cxn>
              <a:cxn ang="0">
                <a:pos x="305" y="222"/>
              </a:cxn>
              <a:cxn ang="0">
                <a:pos x="339" y="151"/>
              </a:cxn>
            </a:cxnLst>
            <a:rect l="0" t="0" r="r" b="b"/>
            <a:pathLst>
              <a:path w="339" h="466">
                <a:moveTo>
                  <a:pt x="332" y="115"/>
                </a:moveTo>
                <a:cubicBezTo>
                  <a:pt x="325" y="99"/>
                  <a:pt x="314" y="85"/>
                  <a:pt x="299" y="75"/>
                </a:cubicBezTo>
                <a:cubicBezTo>
                  <a:pt x="287" y="67"/>
                  <a:pt x="272" y="61"/>
                  <a:pt x="255" y="60"/>
                </a:cubicBezTo>
                <a:cubicBezTo>
                  <a:pt x="250" y="44"/>
                  <a:pt x="240" y="30"/>
                  <a:pt x="227" y="20"/>
                </a:cubicBezTo>
                <a:cubicBezTo>
                  <a:pt x="219" y="14"/>
                  <a:pt x="210" y="9"/>
                  <a:pt x="200" y="5"/>
                </a:cubicBezTo>
                <a:cubicBezTo>
                  <a:pt x="191" y="2"/>
                  <a:pt x="180" y="0"/>
                  <a:pt x="170" y="0"/>
                </a:cubicBezTo>
                <a:cubicBezTo>
                  <a:pt x="159" y="0"/>
                  <a:pt x="149" y="2"/>
                  <a:pt x="139" y="5"/>
                </a:cubicBezTo>
                <a:cubicBezTo>
                  <a:pt x="125" y="10"/>
                  <a:pt x="112" y="19"/>
                  <a:pt x="102" y="30"/>
                </a:cubicBezTo>
                <a:cubicBezTo>
                  <a:pt x="94" y="39"/>
                  <a:pt x="88" y="49"/>
                  <a:pt x="84" y="60"/>
                </a:cubicBezTo>
                <a:cubicBezTo>
                  <a:pt x="74" y="61"/>
                  <a:pt x="65" y="63"/>
                  <a:pt x="56" y="67"/>
                </a:cubicBezTo>
                <a:cubicBezTo>
                  <a:pt x="39" y="74"/>
                  <a:pt x="25" y="85"/>
                  <a:pt x="16" y="100"/>
                </a:cubicBezTo>
                <a:cubicBezTo>
                  <a:pt x="6" y="114"/>
                  <a:pt x="0" y="132"/>
                  <a:pt x="0" y="151"/>
                </a:cubicBezTo>
                <a:cubicBezTo>
                  <a:pt x="0" y="167"/>
                  <a:pt x="4" y="182"/>
                  <a:pt x="12" y="196"/>
                </a:cubicBezTo>
                <a:cubicBezTo>
                  <a:pt x="18" y="206"/>
                  <a:pt x="25" y="215"/>
                  <a:pt x="35" y="222"/>
                </a:cubicBezTo>
                <a:cubicBezTo>
                  <a:pt x="33" y="228"/>
                  <a:pt x="32" y="235"/>
                  <a:pt x="32" y="241"/>
                </a:cubicBezTo>
                <a:cubicBezTo>
                  <a:pt x="32" y="253"/>
                  <a:pt x="35" y="264"/>
                  <a:pt x="39" y="274"/>
                </a:cubicBezTo>
                <a:cubicBezTo>
                  <a:pt x="45" y="289"/>
                  <a:pt x="56" y="301"/>
                  <a:pt x="69" y="310"/>
                </a:cubicBezTo>
                <a:cubicBezTo>
                  <a:pt x="82" y="319"/>
                  <a:pt x="99" y="325"/>
                  <a:pt x="116" y="325"/>
                </a:cubicBezTo>
                <a:cubicBezTo>
                  <a:pt x="118" y="325"/>
                  <a:pt x="119" y="324"/>
                  <a:pt x="121" y="324"/>
                </a:cubicBezTo>
                <a:cubicBezTo>
                  <a:pt x="124" y="324"/>
                  <a:pt x="127" y="324"/>
                  <a:pt x="130" y="323"/>
                </a:cubicBezTo>
                <a:cubicBezTo>
                  <a:pt x="130" y="440"/>
                  <a:pt x="130" y="440"/>
                  <a:pt x="130" y="440"/>
                </a:cubicBezTo>
                <a:cubicBezTo>
                  <a:pt x="95" y="440"/>
                  <a:pt x="95" y="440"/>
                  <a:pt x="95" y="440"/>
                </a:cubicBezTo>
                <a:cubicBezTo>
                  <a:pt x="88" y="440"/>
                  <a:pt x="82" y="446"/>
                  <a:pt x="82" y="453"/>
                </a:cubicBezTo>
                <a:cubicBezTo>
                  <a:pt x="82" y="460"/>
                  <a:pt x="88" y="466"/>
                  <a:pt x="95" y="466"/>
                </a:cubicBezTo>
                <a:cubicBezTo>
                  <a:pt x="143" y="466"/>
                  <a:pt x="143" y="466"/>
                  <a:pt x="143" y="466"/>
                </a:cubicBezTo>
                <a:cubicBezTo>
                  <a:pt x="146" y="466"/>
                  <a:pt x="150" y="465"/>
                  <a:pt x="152" y="462"/>
                </a:cubicBezTo>
                <a:cubicBezTo>
                  <a:pt x="155" y="460"/>
                  <a:pt x="156" y="456"/>
                  <a:pt x="156" y="453"/>
                </a:cubicBezTo>
                <a:cubicBezTo>
                  <a:pt x="156" y="306"/>
                  <a:pt x="156" y="306"/>
                  <a:pt x="156" y="306"/>
                </a:cubicBezTo>
                <a:cubicBezTo>
                  <a:pt x="156" y="302"/>
                  <a:pt x="154" y="298"/>
                  <a:pt x="151" y="296"/>
                </a:cubicBezTo>
                <a:cubicBezTo>
                  <a:pt x="148" y="293"/>
                  <a:pt x="143" y="292"/>
                  <a:pt x="139" y="293"/>
                </a:cubicBezTo>
                <a:cubicBezTo>
                  <a:pt x="139" y="293"/>
                  <a:pt x="139" y="293"/>
                  <a:pt x="139" y="293"/>
                </a:cubicBezTo>
                <a:cubicBezTo>
                  <a:pt x="139" y="293"/>
                  <a:pt x="135" y="295"/>
                  <a:pt x="130" y="296"/>
                </a:cubicBezTo>
                <a:cubicBezTo>
                  <a:pt x="127" y="296"/>
                  <a:pt x="124" y="297"/>
                  <a:pt x="122" y="297"/>
                </a:cubicBezTo>
                <a:cubicBezTo>
                  <a:pt x="121" y="297"/>
                  <a:pt x="119" y="298"/>
                  <a:pt x="118" y="298"/>
                </a:cubicBezTo>
                <a:cubicBezTo>
                  <a:pt x="117" y="298"/>
                  <a:pt x="116" y="298"/>
                  <a:pt x="116" y="298"/>
                </a:cubicBezTo>
                <a:cubicBezTo>
                  <a:pt x="108" y="298"/>
                  <a:pt x="100" y="296"/>
                  <a:pt x="94" y="293"/>
                </a:cubicBezTo>
                <a:cubicBezTo>
                  <a:pt x="84" y="289"/>
                  <a:pt x="75" y="282"/>
                  <a:pt x="69" y="273"/>
                </a:cubicBezTo>
                <a:cubicBezTo>
                  <a:pt x="63" y="264"/>
                  <a:pt x="59" y="253"/>
                  <a:pt x="59" y="241"/>
                </a:cubicBezTo>
                <a:cubicBezTo>
                  <a:pt x="59" y="234"/>
                  <a:pt x="60" y="228"/>
                  <a:pt x="63" y="221"/>
                </a:cubicBezTo>
                <a:cubicBezTo>
                  <a:pt x="65" y="216"/>
                  <a:pt x="62" y="209"/>
                  <a:pt x="57" y="206"/>
                </a:cubicBezTo>
                <a:cubicBezTo>
                  <a:pt x="48" y="200"/>
                  <a:pt x="40" y="192"/>
                  <a:pt x="35" y="183"/>
                </a:cubicBezTo>
                <a:cubicBezTo>
                  <a:pt x="30" y="173"/>
                  <a:pt x="27" y="162"/>
                  <a:pt x="27" y="151"/>
                </a:cubicBezTo>
                <a:cubicBezTo>
                  <a:pt x="27" y="142"/>
                  <a:pt x="29" y="133"/>
                  <a:pt x="32" y="126"/>
                </a:cubicBezTo>
                <a:cubicBezTo>
                  <a:pt x="37" y="114"/>
                  <a:pt x="45" y="104"/>
                  <a:pt x="55" y="97"/>
                </a:cubicBezTo>
                <a:cubicBezTo>
                  <a:pt x="65" y="90"/>
                  <a:pt x="78" y="86"/>
                  <a:pt x="91" y="86"/>
                </a:cubicBezTo>
                <a:cubicBezTo>
                  <a:pt x="92" y="86"/>
                  <a:pt x="93" y="86"/>
                  <a:pt x="93" y="86"/>
                </a:cubicBezTo>
                <a:cubicBezTo>
                  <a:pt x="100" y="87"/>
                  <a:pt x="105" y="82"/>
                  <a:pt x="107" y="76"/>
                </a:cubicBezTo>
                <a:cubicBezTo>
                  <a:pt x="110" y="62"/>
                  <a:pt x="118" y="49"/>
                  <a:pt x="129" y="41"/>
                </a:cubicBezTo>
                <a:cubicBezTo>
                  <a:pt x="135" y="36"/>
                  <a:pt x="141" y="33"/>
                  <a:pt x="148" y="30"/>
                </a:cubicBezTo>
                <a:cubicBezTo>
                  <a:pt x="155" y="28"/>
                  <a:pt x="162" y="26"/>
                  <a:pt x="170" y="26"/>
                </a:cubicBezTo>
                <a:cubicBezTo>
                  <a:pt x="177" y="26"/>
                  <a:pt x="185" y="28"/>
                  <a:pt x="191" y="30"/>
                </a:cubicBezTo>
                <a:cubicBezTo>
                  <a:pt x="202" y="34"/>
                  <a:pt x="211" y="40"/>
                  <a:pt x="218" y="48"/>
                </a:cubicBezTo>
                <a:cubicBezTo>
                  <a:pt x="225" y="56"/>
                  <a:pt x="230" y="65"/>
                  <a:pt x="232" y="76"/>
                </a:cubicBezTo>
                <a:cubicBezTo>
                  <a:pt x="234" y="82"/>
                  <a:pt x="240" y="87"/>
                  <a:pt x="246" y="86"/>
                </a:cubicBezTo>
                <a:cubicBezTo>
                  <a:pt x="247" y="86"/>
                  <a:pt x="248" y="86"/>
                  <a:pt x="248" y="86"/>
                </a:cubicBezTo>
                <a:cubicBezTo>
                  <a:pt x="257" y="86"/>
                  <a:pt x="266" y="88"/>
                  <a:pt x="273" y="91"/>
                </a:cubicBezTo>
                <a:cubicBezTo>
                  <a:pt x="285" y="96"/>
                  <a:pt x="295" y="104"/>
                  <a:pt x="302" y="115"/>
                </a:cubicBezTo>
                <a:cubicBezTo>
                  <a:pt x="309" y="125"/>
                  <a:pt x="313" y="137"/>
                  <a:pt x="313" y="151"/>
                </a:cubicBezTo>
                <a:cubicBezTo>
                  <a:pt x="313" y="162"/>
                  <a:pt x="310" y="173"/>
                  <a:pt x="304" y="183"/>
                </a:cubicBezTo>
                <a:cubicBezTo>
                  <a:pt x="299" y="192"/>
                  <a:pt x="292" y="200"/>
                  <a:pt x="282" y="206"/>
                </a:cubicBezTo>
                <a:cubicBezTo>
                  <a:pt x="277" y="209"/>
                  <a:pt x="275" y="216"/>
                  <a:pt x="277" y="221"/>
                </a:cubicBezTo>
                <a:cubicBezTo>
                  <a:pt x="279" y="228"/>
                  <a:pt x="280" y="234"/>
                  <a:pt x="280" y="241"/>
                </a:cubicBezTo>
                <a:cubicBezTo>
                  <a:pt x="280" y="249"/>
                  <a:pt x="279" y="256"/>
                  <a:pt x="276" y="263"/>
                </a:cubicBezTo>
                <a:cubicBezTo>
                  <a:pt x="272" y="273"/>
                  <a:pt x="265" y="282"/>
                  <a:pt x="255" y="288"/>
                </a:cubicBezTo>
                <a:cubicBezTo>
                  <a:pt x="246" y="294"/>
                  <a:pt x="236" y="298"/>
                  <a:pt x="224" y="298"/>
                </a:cubicBezTo>
                <a:cubicBezTo>
                  <a:pt x="223" y="298"/>
                  <a:pt x="222" y="298"/>
                  <a:pt x="221" y="298"/>
                </a:cubicBezTo>
                <a:cubicBezTo>
                  <a:pt x="219" y="297"/>
                  <a:pt x="217" y="297"/>
                  <a:pt x="215" y="297"/>
                </a:cubicBezTo>
                <a:cubicBezTo>
                  <a:pt x="211" y="296"/>
                  <a:pt x="207" y="295"/>
                  <a:pt x="205" y="294"/>
                </a:cubicBezTo>
                <a:cubicBezTo>
                  <a:pt x="203" y="294"/>
                  <a:pt x="202" y="294"/>
                  <a:pt x="202" y="294"/>
                </a:cubicBezTo>
                <a:cubicBezTo>
                  <a:pt x="201" y="294"/>
                  <a:pt x="201" y="293"/>
                  <a:pt x="201" y="293"/>
                </a:cubicBezTo>
                <a:cubicBezTo>
                  <a:pt x="200" y="293"/>
                  <a:pt x="200" y="293"/>
                  <a:pt x="200" y="293"/>
                </a:cubicBezTo>
                <a:cubicBezTo>
                  <a:pt x="200" y="293"/>
                  <a:pt x="200" y="293"/>
                  <a:pt x="200" y="293"/>
                </a:cubicBezTo>
                <a:cubicBezTo>
                  <a:pt x="200" y="293"/>
                  <a:pt x="200" y="293"/>
                  <a:pt x="200" y="293"/>
                </a:cubicBezTo>
                <a:cubicBezTo>
                  <a:pt x="196" y="292"/>
                  <a:pt x="192" y="293"/>
                  <a:pt x="189" y="296"/>
                </a:cubicBezTo>
                <a:cubicBezTo>
                  <a:pt x="185" y="298"/>
                  <a:pt x="183" y="302"/>
                  <a:pt x="183" y="306"/>
                </a:cubicBezTo>
                <a:cubicBezTo>
                  <a:pt x="183" y="453"/>
                  <a:pt x="183" y="453"/>
                  <a:pt x="183" y="453"/>
                </a:cubicBezTo>
                <a:cubicBezTo>
                  <a:pt x="183" y="456"/>
                  <a:pt x="185" y="460"/>
                  <a:pt x="187" y="462"/>
                </a:cubicBezTo>
                <a:cubicBezTo>
                  <a:pt x="190" y="465"/>
                  <a:pt x="193" y="466"/>
                  <a:pt x="197" y="466"/>
                </a:cubicBezTo>
                <a:cubicBezTo>
                  <a:pt x="244" y="466"/>
                  <a:pt x="244" y="466"/>
                  <a:pt x="244" y="466"/>
                </a:cubicBezTo>
                <a:cubicBezTo>
                  <a:pt x="252" y="466"/>
                  <a:pt x="258" y="460"/>
                  <a:pt x="258" y="453"/>
                </a:cubicBezTo>
                <a:cubicBezTo>
                  <a:pt x="258" y="446"/>
                  <a:pt x="252" y="440"/>
                  <a:pt x="244" y="440"/>
                </a:cubicBezTo>
                <a:cubicBezTo>
                  <a:pt x="210" y="440"/>
                  <a:pt x="210" y="440"/>
                  <a:pt x="210" y="440"/>
                </a:cubicBezTo>
                <a:cubicBezTo>
                  <a:pt x="210" y="323"/>
                  <a:pt x="210" y="323"/>
                  <a:pt x="210" y="323"/>
                </a:cubicBezTo>
                <a:cubicBezTo>
                  <a:pt x="211" y="323"/>
                  <a:pt x="212" y="323"/>
                  <a:pt x="213" y="324"/>
                </a:cubicBezTo>
                <a:cubicBezTo>
                  <a:pt x="215" y="324"/>
                  <a:pt x="217" y="324"/>
                  <a:pt x="219" y="324"/>
                </a:cubicBezTo>
                <a:cubicBezTo>
                  <a:pt x="220" y="324"/>
                  <a:pt x="222" y="324"/>
                  <a:pt x="224" y="324"/>
                </a:cubicBezTo>
                <a:cubicBezTo>
                  <a:pt x="235" y="324"/>
                  <a:pt x="246" y="322"/>
                  <a:pt x="256" y="318"/>
                </a:cubicBezTo>
                <a:cubicBezTo>
                  <a:pt x="271" y="312"/>
                  <a:pt x="284" y="301"/>
                  <a:pt x="293" y="288"/>
                </a:cubicBezTo>
                <a:cubicBezTo>
                  <a:pt x="302" y="274"/>
                  <a:pt x="307" y="258"/>
                  <a:pt x="307" y="241"/>
                </a:cubicBezTo>
                <a:cubicBezTo>
                  <a:pt x="307" y="235"/>
                  <a:pt x="306" y="228"/>
                  <a:pt x="305" y="222"/>
                </a:cubicBezTo>
                <a:cubicBezTo>
                  <a:pt x="314" y="215"/>
                  <a:pt x="322" y="206"/>
                  <a:pt x="328" y="196"/>
                </a:cubicBezTo>
                <a:cubicBezTo>
                  <a:pt x="335" y="182"/>
                  <a:pt x="339" y="167"/>
                  <a:pt x="339" y="151"/>
                </a:cubicBezTo>
                <a:cubicBezTo>
                  <a:pt x="339" y="138"/>
                  <a:pt x="337" y="126"/>
                  <a:pt x="332" y="11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54" name="Freeform 369"/>
          <p:cNvSpPr>
            <a:spLocks/>
          </p:cNvSpPr>
          <p:nvPr userDrawn="1"/>
        </p:nvSpPr>
        <p:spPr bwMode="auto">
          <a:xfrm>
            <a:off x="3939281" y="1798006"/>
            <a:ext cx="114330" cy="366713"/>
          </a:xfrm>
          <a:custGeom>
            <a:avLst/>
            <a:gdLst/>
            <a:ahLst/>
            <a:cxnLst>
              <a:cxn ang="0">
                <a:pos x="80" y="356"/>
              </a:cxn>
              <a:cxn ang="0">
                <a:pos x="80" y="333"/>
              </a:cxn>
              <a:cxn ang="0">
                <a:pos x="131" y="280"/>
              </a:cxn>
              <a:cxn ang="0">
                <a:pos x="131" y="53"/>
              </a:cxn>
              <a:cxn ang="0">
                <a:pos x="78" y="0"/>
              </a:cxn>
              <a:cxn ang="0">
                <a:pos x="54" y="0"/>
              </a:cxn>
              <a:cxn ang="0">
                <a:pos x="0" y="53"/>
              </a:cxn>
              <a:cxn ang="0">
                <a:pos x="0" y="280"/>
              </a:cxn>
              <a:cxn ang="0">
                <a:pos x="16" y="318"/>
              </a:cxn>
              <a:cxn ang="0">
                <a:pos x="35" y="318"/>
              </a:cxn>
              <a:cxn ang="0">
                <a:pos x="35" y="299"/>
              </a:cxn>
              <a:cxn ang="0">
                <a:pos x="27" y="280"/>
              </a:cxn>
              <a:cxn ang="0">
                <a:pos x="27" y="255"/>
              </a:cxn>
              <a:cxn ang="0">
                <a:pos x="54" y="263"/>
              </a:cxn>
              <a:cxn ang="0">
                <a:pos x="77" y="263"/>
              </a:cxn>
              <a:cxn ang="0">
                <a:pos x="91" y="249"/>
              </a:cxn>
              <a:cxn ang="0">
                <a:pos x="77" y="236"/>
              </a:cxn>
              <a:cxn ang="0">
                <a:pos x="54" y="236"/>
              </a:cxn>
              <a:cxn ang="0">
                <a:pos x="35" y="228"/>
              </a:cxn>
              <a:cxn ang="0">
                <a:pos x="27" y="209"/>
              </a:cxn>
              <a:cxn ang="0">
                <a:pos x="27" y="206"/>
              </a:cxn>
              <a:cxn ang="0">
                <a:pos x="27" y="177"/>
              </a:cxn>
              <a:cxn ang="0">
                <a:pos x="54" y="184"/>
              </a:cxn>
              <a:cxn ang="0">
                <a:pos x="77" y="184"/>
              </a:cxn>
              <a:cxn ang="0">
                <a:pos x="91" y="171"/>
              </a:cxn>
              <a:cxn ang="0">
                <a:pos x="77" y="157"/>
              </a:cxn>
              <a:cxn ang="0">
                <a:pos x="54" y="157"/>
              </a:cxn>
              <a:cxn ang="0">
                <a:pos x="35" y="149"/>
              </a:cxn>
              <a:cxn ang="0">
                <a:pos x="27" y="131"/>
              </a:cxn>
              <a:cxn ang="0">
                <a:pos x="27" y="128"/>
              </a:cxn>
              <a:cxn ang="0">
                <a:pos x="27" y="97"/>
              </a:cxn>
              <a:cxn ang="0">
                <a:pos x="54" y="104"/>
              </a:cxn>
              <a:cxn ang="0">
                <a:pos x="77" y="104"/>
              </a:cxn>
              <a:cxn ang="0">
                <a:pos x="91" y="91"/>
              </a:cxn>
              <a:cxn ang="0">
                <a:pos x="77" y="77"/>
              </a:cxn>
              <a:cxn ang="0">
                <a:pos x="54" y="77"/>
              </a:cxn>
              <a:cxn ang="0">
                <a:pos x="35" y="69"/>
              </a:cxn>
              <a:cxn ang="0">
                <a:pos x="27" y="51"/>
              </a:cxn>
              <a:cxn ang="0">
                <a:pos x="27" y="50"/>
              </a:cxn>
              <a:cxn ang="0">
                <a:pos x="54" y="27"/>
              </a:cxn>
              <a:cxn ang="0">
                <a:pos x="78" y="27"/>
              </a:cxn>
              <a:cxn ang="0">
                <a:pos x="104" y="53"/>
              </a:cxn>
              <a:cxn ang="0">
                <a:pos x="104" y="280"/>
              </a:cxn>
              <a:cxn ang="0">
                <a:pos x="78" y="307"/>
              </a:cxn>
              <a:cxn ang="0">
                <a:pos x="71" y="307"/>
              </a:cxn>
              <a:cxn ang="0">
                <a:pos x="69" y="307"/>
              </a:cxn>
              <a:cxn ang="0">
                <a:pos x="67" y="307"/>
              </a:cxn>
              <a:cxn ang="0">
                <a:pos x="53" y="320"/>
              </a:cxn>
              <a:cxn ang="0">
                <a:pos x="53" y="368"/>
              </a:cxn>
              <a:cxn ang="0">
                <a:pos x="61" y="380"/>
              </a:cxn>
              <a:cxn ang="0">
                <a:pos x="68" y="382"/>
              </a:cxn>
              <a:cxn ang="0">
                <a:pos x="107" y="394"/>
              </a:cxn>
              <a:cxn ang="0">
                <a:pos x="68" y="406"/>
              </a:cxn>
              <a:cxn ang="0">
                <a:pos x="29" y="394"/>
              </a:cxn>
              <a:cxn ang="0">
                <a:pos x="39" y="387"/>
              </a:cxn>
              <a:cxn ang="0">
                <a:pos x="46" y="370"/>
              </a:cxn>
              <a:cxn ang="0">
                <a:pos x="29" y="362"/>
              </a:cxn>
              <a:cxn ang="0">
                <a:pos x="2" y="394"/>
              </a:cxn>
              <a:cxn ang="0">
                <a:pos x="68" y="433"/>
              </a:cxn>
              <a:cxn ang="0">
                <a:pos x="134" y="394"/>
              </a:cxn>
              <a:cxn ang="0">
                <a:pos x="80" y="356"/>
              </a:cxn>
            </a:cxnLst>
            <a:rect l="0" t="0" r="r" b="b"/>
            <a:pathLst>
              <a:path w="134" h="433">
                <a:moveTo>
                  <a:pt x="80" y="356"/>
                </a:moveTo>
                <a:cubicBezTo>
                  <a:pt x="80" y="333"/>
                  <a:pt x="80" y="333"/>
                  <a:pt x="80" y="333"/>
                </a:cubicBezTo>
                <a:cubicBezTo>
                  <a:pt x="108" y="332"/>
                  <a:pt x="131" y="309"/>
                  <a:pt x="131" y="280"/>
                </a:cubicBezTo>
                <a:cubicBezTo>
                  <a:pt x="131" y="53"/>
                  <a:pt x="131" y="53"/>
                  <a:pt x="131" y="53"/>
                </a:cubicBezTo>
                <a:cubicBezTo>
                  <a:pt x="131" y="24"/>
                  <a:pt x="107" y="0"/>
                  <a:pt x="78" y="0"/>
                </a:cubicBezTo>
                <a:cubicBezTo>
                  <a:pt x="54" y="0"/>
                  <a:pt x="54" y="0"/>
                  <a:pt x="54" y="0"/>
                </a:cubicBezTo>
                <a:cubicBezTo>
                  <a:pt x="24" y="0"/>
                  <a:pt x="0" y="24"/>
                  <a:pt x="0" y="53"/>
                </a:cubicBezTo>
                <a:cubicBezTo>
                  <a:pt x="0" y="280"/>
                  <a:pt x="0" y="280"/>
                  <a:pt x="0" y="280"/>
                </a:cubicBezTo>
                <a:cubicBezTo>
                  <a:pt x="0" y="294"/>
                  <a:pt x="6" y="308"/>
                  <a:pt x="16" y="318"/>
                </a:cubicBezTo>
                <a:cubicBezTo>
                  <a:pt x="21" y="323"/>
                  <a:pt x="30" y="323"/>
                  <a:pt x="35" y="318"/>
                </a:cubicBezTo>
                <a:cubicBezTo>
                  <a:pt x="40" y="313"/>
                  <a:pt x="40" y="304"/>
                  <a:pt x="35" y="299"/>
                </a:cubicBezTo>
                <a:cubicBezTo>
                  <a:pt x="29" y="294"/>
                  <a:pt x="27" y="287"/>
                  <a:pt x="27" y="280"/>
                </a:cubicBezTo>
                <a:cubicBezTo>
                  <a:pt x="27" y="255"/>
                  <a:pt x="27" y="255"/>
                  <a:pt x="27" y="255"/>
                </a:cubicBezTo>
                <a:cubicBezTo>
                  <a:pt x="35" y="260"/>
                  <a:pt x="44" y="263"/>
                  <a:pt x="54" y="263"/>
                </a:cubicBezTo>
                <a:cubicBezTo>
                  <a:pt x="77" y="263"/>
                  <a:pt x="77" y="263"/>
                  <a:pt x="77" y="263"/>
                </a:cubicBezTo>
                <a:cubicBezTo>
                  <a:pt x="85" y="263"/>
                  <a:pt x="91" y="257"/>
                  <a:pt x="91" y="249"/>
                </a:cubicBezTo>
                <a:cubicBezTo>
                  <a:pt x="91" y="242"/>
                  <a:pt x="85" y="236"/>
                  <a:pt x="77" y="236"/>
                </a:cubicBezTo>
                <a:cubicBezTo>
                  <a:pt x="54" y="236"/>
                  <a:pt x="54" y="236"/>
                  <a:pt x="54" y="236"/>
                </a:cubicBezTo>
                <a:cubicBezTo>
                  <a:pt x="47" y="236"/>
                  <a:pt x="40" y="233"/>
                  <a:pt x="35" y="228"/>
                </a:cubicBezTo>
                <a:cubicBezTo>
                  <a:pt x="30" y="223"/>
                  <a:pt x="27" y="216"/>
                  <a:pt x="27" y="209"/>
                </a:cubicBezTo>
                <a:cubicBezTo>
                  <a:pt x="27" y="208"/>
                  <a:pt x="27" y="207"/>
                  <a:pt x="27" y="206"/>
                </a:cubicBezTo>
                <a:cubicBezTo>
                  <a:pt x="27" y="177"/>
                  <a:pt x="27" y="177"/>
                  <a:pt x="27" y="177"/>
                </a:cubicBezTo>
                <a:cubicBezTo>
                  <a:pt x="35" y="181"/>
                  <a:pt x="44" y="184"/>
                  <a:pt x="54" y="184"/>
                </a:cubicBezTo>
                <a:cubicBezTo>
                  <a:pt x="77" y="184"/>
                  <a:pt x="77" y="184"/>
                  <a:pt x="77" y="184"/>
                </a:cubicBezTo>
                <a:cubicBezTo>
                  <a:pt x="85" y="184"/>
                  <a:pt x="91" y="178"/>
                  <a:pt x="91" y="171"/>
                </a:cubicBezTo>
                <a:cubicBezTo>
                  <a:pt x="91" y="163"/>
                  <a:pt x="85" y="157"/>
                  <a:pt x="77" y="157"/>
                </a:cubicBezTo>
                <a:cubicBezTo>
                  <a:pt x="54" y="157"/>
                  <a:pt x="54" y="157"/>
                  <a:pt x="54" y="157"/>
                </a:cubicBezTo>
                <a:cubicBezTo>
                  <a:pt x="47" y="157"/>
                  <a:pt x="40" y="155"/>
                  <a:pt x="35" y="149"/>
                </a:cubicBezTo>
                <a:cubicBezTo>
                  <a:pt x="30" y="144"/>
                  <a:pt x="27" y="138"/>
                  <a:pt x="27" y="131"/>
                </a:cubicBezTo>
                <a:cubicBezTo>
                  <a:pt x="27" y="130"/>
                  <a:pt x="27" y="129"/>
                  <a:pt x="27" y="128"/>
                </a:cubicBezTo>
                <a:cubicBezTo>
                  <a:pt x="27" y="97"/>
                  <a:pt x="27" y="97"/>
                  <a:pt x="27" y="97"/>
                </a:cubicBezTo>
                <a:cubicBezTo>
                  <a:pt x="35" y="101"/>
                  <a:pt x="44" y="104"/>
                  <a:pt x="54" y="104"/>
                </a:cubicBezTo>
                <a:cubicBezTo>
                  <a:pt x="77" y="104"/>
                  <a:pt x="77" y="104"/>
                  <a:pt x="77" y="104"/>
                </a:cubicBezTo>
                <a:cubicBezTo>
                  <a:pt x="85" y="104"/>
                  <a:pt x="91" y="98"/>
                  <a:pt x="91" y="91"/>
                </a:cubicBezTo>
                <a:cubicBezTo>
                  <a:pt x="91" y="83"/>
                  <a:pt x="85" y="77"/>
                  <a:pt x="77" y="77"/>
                </a:cubicBezTo>
                <a:cubicBezTo>
                  <a:pt x="54" y="77"/>
                  <a:pt x="54" y="77"/>
                  <a:pt x="54" y="77"/>
                </a:cubicBezTo>
                <a:cubicBezTo>
                  <a:pt x="47" y="77"/>
                  <a:pt x="40" y="75"/>
                  <a:pt x="35" y="69"/>
                </a:cubicBezTo>
                <a:cubicBezTo>
                  <a:pt x="30" y="64"/>
                  <a:pt x="27" y="58"/>
                  <a:pt x="27" y="51"/>
                </a:cubicBezTo>
                <a:cubicBezTo>
                  <a:pt x="27" y="50"/>
                  <a:pt x="27" y="50"/>
                  <a:pt x="27" y="50"/>
                </a:cubicBezTo>
                <a:cubicBezTo>
                  <a:pt x="29" y="37"/>
                  <a:pt x="40" y="27"/>
                  <a:pt x="54" y="27"/>
                </a:cubicBezTo>
                <a:cubicBezTo>
                  <a:pt x="78" y="27"/>
                  <a:pt x="78" y="27"/>
                  <a:pt x="78" y="27"/>
                </a:cubicBezTo>
                <a:cubicBezTo>
                  <a:pt x="93" y="27"/>
                  <a:pt x="104" y="38"/>
                  <a:pt x="104" y="53"/>
                </a:cubicBezTo>
                <a:cubicBezTo>
                  <a:pt x="104" y="280"/>
                  <a:pt x="104" y="280"/>
                  <a:pt x="104" y="280"/>
                </a:cubicBezTo>
                <a:cubicBezTo>
                  <a:pt x="104" y="295"/>
                  <a:pt x="93" y="307"/>
                  <a:pt x="78" y="307"/>
                </a:cubicBezTo>
                <a:cubicBezTo>
                  <a:pt x="71" y="307"/>
                  <a:pt x="71" y="307"/>
                  <a:pt x="71" y="307"/>
                </a:cubicBezTo>
                <a:cubicBezTo>
                  <a:pt x="70" y="307"/>
                  <a:pt x="69" y="307"/>
                  <a:pt x="69" y="307"/>
                </a:cubicBezTo>
                <a:cubicBezTo>
                  <a:pt x="68" y="307"/>
                  <a:pt x="67" y="307"/>
                  <a:pt x="67" y="307"/>
                </a:cubicBezTo>
                <a:cubicBezTo>
                  <a:pt x="59" y="307"/>
                  <a:pt x="53" y="313"/>
                  <a:pt x="53" y="320"/>
                </a:cubicBezTo>
                <a:cubicBezTo>
                  <a:pt x="53" y="368"/>
                  <a:pt x="53" y="368"/>
                  <a:pt x="53" y="368"/>
                </a:cubicBezTo>
                <a:cubicBezTo>
                  <a:pt x="53" y="374"/>
                  <a:pt x="57" y="378"/>
                  <a:pt x="61" y="380"/>
                </a:cubicBezTo>
                <a:cubicBezTo>
                  <a:pt x="63" y="381"/>
                  <a:pt x="66" y="382"/>
                  <a:pt x="68" y="382"/>
                </a:cubicBezTo>
                <a:cubicBezTo>
                  <a:pt x="92" y="382"/>
                  <a:pt x="106" y="391"/>
                  <a:pt x="107" y="394"/>
                </a:cubicBezTo>
                <a:cubicBezTo>
                  <a:pt x="106" y="397"/>
                  <a:pt x="92" y="406"/>
                  <a:pt x="68" y="406"/>
                </a:cubicBezTo>
                <a:cubicBezTo>
                  <a:pt x="44" y="406"/>
                  <a:pt x="30" y="398"/>
                  <a:pt x="29" y="394"/>
                </a:cubicBezTo>
                <a:cubicBezTo>
                  <a:pt x="29" y="393"/>
                  <a:pt x="32" y="390"/>
                  <a:pt x="39" y="387"/>
                </a:cubicBezTo>
                <a:cubicBezTo>
                  <a:pt x="46" y="384"/>
                  <a:pt x="49" y="376"/>
                  <a:pt x="46" y="370"/>
                </a:cubicBezTo>
                <a:cubicBezTo>
                  <a:pt x="43" y="363"/>
                  <a:pt x="36" y="360"/>
                  <a:pt x="29" y="362"/>
                </a:cubicBezTo>
                <a:cubicBezTo>
                  <a:pt x="12" y="369"/>
                  <a:pt x="2" y="381"/>
                  <a:pt x="2" y="394"/>
                </a:cubicBezTo>
                <a:cubicBezTo>
                  <a:pt x="2" y="416"/>
                  <a:pt x="30" y="433"/>
                  <a:pt x="68" y="433"/>
                </a:cubicBezTo>
                <a:cubicBezTo>
                  <a:pt x="106" y="433"/>
                  <a:pt x="134" y="416"/>
                  <a:pt x="134" y="394"/>
                </a:cubicBezTo>
                <a:cubicBezTo>
                  <a:pt x="134" y="374"/>
                  <a:pt x="112" y="359"/>
                  <a:pt x="80" y="35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grpSp>
        <p:nvGrpSpPr>
          <p:cNvPr id="4" name="Group 54"/>
          <p:cNvGrpSpPr/>
          <p:nvPr userDrawn="1"/>
        </p:nvGrpSpPr>
        <p:grpSpPr>
          <a:xfrm>
            <a:off x="3821379" y="3817891"/>
            <a:ext cx="350135" cy="348854"/>
            <a:chOff x="5486401" y="5233988"/>
            <a:chExt cx="466725" cy="465138"/>
          </a:xfrm>
          <a:noFill/>
        </p:grpSpPr>
        <p:sp>
          <p:nvSpPr>
            <p:cNvPr id="56" name="Line 401"/>
            <p:cNvSpPr>
              <a:spLocks noChangeShapeType="1"/>
            </p:cNvSpPr>
            <p:nvPr/>
          </p:nvSpPr>
          <p:spPr bwMode="auto">
            <a:xfrm flipV="1">
              <a:off x="5943601" y="5319713"/>
              <a:ext cx="4763" cy="635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Line 402"/>
            <p:cNvSpPr>
              <a:spLocks noChangeShapeType="1"/>
            </p:cNvSpPr>
            <p:nvPr/>
          </p:nvSpPr>
          <p:spPr bwMode="auto">
            <a:xfrm flipH="1" flipV="1">
              <a:off x="5884863" y="5362576"/>
              <a:ext cx="58738" cy="20638"/>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Line 404"/>
            <p:cNvSpPr>
              <a:spLocks noChangeShapeType="1"/>
            </p:cNvSpPr>
            <p:nvPr/>
          </p:nvSpPr>
          <p:spPr bwMode="auto">
            <a:xfrm flipH="1">
              <a:off x="5492751" y="5551488"/>
              <a:ext cx="7938" cy="635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Line 405"/>
            <p:cNvSpPr>
              <a:spLocks noChangeShapeType="1"/>
            </p:cNvSpPr>
            <p:nvPr/>
          </p:nvSpPr>
          <p:spPr bwMode="auto">
            <a:xfrm>
              <a:off x="5500688" y="5551488"/>
              <a:ext cx="57150" cy="254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1" name="Freeform 441"/>
          <p:cNvSpPr>
            <a:spLocks/>
          </p:cNvSpPr>
          <p:nvPr userDrawn="1"/>
        </p:nvSpPr>
        <p:spPr bwMode="auto">
          <a:xfrm>
            <a:off x="3888072" y="1309615"/>
            <a:ext cx="216750" cy="386954"/>
          </a:xfrm>
          <a:custGeom>
            <a:avLst/>
            <a:gdLst/>
            <a:ahLst/>
            <a:cxnLst>
              <a:cxn ang="0">
                <a:pos x="109" y="15"/>
              </a:cxn>
              <a:cxn ang="0">
                <a:pos x="84" y="49"/>
              </a:cxn>
              <a:cxn ang="0">
                <a:pos x="3" y="118"/>
              </a:cxn>
              <a:cxn ang="0">
                <a:pos x="0" y="142"/>
              </a:cxn>
              <a:cxn ang="0">
                <a:pos x="13" y="189"/>
              </a:cxn>
              <a:cxn ang="0">
                <a:pos x="65" y="230"/>
              </a:cxn>
              <a:cxn ang="0">
                <a:pos x="77" y="274"/>
              </a:cxn>
              <a:cxn ang="0">
                <a:pos x="77" y="283"/>
              </a:cxn>
              <a:cxn ang="0">
                <a:pos x="31" y="439"/>
              </a:cxn>
              <a:cxn ang="0">
                <a:pos x="30" y="445"/>
              </a:cxn>
              <a:cxn ang="0">
                <a:pos x="32" y="452"/>
              </a:cxn>
              <a:cxn ang="0">
                <a:pos x="43" y="458"/>
              </a:cxn>
              <a:cxn ang="0">
                <a:pos x="241" y="458"/>
              </a:cxn>
              <a:cxn ang="0">
                <a:pos x="252" y="452"/>
              </a:cxn>
              <a:cxn ang="0">
                <a:pos x="253" y="439"/>
              </a:cxn>
              <a:cxn ang="0">
                <a:pos x="221" y="226"/>
              </a:cxn>
              <a:cxn ang="0">
                <a:pos x="223" y="216"/>
              </a:cxn>
              <a:cxn ang="0">
                <a:pos x="217" y="208"/>
              </a:cxn>
              <a:cxn ang="0">
                <a:pos x="107" y="195"/>
              </a:cxn>
              <a:cxn ang="0">
                <a:pos x="97" y="210"/>
              </a:cxn>
              <a:cxn ang="0">
                <a:pos x="112" y="221"/>
              </a:cxn>
              <a:cxn ang="0">
                <a:pos x="192" y="225"/>
              </a:cxn>
              <a:cxn ang="0">
                <a:pos x="180" y="283"/>
              </a:cxn>
              <a:cxn ang="0">
                <a:pos x="219" y="432"/>
              </a:cxn>
              <a:cxn ang="0">
                <a:pos x="64" y="432"/>
              </a:cxn>
              <a:cxn ang="0">
                <a:pos x="104" y="284"/>
              </a:cxn>
              <a:cxn ang="0">
                <a:pos x="103" y="268"/>
              </a:cxn>
              <a:cxn ang="0">
                <a:pos x="85" y="213"/>
              </a:cxn>
              <a:cxn ang="0">
                <a:pos x="77" y="206"/>
              </a:cxn>
              <a:cxn ang="0">
                <a:pos x="36" y="175"/>
              </a:cxn>
              <a:cxn ang="0">
                <a:pos x="27" y="142"/>
              </a:cxn>
              <a:cxn ang="0">
                <a:pos x="29" y="125"/>
              </a:cxn>
              <a:cxn ang="0">
                <a:pos x="94" y="75"/>
              </a:cxn>
              <a:cxn ang="0">
                <a:pos x="98" y="75"/>
              </a:cxn>
              <a:cxn ang="0">
                <a:pos x="98" y="75"/>
              </a:cxn>
              <a:cxn ang="0">
                <a:pos x="108" y="64"/>
              </a:cxn>
              <a:cxn ang="0">
                <a:pos x="125" y="37"/>
              </a:cxn>
              <a:cxn ang="0">
                <a:pos x="156" y="30"/>
              </a:cxn>
              <a:cxn ang="0">
                <a:pos x="184" y="47"/>
              </a:cxn>
              <a:cxn ang="0">
                <a:pos x="191" y="78"/>
              </a:cxn>
              <a:cxn ang="0">
                <a:pos x="202" y="93"/>
              </a:cxn>
              <a:cxn ang="0">
                <a:pos x="217" y="83"/>
              </a:cxn>
              <a:cxn ang="0">
                <a:pos x="205" y="31"/>
              </a:cxn>
              <a:cxn ang="0">
                <a:pos x="161" y="3"/>
              </a:cxn>
              <a:cxn ang="0">
                <a:pos x="109" y="15"/>
              </a:cxn>
            </a:cxnLst>
            <a:rect l="0" t="0" r="r" b="b"/>
            <a:pathLst>
              <a:path w="255" h="458">
                <a:moveTo>
                  <a:pt x="109" y="15"/>
                </a:moveTo>
                <a:cubicBezTo>
                  <a:pt x="97" y="23"/>
                  <a:pt x="89" y="35"/>
                  <a:pt x="84" y="49"/>
                </a:cubicBezTo>
                <a:cubicBezTo>
                  <a:pt x="46" y="53"/>
                  <a:pt x="13" y="80"/>
                  <a:pt x="3" y="118"/>
                </a:cubicBezTo>
                <a:cubicBezTo>
                  <a:pt x="1" y="126"/>
                  <a:pt x="0" y="134"/>
                  <a:pt x="0" y="142"/>
                </a:cubicBezTo>
                <a:cubicBezTo>
                  <a:pt x="0" y="158"/>
                  <a:pt x="5" y="174"/>
                  <a:pt x="13" y="189"/>
                </a:cubicBezTo>
                <a:cubicBezTo>
                  <a:pt x="25" y="209"/>
                  <a:pt x="43" y="223"/>
                  <a:pt x="65" y="230"/>
                </a:cubicBezTo>
                <a:cubicBezTo>
                  <a:pt x="68" y="235"/>
                  <a:pt x="75" y="249"/>
                  <a:pt x="77" y="274"/>
                </a:cubicBezTo>
                <a:cubicBezTo>
                  <a:pt x="77" y="277"/>
                  <a:pt x="77" y="280"/>
                  <a:pt x="77" y="283"/>
                </a:cubicBezTo>
                <a:cubicBezTo>
                  <a:pt x="77" y="315"/>
                  <a:pt x="68" y="366"/>
                  <a:pt x="31" y="439"/>
                </a:cubicBezTo>
                <a:cubicBezTo>
                  <a:pt x="30" y="441"/>
                  <a:pt x="30" y="443"/>
                  <a:pt x="30" y="445"/>
                </a:cubicBezTo>
                <a:cubicBezTo>
                  <a:pt x="30" y="448"/>
                  <a:pt x="30" y="450"/>
                  <a:pt x="32" y="452"/>
                </a:cubicBezTo>
                <a:cubicBezTo>
                  <a:pt x="34" y="456"/>
                  <a:pt x="38" y="458"/>
                  <a:pt x="43" y="458"/>
                </a:cubicBezTo>
                <a:cubicBezTo>
                  <a:pt x="241" y="458"/>
                  <a:pt x="241" y="458"/>
                  <a:pt x="241" y="458"/>
                </a:cubicBezTo>
                <a:cubicBezTo>
                  <a:pt x="246" y="458"/>
                  <a:pt x="250" y="456"/>
                  <a:pt x="252" y="452"/>
                </a:cubicBezTo>
                <a:cubicBezTo>
                  <a:pt x="255" y="448"/>
                  <a:pt x="255" y="443"/>
                  <a:pt x="253" y="439"/>
                </a:cubicBezTo>
                <a:cubicBezTo>
                  <a:pt x="252" y="437"/>
                  <a:pt x="176" y="295"/>
                  <a:pt x="221" y="226"/>
                </a:cubicBezTo>
                <a:cubicBezTo>
                  <a:pt x="223" y="223"/>
                  <a:pt x="224" y="220"/>
                  <a:pt x="223" y="216"/>
                </a:cubicBezTo>
                <a:cubicBezTo>
                  <a:pt x="222" y="213"/>
                  <a:pt x="220" y="210"/>
                  <a:pt x="217" y="208"/>
                </a:cubicBezTo>
                <a:cubicBezTo>
                  <a:pt x="215" y="207"/>
                  <a:pt x="175" y="181"/>
                  <a:pt x="107" y="195"/>
                </a:cubicBezTo>
                <a:cubicBezTo>
                  <a:pt x="100" y="196"/>
                  <a:pt x="95" y="203"/>
                  <a:pt x="97" y="210"/>
                </a:cubicBezTo>
                <a:cubicBezTo>
                  <a:pt x="98" y="217"/>
                  <a:pt x="105" y="222"/>
                  <a:pt x="112" y="221"/>
                </a:cubicBezTo>
                <a:cubicBezTo>
                  <a:pt x="150" y="213"/>
                  <a:pt x="177" y="220"/>
                  <a:pt x="192" y="225"/>
                </a:cubicBezTo>
                <a:cubicBezTo>
                  <a:pt x="184" y="243"/>
                  <a:pt x="180" y="262"/>
                  <a:pt x="180" y="283"/>
                </a:cubicBezTo>
                <a:cubicBezTo>
                  <a:pt x="180" y="339"/>
                  <a:pt x="205" y="401"/>
                  <a:pt x="219" y="432"/>
                </a:cubicBezTo>
                <a:cubicBezTo>
                  <a:pt x="189" y="432"/>
                  <a:pt x="94" y="432"/>
                  <a:pt x="64" y="432"/>
                </a:cubicBezTo>
                <a:cubicBezTo>
                  <a:pt x="91" y="376"/>
                  <a:pt x="104" y="326"/>
                  <a:pt x="104" y="284"/>
                </a:cubicBezTo>
                <a:cubicBezTo>
                  <a:pt x="104" y="279"/>
                  <a:pt x="104" y="273"/>
                  <a:pt x="103" y="268"/>
                </a:cubicBezTo>
                <a:cubicBezTo>
                  <a:pt x="100" y="237"/>
                  <a:pt x="90" y="219"/>
                  <a:pt x="85" y="213"/>
                </a:cubicBezTo>
                <a:cubicBezTo>
                  <a:pt x="84" y="210"/>
                  <a:pt x="81" y="207"/>
                  <a:pt x="77" y="206"/>
                </a:cubicBezTo>
                <a:cubicBezTo>
                  <a:pt x="60" y="202"/>
                  <a:pt x="45" y="191"/>
                  <a:pt x="36" y="175"/>
                </a:cubicBezTo>
                <a:cubicBezTo>
                  <a:pt x="30" y="165"/>
                  <a:pt x="27" y="154"/>
                  <a:pt x="27" y="142"/>
                </a:cubicBezTo>
                <a:cubicBezTo>
                  <a:pt x="27" y="136"/>
                  <a:pt x="28" y="131"/>
                  <a:pt x="29" y="125"/>
                </a:cubicBezTo>
                <a:cubicBezTo>
                  <a:pt x="37" y="95"/>
                  <a:pt x="64" y="75"/>
                  <a:pt x="94" y="75"/>
                </a:cubicBezTo>
                <a:cubicBezTo>
                  <a:pt x="95" y="75"/>
                  <a:pt x="97" y="75"/>
                  <a:pt x="98" y="75"/>
                </a:cubicBezTo>
                <a:cubicBezTo>
                  <a:pt x="98" y="75"/>
                  <a:pt x="98" y="75"/>
                  <a:pt x="98" y="75"/>
                </a:cubicBezTo>
                <a:cubicBezTo>
                  <a:pt x="103" y="73"/>
                  <a:pt x="107" y="69"/>
                  <a:pt x="108" y="64"/>
                </a:cubicBezTo>
                <a:cubicBezTo>
                  <a:pt x="110" y="53"/>
                  <a:pt x="116" y="43"/>
                  <a:pt x="125" y="37"/>
                </a:cubicBezTo>
                <a:cubicBezTo>
                  <a:pt x="134" y="30"/>
                  <a:pt x="145" y="28"/>
                  <a:pt x="156" y="30"/>
                </a:cubicBezTo>
                <a:cubicBezTo>
                  <a:pt x="167" y="31"/>
                  <a:pt x="177" y="37"/>
                  <a:pt x="184" y="47"/>
                </a:cubicBezTo>
                <a:cubicBezTo>
                  <a:pt x="190" y="56"/>
                  <a:pt x="193" y="67"/>
                  <a:pt x="191" y="78"/>
                </a:cubicBezTo>
                <a:cubicBezTo>
                  <a:pt x="189" y="85"/>
                  <a:pt x="194" y="92"/>
                  <a:pt x="202" y="93"/>
                </a:cubicBezTo>
                <a:cubicBezTo>
                  <a:pt x="209" y="95"/>
                  <a:pt x="216" y="90"/>
                  <a:pt x="217" y="83"/>
                </a:cubicBezTo>
                <a:cubicBezTo>
                  <a:pt x="220" y="64"/>
                  <a:pt x="216" y="46"/>
                  <a:pt x="205" y="31"/>
                </a:cubicBezTo>
                <a:cubicBezTo>
                  <a:pt x="195" y="16"/>
                  <a:pt x="179" y="6"/>
                  <a:pt x="161" y="3"/>
                </a:cubicBezTo>
                <a:cubicBezTo>
                  <a:pt x="143" y="0"/>
                  <a:pt x="124" y="4"/>
                  <a:pt x="109" y="1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2" name="Freeform 497"/>
          <p:cNvSpPr>
            <a:spLocks noEditPoints="1"/>
          </p:cNvSpPr>
          <p:nvPr userDrawn="1"/>
        </p:nvSpPr>
        <p:spPr bwMode="auto">
          <a:xfrm>
            <a:off x="3805896" y="2829266"/>
            <a:ext cx="381099" cy="246460"/>
          </a:xfrm>
          <a:custGeom>
            <a:avLst/>
            <a:gdLst/>
            <a:ahLst/>
            <a:cxnLst>
              <a:cxn ang="0">
                <a:pos x="25" y="33"/>
              </a:cxn>
              <a:cxn ang="0">
                <a:pos x="0" y="87"/>
              </a:cxn>
              <a:cxn ang="0">
                <a:pos x="51" y="166"/>
              </a:cxn>
              <a:cxn ang="0">
                <a:pos x="12" y="178"/>
              </a:cxn>
              <a:cxn ang="0">
                <a:pos x="24" y="231"/>
              </a:cxn>
              <a:cxn ang="0">
                <a:pos x="32" y="241"/>
              </a:cxn>
              <a:cxn ang="0">
                <a:pos x="131" y="241"/>
              </a:cxn>
              <a:cxn ang="0">
                <a:pos x="140" y="231"/>
              </a:cxn>
              <a:cxn ang="0">
                <a:pos x="188" y="290"/>
              </a:cxn>
              <a:cxn ang="0">
                <a:pos x="205" y="194"/>
              </a:cxn>
              <a:cxn ang="0">
                <a:pos x="189" y="202"/>
              </a:cxn>
              <a:cxn ang="0">
                <a:pos x="213" y="241"/>
              </a:cxn>
              <a:cxn ang="0">
                <a:pos x="163" y="241"/>
              </a:cxn>
              <a:cxn ang="0">
                <a:pos x="169" y="213"/>
              </a:cxn>
              <a:cxn ang="0">
                <a:pos x="111" y="207"/>
              </a:cxn>
              <a:cxn ang="0">
                <a:pos x="101" y="226"/>
              </a:cxn>
              <a:cxn ang="0">
                <a:pos x="81" y="266"/>
              </a:cxn>
              <a:cxn ang="0">
                <a:pos x="61" y="226"/>
              </a:cxn>
              <a:cxn ang="0">
                <a:pos x="51" y="206"/>
              </a:cxn>
              <a:cxn ang="0">
                <a:pos x="36" y="207"/>
              </a:cxn>
              <a:cxn ang="0">
                <a:pos x="78" y="190"/>
              </a:cxn>
              <a:cxn ang="0">
                <a:pos x="89" y="183"/>
              </a:cxn>
              <a:cxn ang="0">
                <a:pos x="87" y="168"/>
              </a:cxn>
              <a:cxn ang="0">
                <a:pos x="44" y="49"/>
              </a:cxn>
              <a:cxn ang="0">
                <a:pos x="230" y="88"/>
              </a:cxn>
              <a:cxn ang="0">
                <a:pos x="229" y="138"/>
              </a:cxn>
              <a:cxn ang="0">
                <a:pos x="211" y="170"/>
              </a:cxn>
              <a:cxn ang="0">
                <a:pos x="220" y="190"/>
              </a:cxn>
              <a:cxn ang="0">
                <a:pos x="302" y="178"/>
              </a:cxn>
              <a:cxn ang="0">
                <a:pos x="339" y="105"/>
              </a:cxn>
              <a:cxn ang="0">
                <a:pos x="364" y="153"/>
              </a:cxn>
              <a:cxn ang="0">
                <a:pos x="425" y="207"/>
              </a:cxn>
              <a:cxn ang="0">
                <a:pos x="391" y="207"/>
              </a:cxn>
              <a:cxn ang="0">
                <a:pos x="378" y="213"/>
              </a:cxn>
              <a:cxn ang="0">
                <a:pos x="384" y="241"/>
              </a:cxn>
              <a:cxn ang="0">
                <a:pos x="334" y="241"/>
              </a:cxn>
              <a:cxn ang="0">
                <a:pos x="357" y="211"/>
              </a:cxn>
              <a:cxn ang="0">
                <a:pos x="351" y="195"/>
              </a:cxn>
              <a:cxn ang="0">
                <a:pos x="309" y="241"/>
              </a:cxn>
              <a:cxn ang="0">
                <a:pos x="408" y="241"/>
              </a:cxn>
              <a:cxn ang="0">
                <a:pos x="437" y="231"/>
              </a:cxn>
              <a:cxn ang="0">
                <a:pos x="449" y="157"/>
              </a:cxn>
              <a:cxn ang="0">
                <a:pos x="376" y="131"/>
              </a:cxn>
              <a:cxn ang="0">
                <a:pos x="348" y="81"/>
              </a:cxn>
              <a:cxn ang="0">
                <a:pos x="278" y="93"/>
              </a:cxn>
              <a:cxn ang="0">
                <a:pos x="243" y="166"/>
              </a:cxn>
              <a:cxn ang="0">
                <a:pos x="252" y="147"/>
              </a:cxn>
              <a:cxn ang="0">
                <a:pos x="260" y="105"/>
              </a:cxn>
              <a:cxn ang="0">
                <a:pos x="247" y="71"/>
              </a:cxn>
              <a:cxn ang="0">
                <a:pos x="33" y="26"/>
              </a:cxn>
              <a:cxn ang="0">
                <a:pos x="33" y="26"/>
              </a:cxn>
            </a:cxnLst>
            <a:rect l="0" t="0" r="r" b="b"/>
            <a:pathLst>
              <a:path w="449" h="290">
                <a:moveTo>
                  <a:pt x="33" y="26"/>
                </a:moveTo>
                <a:cubicBezTo>
                  <a:pt x="30" y="27"/>
                  <a:pt x="26" y="30"/>
                  <a:pt x="25" y="33"/>
                </a:cubicBezTo>
                <a:cubicBezTo>
                  <a:pt x="1" y="82"/>
                  <a:pt x="1" y="82"/>
                  <a:pt x="1" y="82"/>
                </a:cubicBezTo>
                <a:cubicBezTo>
                  <a:pt x="0" y="84"/>
                  <a:pt x="0" y="85"/>
                  <a:pt x="0" y="87"/>
                </a:cubicBezTo>
                <a:cubicBezTo>
                  <a:pt x="0" y="89"/>
                  <a:pt x="0" y="91"/>
                  <a:pt x="1" y="93"/>
                </a:cubicBezTo>
                <a:cubicBezTo>
                  <a:pt x="2" y="95"/>
                  <a:pt x="23" y="133"/>
                  <a:pt x="51" y="166"/>
                </a:cubicBezTo>
                <a:cubicBezTo>
                  <a:pt x="45" y="166"/>
                  <a:pt x="24" y="166"/>
                  <a:pt x="24" y="166"/>
                </a:cubicBezTo>
                <a:cubicBezTo>
                  <a:pt x="17" y="166"/>
                  <a:pt x="12" y="171"/>
                  <a:pt x="12" y="178"/>
                </a:cubicBezTo>
                <a:cubicBezTo>
                  <a:pt x="12" y="219"/>
                  <a:pt x="12" y="219"/>
                  <a:pt x="12" y="219"/>
                </a:cubicBezTo>
                <a:cubicBezTo>
                  <a:pt x="12" y="226"/>
                  <a:pt x="17" y="231"/>
                  <a:pt x="24" y="231"/>
                </a:cubicBezTo>
                <a:cubicBezTo>
                  <a:pt x="24" y="231"/>
                  <a:pt x="30" y="231"/>
                  <a:pt x="33" y="231"/>
                </a:cubicBezTo>
                <a:cubicBezTo>
                  <a:pt x="32" y="234"/>
                  <a:pt x="32" y="238"/>
                  <a:pt x="32" y="241"/>
                </a:cubicBezTo>
                <a:cubicBezTo>
                  <a:pt x="32" y="268"/>
                  <a:pt x="54" y="290"/>
                  <a:pt x="81" y="290"/>
                </a:cubicBezTo>
                <a:cubicBezTo>
                  <a:pt x="108" y="290"/>
                  <a:pt x="131" y="268"/>
                  <a:pt x="131" y="241"/>
                </a:cubicBezTo>
                <a:cubicBezTo>
                  <a:pt x="131" y="238"/>
                  <a:pt x="130" y="234"/>
                  <a:pt x="129" y="231"/>
                </a:cubicBezTo>
                <a:cubicBezTo>
                  <a:pt x="131" y="231"/>
                  <a:pt x="137" y="231"/>
                  <a:pt x="140" y="231"/>
                </a:cubicBezTo>
                <a:cubicBezTo>
                  <a:pt x="139" y="234"/>
                  <a:pt x="139" y="238"/>
                  <a:pt x="139" y="241"/>
                </a:cubicBezTo>
                <a:cubicBezTo>
                  <a:pt x="139" y="268"/>
                  <a:pt x="161" y="290"/>
                  <a:pt x="188" y="290"/>
                </a:cubicBezTo>
                <a:cubicBezTo>
                  <a:pt x="215" y="290"/>
                  <a:pt x="237" y="268"/>
                  <a:pt x="237" y="241"/>
                </a:cubicBezTo>
                <a:cubicBezTo>
                  <a:pt x="237" y="220"/>
                  <a:pt x="224" y="201"/>
                  <a:pt x="205" y="194"/>
                </a:cubicBezTo>
                <a:cubicBezTo>
                  <a:pt x="201" y="193"/>
                  <a:pt x="198" y="194"/>
                  <a:pt x="195" y="195"/>
                </a:cubicBezTo>
                <a:cubicBezTo>
                  <a:pt x="192" y="196"/>
                  <a:pt x="190" y="199"/>
                  <a:pt x="189" y="202"/>
                </a:cubicBezTo>
                <a:cubicBezTo>
                  <a:pt x="187" y="208"/>
                  <a:pt x="190" y="215"/>
                  <a:pt x="196" y="217"/>
                </a:cubicBezTo>
                <a:cubicBezTo>
                  <a:pt x="206" y="221"/>
                  <a:pt x="213" y="230"/>
                  <a:pt x="213" y="241"/>
                </a:cubicBezTo>
                <a:cubicBezTo>
                  <a:pt x="213" y="255"/>
                  <a:pt x="202" y="266"/>
                  <a:pt x="188" y="266"/>
                </a:cubicBezTo>
                <a:cubicBezTo>
                  <a:pt x="174" y="266"/>
                  <a:pt x="163" y="255"/>
                  <a:pt x="163" y="241"/>
                </a:cubicBezTo>
                <a:cubicBezTo>
                  <a:pt x="163" y="235"/>
                  <a:pt x="165" y="230"/>
                  <a:pt x="168" y="226"/>
                </a:cubicBezTo>
                <a:cubicBezTo>
                  <a:pt x="170" y="222"/>
                  <a:pt x="171" y="217"/>
                  <a:pt x="169" y="213"/>
                </a:cubicBezTo>
                <a:cubicBezTo>
                  <a:pt x="167" y="209"/>
                  <a:pt x="163" y="207"/>
                  <a:pt x="158" y="207"/>
                </a:cubicBezTo>
                <a:cubicBezTo>
                  <a:pt x="111" y="207"/>
                  <a:pt x="111" y="207"/>
                  <a:pt x="111" y="207"/>
                </a:cubicBezTo>
                <a:cubicBezTo>
                  <a:pt x="107" y="207"/>
                  <a:pt x="102" y="209"/>
                  <a:pt x="100" y="213"/>
                </a:cubicBezTo>
                <a:cubicBezTo>
                  <a:pt x="98" y="217"/>
                  <a:pt x="99" y="222"/>
                  <a:pt x="101" y="226"/>
                </a:cubicBezTo>
                <a:cubicBezTo>
                  <a:pt x="105" y="230"/>
                  <a:pt x="106" y="235"/>
                  <a:pt x="106" y="241"/>
                </a:cubicBezTo>
                <a:cubicBezTo>
                  <a:pt x="106" y="255"/>
                  <a:pt x="95" y="266"/>
                  <a:pt x="81" y="266"/>
                </a:cubicBezTo>
                <a:cubicBezTo>
                  <a:pt x="67" y="266"/>
                  <a:pt x="56" y="255"/>
                  <a:pt x="56" y="241"/>
                </a:cubicBezTo>
                <a:cubicBezTo>
                  <a:pt x="56" y="235"/>
                  <a:pt x="58" y="230"/>
                  <a:pt x="61" y="226"/>
                </a:cubicBezTo>
                <a:cubicBezTo>
                  <a:pt x="64" y="222"/>
                  <a:pt x="64" y="217"/>
                  <a:pt x="62" y="213"/>
                </a:cubicBezTo>
                <a:cubicBezTo>
                  <a:pt x="60" y="209"/>
                  <a:pt x="56" y="206"/>
                  <a:pt x="51" y="206"/>
                </a:cubicBezTo>
                <a:cubicBezTo>
                  <a:pt x="43" y="207"/>
                  <a:pt x="43" y="207"/>
                  <a:pt x="43" y="207"/>
                </a:cubicBezTo>
                <a:cubicBezTo>
                  <a:pt x="43" y="207"/>
                  <a:pt x="38" y="207"/>
                  <a:pt x="36" y="207"/>
                </a:cubicBezTo>
                <a:cubicBezTo>
                  <a:pt x="36" y="204"/>
                  <a:pt x="36" y="193"/>
                  <a:pt x="36" y="190"/>
                </a:cubicBezTo>
                <a:cubicBezTo>
                  <a:pt x="40" y="190"/>
                  <a:pt x="78" y="190"/>
                  <a:pt x="78" y="190"/>
                </a:cubicBezTo>
                <a:cubicBezTo>
                  <a:pt x="83" y="190"/>
                  <a:pt x="86" y="188"/>
                  <a:pt x="89" y="184"/>
                </a:cubicBezTo>
                <a:cubicBezTo>
                  <a:pt x="89" y="184"/>
                  <a:pt x="89" y="183"/>
                  <a:pt x="89" y="183"/>
                </a:cubicBezTo>
                <a:cubicBezTo>
                  <a:pt x="90" y="181"/>
                  <a:pt x="91" y="179"/>
                  <a:pt x="91" y="177"/>
                </a:cubicBezTo>
                <a:cubicBezTo>
                  <a:pt x="91" y="174"/>
                  <a:pt x="90" y="170"/>
                  <a:pt x="87" y="168"/>
                </a:cubicBezTo>
                <a:cubicBezTo>
                  <a:pt x="59" y="143"/>
                  <a:pt x="33" y="101"/>
                  <a:pt x="25" y="87"/>
                </a:cubicBezTo>
                <a:cubicBezTo>
                  <a:pt x="26" y="85"/>
                  <a:pt x="43" y="51"/>
                  <a:pt x="44" y="49"/>
                </a:cubicBezTo>
                <a:cubicBezTo>
                  <a:pt x="109" y="39"/>
                  <a:pt x="156" y="49"/>
                  <a:pt x="183" y="60"/>
                </a:cubicBezTo>
                <a:cubicBezTo>
                  <a:pt x="214" y="72"/>
                  <a:pt x="230" y="88"/>
                  <a:pt x="230" y="88"/>
                </a:cubicBezTo>
                <a:cubicBezTo>
                  <a:pt x="230" y="88"/>
                  <a:pt x="231" y="89"/>
                  <a:pt x="231" y="89"/>
                </a:cubicBezTo>
                <a:cubicBezTo>
                  <a:pt x="239" y="96"/>
                  <a:pt x="235" y="122"/>
                  <a:pt x="229" y="138"/>
                </a:cubicBezTo>
                <a:cubicBezTo>
                  <a:pt x="229" y="137"/>
                  <a:pt x="229" y="139"/>
                  <a:pt x="229" y="139"/>
                </a:cubicBezTo>
                <a:cubicBezTo>
                  <a:pt x="229" y="140"/>
                  <a:pt x="222" y="158"/>
                  <a:pt x="211" y="170"/>
                </a:cubicBezTo>
                <a:cubicBezTo>
                  <a:pt x="208" y="174"/>
                  <a:pt x="207" y="179"/>
                  <a:pt x="209" y="183"/>
                </a:cubicBezTo>
                <a:cubicBezTo>
                  <a:pt x="211" y="187"/>
                  <a:pt x="216" y="190"/>
                  <a:pt x="220" y="190"/>
                </a:cubicBezTo>
                <a:cubicBezTo>
                  <a:pt x="290" y="190"/>
                  <a:pt x="290" y="190"/>
                  <a:pt x="290" y="190"/>
                </a:cubicBezTo>
                <a:cubicBezTo>
                  <a:pt x="297" y="190"/>
                  <a:pt x="302" y="185"/>
                  <a:pt x="302" y="178"/>
                </a:cubicBezTo>
                <a:cubicBezTo>
                  <a:pt x="302" y="178"/>
                  <a:pt x="302" y="109"/>
                  <a:pt x="302" y="105"/>
                </a:cubicBezTo>
                <a:cubicBezTo>
                  <a:pt x="306" y="105"/>
                  <a:pt x="337" y="105"/>
                  <a:pt x="339" y="105"/>
                </a:cubicBezTo>
                <a:cubicBezTo>
                  <a:pt x="340" y="108"/>
                  <a:pt x="356" y="146"/>
                  <a:pt x="356" y="146"/>
                </a:cubicBezTo>
                <a:cubicBezTo>
                  <a:pt x="357" y="150"/>
                  <a:pt x="360" y="152"/>
                  <a:pt x="364" y="153"/>
                </a:cubicBezTo>
                <a:cubicBezTo>
                  <a:pt x="364" y="153"/>
                  <a:pt x="415" y="165"/>
                  <a:pt x="425" y="167"/>
                </a:cubicBezTo>
                <a:cubicBezTo>
                  <a:pt x="425" y="170"/>
                  <a:pt x="425" y="203"/>
                  <a:pt x="425" y="207"/>
                </a:cubicBezTo>
                <a:cubicBezTo>
                  <a:pt x="421" y="207"/>
                  <a:pt x="391" y="207"/>
                  <a:pt x="391" y="207"/>
                </a:cubicBezTo>
                <a:cubicBezTo>
                  <a:pt x="391" y="207"/>
                  <a:pt x="391" y="207"/>
                  <a:pt x="391" y="207"/>
                </a:cubicBezTo>
                <a:cubicBezTo>
                  <a:pt x="391" y="207"/>
                  <a:pt x="390" y="207"/>
                  <a:pt x="389" y="207"/>
                </a:cubicBezTo>
                <a:cubicBezTo>
                  <a:pt x="384" y="207"/>
                  <a:pt x="380" y="209"/>
                  <a:pt x="378" y="213"/>
                </a:cubicBezTo>
                <a:cubicBezTo>
                  <a:pt x="376" y="217"/>
                  <a:pt x="376" y="222"/>
                  <a:pt x="379" y="226"/>
                </a:cubicBezTo>
                <a:cubicBezTo>
                  <a:pt x="382" y="230"/>
                  <a:pt x="384" y="236"/>
                  <a:pt x="384" y="241"/>
                </a:cubicBezTo>
                <a:cubicBezTo>
                  <a:pt x="384" y="255"/>
                  <a:pt x="373" y="266"/>
                  <a:pt x="359" y="266"/>
                </a:cubicBezTo>
                <a:cubicBezTo>
                  <a:pt x="345" y="266"/>
                  <a:pt x="334" y="255"/>
                  <a:pt x="334" y="241"/>
                </a:cubicBezTo>
                <a:cubicBezTo>
                  <a:pt x="334" y="230"/>
                  <a:pt x="340" y="221"/>
                  <a:pt x="350" y="217"/>
                </a:cubicBezTo>
                <a:cubicBezTo>
                  <a:pt x="353" y="216"/>
                  <a:pt x="355" y="214"/>
                  <a:pt x="357" y="211"/>
                </a:cubicBezTo>
                <a:cubicBezTo>
                  <a:pt x="358" y="208"/>
                  <a:pt x="358" y="205"/>
                  <a:pt x="357" y="202"/>
                </a:cubicBezTo>
                <a:cubicBezTo>
                  <a:pt x="356" y="199"/>
                  <a:pt x="354" y="196"/>
                  <a:pt x="351" y="195"/>
                </a:cubicBezTo>
                <a:cubicBezTo>
                  <a:pt x="348" y="194"/>
                  <a:pt x="345" y="194"/>
                  <a:pt x="342" y="195"/>
                </a:cubicBezTo>
                <a:cubicBezTo>
                  <a:pt x="322" y="202"/>
                  <a:pt x="309" y="220"/>
                  <a:pt x="309" y="241"/>
                </a:cubicBezTo>
                <a:cubicBezTo>
                  <a:pt x="309" y="268"/>
                  <a:pt x="332" y="290"/>
                  <a:pt x="359" y="290"/>
                </a:cubicBezTo>
                <a:cubicBezTo>
                  <a:pt x="386" y="290"/>
                  <a:pt x="408" y="268"/>
                  <a:pt x="408" y="241"/>
                </a:cubicBezTo>
                <a:cubicBezTo>
                  <a:pt x="408" y="238"/>
                  <a:pt x="408" y="234"/>
                  <a:pt x="407" y="231"/>
                </a:cubicBezTo>
                <a:cubicBezTo>
                  <a:pt x="411" y="231"/>
                  <a:pt x="437" y="231"/>
                  <a:pt x="437" y="231"/>
                </a:cubicBezTo>
                <a:cubicBezTo>
                  <a:pt x="444" y="231"/>
                  <a:pt x="449" y="226"/>
                  <a:pt x="449" y="219"/>
                </a:cubicBezTo>
                <a:cubicBezTo>
                  <a:pt x="449" y="157"/>
                  <a:pt x="449" y="157"/>
                  <a:pt x="449" y="157"/>
                </a:cubicBezTo>
                <a:cubicBezTo>
                  <a:pt x="449" y="152"/>
                  <a:pt x="445" y="147"/>
                  <a:pt x="440" y="146"/>
                </a:cubicBezTo>
                <a:cubicBezTo>
                  <a:pt x="440" y="146"/>
                  <a:pt x="378" y="132"/>
                  <a:pt x="376" y="131"/>
                </a:cubicBezTo>
                <a:cubicBezTo>
                  <a:pt x="375" y="129"/>
                  <a:pt x="359" y="89"/>
                  <a:pt x="359" y="89"/>
                </a:cubicBezTo>
                <a:cubicBezTo>
                  <a:pt x="357" y="84"/>
                  <a:pt x="353" y="81"/>
                  <a:pt x="348" y="81"/>
                </a:cubicBezTo>
                <a:cubicBezTo>
                  <a:pt x="290" y="81"/>
                  <a:pt x="290" y="81"/>
                  <a:pt x="290" y="81"/>
                </a:cubicBezTo>
                <a:cubicBezTo>
                  <a:pt x="283" y="81"/>
                  <a:pt x="278" y="87"/>
                  <a:pt x="278" y="93"/>
                </a:cubicBezTo>
                <a:cubicBezTo>
                  <a:pt x="278" y="93"/>
                  <a:pt x="278" y="162"/>
                  <a:pt x="278" y="166"/>
                </a:cubicBezTo>
                <a:cubicBezTo>
                  <a:pt x="275" y="166"/>
                  <a:pt x="248" y="166"/>
                  <a:pt x="243" y="166"/>
                </a:cubicBezTo>
                <a:cubicBezTo>
                  <a:pt x="249" y="156"/>
                  <a:pt x="252" y="147"/>
                  <a:pt x="252" y="147"/>
                </a:cubicBezTo>
                <a:cubicBezTo>
                  <a:pt x="252" y="147"/>
                  <a:pt x="252" y="147"/>
                  <a:pt x="252" y="147"/>
                </a:cubicBezTo>
                <a:cubicBezTo>
                  <a:pt x="252" y="147"/>
                  <a:pt x="252" y="146"/>
                  <a:pt x="252" y="146"/>
                </a:cubicBezTo>
                <a:cubicBezTo>
                  <a:pt x="253" y="142"/>
                  <a:pt x="260" y="124"/>
                  <a:pt x="260" y="105"/>
                </a:cubicBezTo>
                <a:cubicBezTo>
                  <a:pt x="260" y="93"/>
                  <a:pt x="257" y="80"/>
                  <a:pt x="247" y="71"/>
                </a:cubicBezTo>
                <a:cubicBezTo>
                  <a:pt x="247" y="71"/>
                  <a:pt x="247" y="71"/>
                  <a:pt x="247" y="71"/>
                </a:cubicBezTo>
                <a:cubicBezTo>
                  <a:pt x="247" y="71"/>
                  <a:pt x="247" y="71"/>
                  <a:pt x="247" y="71"/>
                </a:cubicBezTo>
                <a:cubicBezTo>
                  <a:pt x="244" y="68"/>
                  <a:pt x="176" y="0"/>
                  <a:pt x="33" y="26"/>
                </a:cubicBezTo>
                <a:moveTo>
                  <a:pt x="33" y="26"/>
                </a:moveTo>
                <a:cubicBezTo>
                  <a:pt x="33" y="26"/>
                  <a:pt x="33" y="26"/>
                  <a:pt x="33" y="2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3" name="Freeform 263"/>
          <p:cNvSpPr>
            <a:spLocks/>
          </p:cNvSpPr>
          <p:nvPr userDrawn="1"/>
        </p:nvSpPr>
        <p:spPr bwMode="auto">
          <a:xfrm>
            <a:off x="4300698" y="870647"/>
            <a:ext cx="307261" cy="391716"/>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4" name="Freeform 357"/>
          <p:cNvSpPr>
            <a:spLocks/>
          </p:cNvSpPr>
          <p:nvPr userDrawn="1"/>
        </p:nvSpPr>
        <p:spPr bwMode="auto">
          <a:xfrm>
            <a:off x="4254251" y="3292293"/>
            <a:ext cx="400154" cy="407194"/>
          </a:xfrm>
          <a:custGeom>
            <a:avLst/>
            <a:gdLst/>
            <a:ahLst/>
            <a:cxnLst>
              <a:cxn ang="0">
                <a:pos x="470" y="225"/>
              </a:cxn>
              <a:cxn ang="0">
                <a:pos x="376" y="221"/>
              </a:cxn>
              <a:cxn ang="0">
                <a:pos x="392" y="271"/>
              </a:cxn>
              <a:cxn ang="0">
                <a:pos x="404" y="280"/>
              </a:cxn>
              <a:cxn ang="0">
                <a:pos x="362" y="365"/>
              </a:cxn>
              <a:cxn ang="0">
                <a:pos x="349" y="345"/>
              </a:cxn>
              <a:cxn ang="0">
                <a:pos x="302" y="280"/>
              </a:cxn>
              <a:cxn ang="0">
                <a:pos x="320" y="245"/>
              </a:cxn>
              <a:cxn ang="0">
                <a:pos x="361" y="188"/>
              </a:cxn>
              <a:cxn ang="0">
                <a:pos x="293" y="188"/>
              </a:cxn>
              <a:cxn ang="0">
                <a:pos x="320" y="146"/>
              </a:cxn>
              <a:cxn ang="0">
                <a:pos x="362" y="161"/>
              </a:cxn>
              <a:cxn ang="0">
                <a:pos x="404" y="143"/>
              </a:cxn>
              <a:cxn ang="0">
                <a:pos x="377" y="138"/>
              </a:cxn>
              <a:cxn ang="0">
                <a:pos x="354" y="129"/>
              </a:cxn>
              <a:cxn ang="0">
                <a:pos x="266" y="187"/>
              </a:cxn>
              <a:cxn ang="0">
                <a:pos x="340" y="205"/>
              </a:cxn>
              <a:cxn ang="0">
                <a:pos x="336" y="218"/>
              </a:cxn>
              <a:cxn ang="0">
                <a:pos x="261" y="260"/>
              </a:cxn>
              <a:cxn ang="0">
                <a:pos x="321" y="338"/>
              </a:cxn>
              <a:cxn ang="0">
                <a:pos x="353" y="394"/>
              </a:cxn>
              <a:cxn ang="0">
                <a:pos x="427" y="295"/>
              </a:cxn>
              <a:cxn ang="0">
                <a:pos x="409" y="251"/>
              </a:cxn>
              <a:cxn ang="0">
                <a:pos x="440" y="221"/>
              </a:cxn>
              <a:cxn ang="0">
                <a:pos x="445" y="245"/>
              </a:cxn>
              <a:cxn ang="0">
                <a:pos x="215" y="448"/>
              </a:cxn>
              <a:cxn ang="0">
                <a:pos x="266" y="335"/>
              </a:cxn>
              <a:cxn ang="0">
                <a:pos x="191" y="271"/>
              </a:cxn>
              <a:cxn ang="0">
                <a:pos x="148" y="236"/>
              </a:cxn>
              <a:cxn ang="0">
                <a:pos x="216" y="176"/>
              </a:cxn>
              <a:cxn ang="0">
                <a:pos x="102" y="117"/>
              </a:cxn>
              <a:cxn ang="0">
                <a:pos x="55" y="221"/>
              </a:cxn>
              <a:cxn ang="0">
                <a:pos x="126" y="313"/>
              </a:cxn>
              <a:cxn ang="0">
                <a:pos x="133" y="366"/>
              </a:cxn>
              <a:cxn ang="0">
                <a:pos x="127" y="416"/>
              </a:cxn>
              <a:cxn ang="0">
                <a:pos x="266" y="42"/>
              </a:cxn>
              <a:cxn ang="0">
                <a:pos x="316" y="86"/>
              </a:cxn>
              <a:cxn ang="0">
                <a:pos x="383" y="90"/>
              </a:cxn>
              <a:cxn ang="0">
                <a:pos x="384" y="24"/>
              </a:cxn>
              <a:cxn ang="0">
                <a:pos x="358" y="29"/>
              </a:cxn>
              <a:cxn ang="0">
                <a:pos x="269" y="16"/>
              </a:cxn>
              <a:cxn ang="0">
                <a:pos x="138" y="443"/>
              </a:cxn>
              <a:cxn ang="0">
                <a:pos x="144" y="334"/>
              </a:cxn>
              <a:cxn ang="0">
                <a:pos x="142" y="292"/>
              </a:cxn>
              <a:cxn ang="0">
                <a:pos x="85" y="194"/>
              </a:cxn>
              <a:cxn ang="0">
                <a:pos x="131" y="142"/>
              </a:cxn>
              <a:cxn ang="0">
                <a:pos x="186" y="188"/>
              </a:cxn>
              <a:cxn ang="0">
                <a:pos x="112" y="230"/>
              </a:cxn>
              <a:cxn ang="0">
                <a:pos x="176" y="294"/>
              </a:cxn>
              <a:cxn ang="0">
                <a:pos x="239" y="334"/>
              </a:cxn>
              <a:cxn ang="0">
                <a:pos x="184" y="393"/>
              </a:cxn>
              <a:cxn ang="0">
                <a:pos x="164" y="463"/>
              </a:cxn>
              <a:cxn ang="0">
                <a:pos x="470" y="274"/>
              </a:cxn>
            </a:cxnLst>
            <a:rect l="0" t="0" r="r" b="b"/>
            <a:pathLst>
              <a:path w="472" h="481">
                <a:moveTo>
                  <a:pt x="471" y="235"/>
                </a:moveTo>
                <a:cubicBezTo>
                  <a:pt x="471" y="234"/>
                  <a:pt x="471" y="234"/>
                  <a:pt x="471" y="234"/>
                </a:cubicBezTo>
                <a:cubicBezTo>
                  <a:pt x="470" y="225"/>
                  <a:pt x="470" y="225"/>
                  <a:pt x="470" y="225"/>
                </a:cubicBezTo>
                <a:cubicBezTo>
                  <a:pt x="470" y="224"/>
                  <a:pt x="470" y="224"/>
                  <a:pt x="470" y="224"/>
                </a:cubicBezTo>
                <a:cubicBezTo>
                  <a:pt x="467" y="207"/>
                  <a:pt x="458" y="200"/>
                  <a:pt x="450" y="197"/>
                </a:cubicBezTo>
                <a:cubicBezTo>
                  <a:pt x="426" y="187"/>
                  <a:pt x="390" y="210"/>
                  <a:pt x="376" y="221"/>
                </a:cubicBezTo>
                <a:cubicBezTo>
                  <a:pt x="370" y="225"/>
                  <a:pt x="367" y="231"/>
                  <a:pt x="367" y="238"/>
                </a:cubicBezTo>
                <a:cubicBezTo>
                  <a:pt x="367" y="238"/>
                  <a:pt x="367" y="238"/>
                  <a:pt x="367" y="238"/>
                </a:cubicBezTo>
                <a:cubicBezTo>
                  <a:pt x="367" y="252"/>
                  <a:pt x="380" y="262"/>
                  <a:pt x="392" y="271"/>
                </a:cubicBezTo>
                <a:cubicBezTo>
                  <a:pt x="393" y="272"/>
                  <a:pt x="393" y="272"/>
                  <a:pt x="393" y="272"/>
                </a:cubicBezTo>
                <a:cubicBezTo>
                  <a:pt x="393" y="272"/>
                  <a:pt x="400" y="277"/>
                  <a:pt x="400" y="277"/>
                </a:cubicBezTo>
                <a:cubicBezTo>
                  <a:pt x="401" y="278"/>
                  <a:pt x="403" y="279"/>
                  <a:pt x="404" y="280"/>
                </a:cubicBezTo>
                <a:cubicBezTo>
                  <a:pt x="404" y="280"/>
                  <a:pt x="404" y="281"/>
                  <a:pt x="403" y="282"/>
                </a:cubicBezTo>
                <a:cubicBezTo>
                  <a:pt x="397" y="293"/>
                  <a:pt x="393" y="305"/>
                  <a:pt x="388" y="316"/>
                </a:cubicBezTo>
                <a:cubicBezTo>
                  <a:pt x="381" y="334"/>
                  <a:pt x="374" y="352"/>
                  <a:pt x="362" y="365"/>
                </a:cubicBezTo>
                <a:cubicBezTo>
                  <a:pt x="360" y="367"/>
                  <a:pt x="357" y="368"/>
                  <a:pt x="356" y="368"/>
                </a:cubicBezTo>
                <a:cubicBezTo>
                  <a:pt x="355" y="368"/>
                  <a:pt x="355" y="367"/>
                  <a:pt x="354" y="366"/>
                </a:cubicBezTo>
                <a:cubicBezTo>
                  <a:pt x="351" y="361"/>
                  <a:pt x="350" y="353"/>
                  <a:pt x="349" y="345"/>
                </a:cubicBezTo>
                <a:cubicBezTo>
                  <a:pt x="348" y="341"/>
                  <a:pt x="348" y="337"/>
                  <a:pt x="347" y="333"/>
                </a:cubicBezTo>
                <a:cubicBezTo>
                  <a:pt x="342" y="305"/>
                  <a:pt x="323" y="294"/>
                  <a:pt x="305" y="282"/>
                </a:cubicBezTo>
                <a:cubicBezTo>
                  <a:pt x="302" y="280"/>
                  <a:pt x="302" y="280"/>
                  <a:pt x="302" y="280"/>
                </a:cubicBezTo>
                <a:cubicBezTo>
                  <a:pt x="294" y="275"/>
                  <a:pt x="288" y="266"/>
                  <a:pt x="287" y="259"/>
                </a:cubicBezTo>
                <a:cubicBezTo>
                  <a:pt x="287" y="255"/>
                  <a:pt x="289" y="252"/>
                  <a:pt x="292" y="250"/>
                </a:cubicBezTo>
                <a:cubicBezTo>
                  <a:pt x="299" y="245"/>
                  <a:pt x="307" y="245"/>
                  <a:pt x="320" y="245"/>
                </a:cubicBezTo>
                <a:cubicBezTo>
                  <a:pt x="326" y="245"/>
                  <a:pt x="333" y="245"/>
                  <a:pt x="340" y="245"/>
                </a:cubicBezTo>
                <a:cubicBezTo>
                  <a:pt x="350" y="243"/>
                  <a:pt x="359" y="235"/>
                  <a:pt x="364" y="224"/>
                </a:cubicBezTo>
                <a:cubicBezTo>
                  <a:pt x="370" y="211"/>
                  <a:pt x="368" y="197"/>
                  <a:pt x="361" y="188"/>
                </a:cubicBezTo>
                <a:cubicBezTo>
                  <a:pt x="349" y="172"/>
                  <a:pt x="327" y="179"/>
                  <a:pt x="312" y="184"/>
                </a:cubicBezTo>
                <a:cubicBezTo>
                  <a:pt x="306" y="186"/>
                  <a:pt x="298" y="188"/>
                  <a:pt x="296" y="188"/>
                </a:cubicBezTo>
                <a:cubicBezTo>
                  <a:pt x="294" y="188"/>
                  <a:pt x="293" y="188"/>
                  <a:pt x="293" y="188"/>
                </a:cubicBezTo>
                <a:cubicBezTo>
                  <a:pt x="293" y="187"/>
                  <a:pt x="293" y="187"/>
                  <a:pt x="293" y="186"/>
                </a:cubicBezTo>
                <a:cubicBezTo>
                  <a:pt x="293" y="184"/>
                  <a:pt x="294" y="179"/>
                  <a:pt x="297" y="173"/>
                </a:cubicBezTo>
                <a:cubicBezTo>
                  <a:pt x="304" y="158"/>
                  <a:pt x="316" y="147"/>
                  <a:pt x="320" y="146"/>
                </a:cubicBezTo>
                <a:cubicBezTo>
                  <a:pt x="325" y="145"/>
                  <a:pt x="332" y="148"/>
                  <a:pt x="339" y="152"/>
                </a:cubicBezTo>
                <a:cubicBezTo>
                  <a:pt x="342" y="153"/>
                  <a:pt x="342" y="153"/>
                  <a:pt x="342" y="153"/>
                </a:cubicBezTo>
                <a:cubicBezTo>
                  <a:pt x="348" y="156"/>
                  <a:pt x="355" y="159"/>
                  <a:pt x="362" y="161"/>
                </a:cubicBezTo>
                <a:cubicBezTo>
                  <a:pt x="362" y="161"/>
                  <a:pt x="365" y="162"/>
                  <a:pt x="365" y="162"/>
                </a:cubicBezTo>
                <a:cubicBezTo>
                  <a:pt x="371" y="164"/>
                  <a:pt x="382" y="168"/>
                  <a:pt x="391" y="162"/>
                </a:cubicBezTo>
                <a:cubicBezTo>
                  <a:pt x="398" y="157"/>
                  <a:pt x="401" y="150"/>
                  <a:pt x="404" y="143"/>
                </a:cubicBezTo>
                <a:cubicBezTo>
                  <a:pt x="406" y="136"/>
                  <a:pt x="403" y="129"/>
                  <a:pt x="396" y="126"/>
                </a:cubicBezTo>
                <a:cubicBezTo>
                  <a:pt x="389" y="123"/>
                  <a:pt x="381" y="127"/>
                  <a:pt x="379" y="134"/>
                </a:cubicBezTo>
                <a:cubicBezTo>
                  <a:pt x="378" y="136"/>
                  <a:pt x="377" y="137"/>
                  <a:pt x="377" y="138"/>
                </a:cubicBezTo>
                <a:cubicBezTo>
                  <a:pt x="376" y="138"/>
                  <a:pt x="375" y="137"/>
                  <a:pt x="374" y="137"/>
                </a:cubicBezTo>
                <a:cubicBezTo>
                  <a:pt x="371" y="136"/>
                  <a:pt x="371" y="136"/>
                  <a:pt x="371" y="136"/>
                </a:cubicBezTo>
                <a:cubicBezTo>
                  <a:pt x="364" y="134"/>
                  <a:pt x="359" y="131"/>
                  <a:pt x="354" y="129"/>
                </a:cubicBezTo>
                <a:cubicBezTo>
                  <a:pt x="350" y="128"/>
                  <a:pt x="350" y="128"/>
                  <a:pt x="350" y="128"/>
                </a:cubicBezTo>
                <a:cubicBezTo>
                  <a:pt x="341" y="123"/>
                  <a:pt x="329" y="117"/>
                  <a:pt x="314" y="120"/>
                </a:cubicBezTo>
                <a:cubicBezTo>
                  <a:pt x="293" y="125"/>
                  <a:pt x="266" y="162"/>
                  <a:pt x="266" y="187"/>
                </a:cubicBezTo>
                <a:cubicBezTo>
                  <a:pt x="267" y="202"/>
                  <a:pt x="276" y="212"/>
                  <a:pt x="292" y="215"/>
                </a:cubicBezTo>
                <a:cubicBezTo>
                  <a:pt x="300" y="216"/>
                  <a:pt x="310" y="213"/>
                  <a:pt x="320" y="209"/>
                </a:cubicBezTo>
                <a:cubicBezTo>
                  <a:pt x="326" y="208"/>
                  <a:pt x="337" y="204"/>
                  <a:pt x="340" y="205"/>
                </a:cubicBezTo>
                <a:cubicBezTo>
                  <a:pt x="341" y="205"/>
                  <a:pt x="341" y="206"/>
                  <a:pt x="341" y="207"/>
                </a:cubicBezTo>
                <a:cubicBezTo>
                  <a:pt x="341" y="209"/>
                  <a:pt x="341" y="212"/>
                  <a:pt x="340" y="214"/>
                </a:cubicBezTo>
                <a:cubicBezTo>
                  <a:pt x="338" y="217"/>
                  <a:pt x="337" y="218"/>
                  <a:pt x="336" y="218"/>
                </a:cubicBezTo>
                <a:cubicBezTo>
                  <a:pt x="332" y="219"/>
                  <a:pt x="326" y="218"/>
                  <a:pt x="321" y="218"/>
                </a:cubicBezTo>
                <a:cubicBezTo>
                  <a:pt x="307" y="218"/>
                  <a:pt x="290" y="217"/>
                  <a:pt x="276" y="229"/>
                </a:cubicBezTo>
                <a:cubicBezTo>
                  <a:pt x="265" y="237"/>
                  <a:pt x="260" y="248"/>
                  <a:pt x="261" y="260"/>
                </a:cubicBezTo>
                <a:cubicBezTo>
                  <a:pt x="262" y="279"/>
                  <a:pt x="275" y="295"/>
                  <a:pt x="288" y="303"/>
                </a:cubicBezTo>
                <a:cubicBezTo>
                  <a:pt x="290" y="305"/>
                  <a:pt x="290" y="305"/>
                  <a:pt x="290" y="305"/>
                </a:cubicBezTo>
                <a:cubicBezTo>
                  <a:pt x="308" y="316"/>
                  <a:pt x="318" y="323"/>
                  <a:pt x="321" y="338"/>
                </a:cubicBezTo>
                <a:cubicBezTo>
                  <a:pt x="321" y="341"/>
                  <a:pt x="322" y="345"/>
                  <a:pt x="322" y="348"/>
                </a:cubicBezTo>
                <a:cubicBezTo>
                  <a:pt x="324" y="358"/>
                  <a:pt x="325" y="370"/>
                  <a:pt x="331" y="380"/>
                </a:cubicBezTo>
                <a:cubicBezTo>
                  <a:pt x="336" y="388"/>
                  <a:pt x="344" y="393"/>
                  <a:pt x="353" y="394"/>
                </a:cubicBezTo>
                <a:cubicBezTo>
                  <a:pt x="363" y="395"/>
                  <a:pt x="374" y="391"/>
                  <a:pt x="381" y="383"/>
                </a:cubicBezTo>
                <a:cubicBezTo>
                  <a:pt x="397" y="366"/>
                  <a:pt x="405" y="345"/>
                  <a:pt x="413" y="325"/>
                </a:cubicBezTo>
                <a:cubicBezTo>
                  <a:pt x="418" y="315"/>
                  <a:pt x="422" y="304"/>
                  <a:pt x="427" y="295"/>
                </a:cubicBezTo>
                <a:cubicBezTo>
                  <a:pt x="430" y="288"/>
                  <a:pt x="432" y="283"/>
                  <a:pt x="432" y="279"/>
                </a:cubicBezTo>
                <a:cubicBezTo>
                  <a:pt x="432" y="266"/>
                  <a:pt x="421" y="259"/>
                  <a:pt x="415" y="254"/>
                </a:cubicBezTo>
                <a:cubicBezTo>
                  <a:pt x="409" y="251"/>
                  <a:pt x="409" y="251"/>
                  <a:pt x="409" y="251"/>
                </a:cubicBezTo>
                <a:cubicBezTo>
                  <a:pt x="407" y="249"/>
                  <a:pt x="407" y="249"/>
                  <a:pt x="407" y="249"/>
                </a:cubicBezTo>
                <a:cubicBezTo>
                  <a:pt x="401" y="245"/>
                  <a:pt x="398" y="242"/>
                  <a:pt x="396" y="240"/>
                </a:cubicBezTo>
                <a:cubicBezTo>
                  <a:pt x="414" y="227"/>
                  <a:pt x="434" y="219"/>
                  <a:pt x="440" y="221"/>
                </a:cubicBezTo>
                <a:cubicBezTo>
                  <a:pt x="442" y="222"/>
                  <a:pt x="443" y="225"/>
                  <a:pt x="444" y="228"/>
                </a:cubicBezTo>
                <a:cubicBezTo>
                  <a:pt x="444" y="229"/>
                  <a:pt x="445" y="235"/>
                  <a:pt x="445" y="236"/>
                </a:cubicBezTo>
                <a:cubicBezTo>
                  <a:pt x="445" y="239"/>
                  <a:pt x="445" y="242"/>
                  <a:pt x="445" y="245"/>
                </a:cubicBezTo>
                <a:cubicBezTo>
                  <a:pt x="445" y="254"/>
                  <a:pt x="444" y="262"/>
                  <a:pt x="443" y="271"/>
                </a:cubicBezTo>
                <a:cubicBezTo>
                  <a:pt x="436" y="325"/>
                  <a:pt x="409" y="373"/>
                  <a:pt x="366" y="406"/>
                </a:cubicBezTo>
                <a:cubicBezTo>
                  <a:pt x="323" y="439"/>
                  <a:pt x="269" y="454"/>
                  <a:pt x="215" y="448"/>
                </a:cubicBezTo>
                <a:cubicBezTo>
                  <a:pt x="201" y="447"/>
                  <a:pt x="188" y="443"/>
                  <a:pt x="180" y="440"/>
                </a:cubicBezTo>
                <a:cubicBezTo>
                  <a:pt x="185" y="431"/>
                  <a:pt x="203" y="409"/>
                  <a:pt x="246" y="372"/>
                </a:cubicBezTo>
                <a:cubicBezTo>
                  <a:pt x="259" y="360"/>
                  <a:pt x="266" y="347"/>
                  <a:pt x="266" y="335"/>
                </a:cubicBezTo>
                <a:cubicBezTo>
                  <a:pt x="266" y="333"/>
                  <a:pt x="266" y="332"/>
                  <a:pt x="266" y="330"/>
                </a:cubicBezTo>
                <a:cubicBezTo>
                  <a:pt x="262" y="304"/>
                  <a:pt x="229" y="289"/>
                  <a:pt x="202" y="276"/>
                </a:cubicBezTo>
                <a:cubicBezTo>
                  <a:pt x="191" y="271"/>
                  <a:pt x="191" y="271"/>
                  <a:pt x="191" y="271"/>
                </a:cubicBezTo>
                <a:cubicBezTo>
                  <a:pt x="185" y="269"/>
                  <a:pt x="185" y="269"/>
                  <a:pt x="185" y="269"/>
                </a:cubicBezTo>
                <a:cubicBezTo>
                  <a:pt x="147" y="255"/>
                  <a:pt x="137" y="247"/>
                  <a:pt x="135" y="244"/>
                </a:cubicBezTo>
                <a:cubicBezTo>
                  <a:pt x="137" y="242"/>
                  <a:pt x="140" y="239"/>
                  <a:pt x="148" y="236"/>
                </a:cubicBezTo>
                <a:cubicBezTo>
                  <a:pt x="152" y="235"/>
                  <a:pt x="157" y="233"/>
                  <a:pt x="161" y="232"/>
                </a:cubicBezTo>
                <a:cubicBezTo>
                  <a:pt x="178" y="227"/>
                  <a:pt x="199" y="220"/>
                  <a:pt x="210" y="200"/>
                </a:cubicBezTo>
                <a:cubicBezTo>
                  <a:pt x="214" y="192"/>
                  <a:pt x="216" y="184"/>
                  <a:pt x="216" y="176"/>
                </a:cubicBezTo>
                <a:cubicBezTo>
                  <a:pt x="216" y="161"/>
                  <a:pt x="209" y="147"/>
                  <a:pt x="196" y="138"/>
                </a:cubicBezTo>
                <a:cubicBezTo>
                  <a:pt x="178" y="126"/>
                  <a:pt x="157" y="118"/>
                  <a:pt x="134" y="115"/>
                </a:cubicBezTo>
                <a:cubicBezTo>
                  <a:pt x="122" y="114"/>
                  <a:pt x="111" y="114"/>
                  <a:pt x="102" y="117"/>
                </a:cubicBezTo>
                <a:cubicBezTo>
                  <a:pt x="74" y="123"/>
                  <a:pt x="65" y="161"/>
                  <a:pt x="60" y="184"/>
                </a:cubicBezTo>
                <a:cubicBezTo>
                  <a:pt x="59" y="188"/>
                  <a:pt x="59" y="188"/>
                  <a:pt x="59" y="188"/>
                </a:cubicBezTo>
                <a:cubicBezTo>
                  <a:pt x="56" y="200"/>
                  <a:pt x="55" y="211"/>
                  <a:pt x="55" y="221"/>
                </a:cubicBezTo>
                <a:cubicBezTo>
                  <a:pt x="55" y="237"/>
                  <a:pt x="58" y="250"/>
                  <a:pt x="65" y="261"/>
                </a:cubicBezTo>
                <a:cubicBezTo>
                  <a:pt x="77" y="281"/>
                  <a:pt x="97" y="294"/>
                  <a:pt x="114" y="306"/>
                </a:cubicBezTo>
                <a:cubicBezTo>
                  <a:pt x="114" y="306"/>
                  <a:pt x="125" y="313"/>
                  <a:pt x="126" y="313"/>
                </a:cubicBezTo>
                <a:cubicBezTo>
                  <a:pt x="122" y="318"/>
                  <a:pt x="118" y="324"/>
                  <a:pt x="118" y="334"/>
                </a:cubicBezTo>
                <a:cubicBezTo>
                  <a:pt x="118" y="334"/>
                  <a:pt x="118" y="334"/>
                  <a:pt x="118" y="335"/>
                </a:cubicBezTo>
                <a:cubicBezTo>
                  <a:pt x="118" y="349"/>
                  <a:pt x="126" y="358"/>
                  <a:pt x="133" y="366"/>
                </a:cubicBezTo>
                <a:cubicBezTo>
                  <a:pt x="139" y="373"/>
                  <a:pt x="142" y="377"/>
                  <a:pt x="142" y="384"/>
                </a:cubicBezTo>
                <a:cubicBezTo>
                  <a:pt x="142" y="385"/>
                  <a:pt x="142" y="385"/>
                  <a:pt x="142" y="386"/>
                </a:cubicBezTo>
                <a:cubicBezTo>
                  <a:pt x="142" y="397"/>
                  <a:pt x="134" y="408"/>
                  <a:pt x="127" y="416"/>
                </a:cubicBezTo>
                <a:cubicBezTo>
                  <a:pt x="70" y="377"/>
                  <a:pt x="36" y="313"/>
                  <a:pt x="36" y="245"/>
                </a:cubicBezTo>
                <a:cubicBezTo>
                  <a:pt x="36" y="237"/>
                  <a:pt x="36" y="228"/>
                  <a:pt x="37" y="220"/>
                </a:cubicBezTo>
                <a:cubicBezTo>
                  <a:pt x="52" y="108"/>
                  <a:pt x="154" y="28"/>
                  <a:pt x="266" y="42"/>
                </a:cubicBezTo>
                <a:cubicBezTo>
                  <a:pt x="294" y="46"/>
                  <a:pt x="321" y="55"/>
                  <a:pt x="345" y="70"/>
                </a:cubicBezTo>
                <a:cubicBezTo>
                  <a:pt x="335" y="72"/>
                  <a:pt x="327" y="73"/>
                  <a:pt x="327" y="73"/>
                </a:cubicBezTo>
                <a:cubicBezTo>
                  <a:pt x="320" y="74"/>
                  <a:pt x="316" y="80"/>
                  <a:pt x="316" y="86"/>
                </a:cubicBezTo>
                <a:cubicBezTo>
                  <a:pt x="316" y="87"/>
                  <a:pt x="316" y="88"/>
                  <a:pt x="316" y="89"/>
                </a:cubicBezTo>
                <a:cubicBezTo>
                  <a:pt x="317" y="96"/>
                  <a:pt x="324" y="101"/>
                  <a:pt x="332" y="99"/>
                </a:cubicBezTo>
                <a:cubicBezTo>
                  <a:pt x="383" y="90"/>
                  <a:pt x="383" y="90"/>
                  <a:pt x="383" y="90"/>
                </a:cubicBezTo>
                <a:cubicBezTo>
                  <a:pt x="386" y="89"/>
                  <a:pt x="389" y="87"/>
                  <a:pt x="391" y="84"/>
                </a:cubicBezTo>
                <a:cubicBezTo>
                  <a:pt x="393" y="81"/>
                  <a:pt x="394" y="78"/>
                  <a:pt x="394" y="74"/>
                </a:cubicBezTo>
                <a:cubicBezTo>
                  <a:pt x="384" y="24"/>
                  <a:pt x="384" y="24"/>
                  <a:pt x="384" y="24"/>
                </a:cubicBezTo>
                <a:cubicBezTo>
                  <a:pt x="383" y="16"/>
                  <a:pt x="376" y="12"/>
                  <a:pt x="368" y="13"/>
                </a:cubicBezTo>
                <a:cubicBezTo>
                  <a:pt x="362" y="14"/>
                  <a:pt x="357" y="20"/>
                  <a:pt x="357" y="26"/>
                </a:cubicBezTo>
                <a:cubicBezTo>
                  <a:pt x="357" y="27"/>
                  <a:pt x="358" y="28"/>
                  <a:pt x="358" y="29"/>
                </a:cubicBezTo>
                <a:cubicBezTo>
                  <a:pt x="358" y="29"/>
                  <a:pt x="360" y="38"/>
                  <a:pt x="362" y="48"/>
                </a:cubicBezTo>
                <a:cubicBezTo>
                  <a:pt x="361" y="48"/>
                  <a:pt x="361" y="48"/>
                  <a:pt x="361" y="48"/>
                </a:cubicBezTo>
                <a:cubicBezTo>
                  <a:pt x="333" y="31"/>
                  <a:pt x="302" y="20"/>
                  <a:pt x="269" y="16"/>
                </a:cubicBezTo>
                <a:cubicBezTo>
                  <a:pt x="143" y="0"/>
                  <a:pt x="27" y="90"/>
                  <a:pt x="11" y="216"/>
                </a:cubicBezTo>
                <a:cubicBezTo>
                  <a:pt x="0" y="307"/>
                  <a:pt x="43" y="397"/>
                  <a:pt x="122" y="444"/>
                </a:cubicBezTo>
                <a:cubicBezTo>
                  <a:pt x="127" y="447"/>
                  <a:pt x="133" y="447"/>
                  <a:pt x="138" y="443"/>
                </a:cubicBezTo>
                <a:cubicBezTo>
                  <a:pt x="141" y="440"/>
                  <a:pt x="167" y="417"/>
                  <a:pt x="169" y="388"/>
                </a:cubicBezTo>
                <a:cubicBezTo>
                  <a:pt x="171" y="368"/>
                  <a:pt x="160" y="356"/>
                  <a:pt x="153" y="348"/>
                </a:cubicBezTo>
                <a:cubicBezTo>
                  <a:pt x="147" y="342"/>
                  <a:pt x="144" y="339"/>
                  <a:pt x="144" y="334"/>
                </a:cubicBezTo>
                <a:cubicBezTo>
                  <a:pt x="144" y="333"/>
                  <a:pt x="145" y="332"/>
                  <a:pt x="148" y="329"/>
                </a:cubicBezTo>
                <a:cubicBezTo>
                  <a:pt x="151" y="325"/>
                  <a:pt x="156" y="319"/>
                  <a:pt x="155" y="310"/>
                </a:cubicBezTo>
                <a:cubicBezTo>
                  <a:pt x="154" y="302"/>
                  <a:pt x="147" y="296"/>
                  <a:pt x="142" y="292"/>
                </a:cubicBezTo>
                <a:cubicBezTo>
                  <a:pt x="142" y="292"/>
                  <a:pt x="129" y="283"/>
                  <a:pt x="129" y="283"/>
                </a:cubicBezTo>
                <a:cubicBezTo>
                  <a:pt x="113" y="273"/>
                  <a:pt x="97" y="262"/>
                  <a:pt x="88" y="248"/>
                </a:cubicBezTo>
                <a:cubicBezTo>
                  <a:pt x="81" y="235"/>
                  <a:pt x="80" y="218"/>
                  <a:pt x="85" y="194"/>
                </a:cubicBezTo>
                <a:cubicBezTo>
                  <a:pt x="86" y="190"/>
                  <a:pt x="86" y="190"/>
                  <a:pt x="86" y="190"/>
                </a:cubicBezTo>
                <a:cubicBezTo>
                  <a:pt x="89" y="178"/>
                  <a:pt x="96" y="145"/>
                  <a:pt x="108" y="142"/>
                </a:cubicBezTo>
                <a:cubicBezTo>
                  <a:pt x="115" y="141"/>
                  <a:pt x="122" y="141"/>
                  <a:pt x="131" y="142"/>
                </a:cubicBezTo>
                <a:cubicBezTo>
                  <a:pt x="150" y="144"/>
                  <a:pt x="166" y="150"/>
                  <a:pt x="181" y="160"/>
                </a:cubicBezTo>
                <a:cubicBezTo>
                  <a:pt x="188" y="165"/>
                  <a:pt x="190" y="170"/>
                  <a:pt x="190" y="175"/>
                </a:cubicBezTo>
                <a:cubicBezTo>
                  <a:pt x="190" y="180"/>
                  <a:pt x="188" y="185"/>
                  <a:pt x="186" y="188"/>
                </a:cubicBezTo>
                <a:cubicBezTo>
                  <a:pt x="181" y="198"/>
                  <a:pt x="168" y="202"/>
                  <a:pt x="153" y="206"/>
                </a:cubicBezTo>
                <a:cubicBezTo>
                  <a:pt x="148" y="208"/>
                  <a:pt x="143" y="210"/>
                  <a:pt x="138" y="211"/>
                </a:cubicBezTo>
                <a:cubicBezTo>
                  <a:pt x="125" y="217"/>
                  <a:pt x="117" y="222"/>
                  <a:pt x="112" y="230"/>
                </a:cubicBezTo>
                <a:cubicBezTo>
                  <a:pt x="109" y="234"/>
                  <a:pt x="108" y="239"/>
                  <a:pt x="108" y="243"/>
                </a:cubicBezTo>
                <a:cubicBezTo>
                  <a:pt x="108" y="246"/>
                  <a:pt x="108" y="248"/>
                  <a:pt x="109" y="251"/>
                </a:cubicBezTo>
                <a:cubicBezTo>
                  <a:pt x="114" y="266"/>
                  <a:pt x="134" y="279"/>
                  <a:pt x="176" y="294"/>
                </a:cubicBezTo>
                <a:cubicBezTo>
                  <a:pt x="176" y="294"/>
                  <a:pt x="179" y="295"/>
                  <a:pt x="179" y="295"/>
                </a:cubicBezTo>
                <a:cubicBezTo>
                  <a:pt x="181" y="296"/>
                  <a:pt x="191" y="301"/>
                  <a:pt x="191" y="301"/>
                </a:cubicBezTo>
                <a:cubicBezTo>
                  <a:pt x="208" y="309"/>
                  <a:pt x="238" y="322"/>
                  <a:pt x="239" y="334"/>
                </a:cubicBezTo>
                <a:cubicBezTo>
                  <a:pt x="239" y="334"/>
                  <a:pt x="239" y="335"/>
                  <a:pt x="239" y="335"/>
                </a:cubicBezTo>
                <a:cubicBezTo>
                  <a:pt x="239" y="339"/>
                  <a:pt x="235" y="345"/>
                  <a:pt x="228" y="352"/>
                </a:cubicBezTo>
                <a:cubicBezTo>
                  <a:pt x="211" y="367"/>
                  <a:pt x="196" y="381"/>
                  <a:pt x="184" y="393"/>
                </a:cubicBezTo>
                <a:cubicBezTo>
                  <a:pt x="157" y="422"/>
                  <a:pt x="151" y="435"/>
                  <a:pt x="151" y="444"/>
                </a:cubicBezTo>
                <a:cubicBezTo>
                  <a:pt x="151" y="446"/>
                  <a:pt x="151" y="447"/>
                  <a:pt x="151" y="448"/>
                </a:cubicBezTo>
                <a:cubicBezTo>
                  <a:pt x="152" y="455"/>
                  <a:pt x="157" y="461"/>
                  <a:pt x="164" y="463"/>
                </a:cubicBezTo>
                <a:cubicBezTo>
                  <a:pt x="165" y="464"/>
                  <a:pt x="189" y="472"/>
                  <a:pt x="212" y="475"/>
                </a:cubicBezTo>
                <a:cubicBezTo>
                  <a:pt x="273" y="481"/>
                  <a:pt x="334" y="464"/>
                  <a:pt x="382" y="427"/>
                </a:cubicBezTo>
                <a:cubicBezTo>
                  <a:pt x="431" y="389"/>
                  <a:pt x="462" y="335"/>
                  <a:pt x="470" y="274"/>
                </a:cubicBezTo>
                <a:cubicBezTo>
                  <a:pt x="471" y="261"/>
                  <a:pt x="472" y="248"/>
                  <a:pt x="471" y="23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5" name="Freeform 373"/>
          <p:cNvSpPr>
            <a:spLocks/>
          </p:cNvSpPr>
          <p:nvPr userDrawn="1"/>
        </p:nvSpPr>
        <p:spPr bwMode="auto">
          <a:xfrm>
            <a:off x="4314989" y="1786100"/>
            <a:ext cx="278679" cy="390525"/>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6" name="Freeform 429"/>
          <p:cNvSpPr>
            <a:spLocks/>
          </p:cNvSpPr>
          <p:nvPr userDrawn="1"/>
        </p:nvSpPr>
        <p:spPr bwMode="auto">
          <a:xfrm>
            <a:off x="4292956" y="2318229"/>
            <a:ext cx="322744" cy="235744"/>
          </a:xfrm>
          <a:custGeom>
            <a:avLst/>
            <a:gdLst/>
            <a:ahLst/>
            <a:cxnLst>
              <a:cxn ang="0">
                <a:pos x="72" y="39"/>
              </a:cxn>
              <a:cxn ang="0">
                <a:pos x="3" y="134"/>
              </a:cxn>
              <a:cxn ang="0">
                <a:pos x="47" y="230"/>
              </a:cxn>
              <a:cxn ang="0">
                <a:pos x="172" y="276"/>
              </a:cxn>
              <a:cxn ang="0">
                <a:pos x="307" y="247"/>
              </a:cxn>
              <a:cxn ang="0">
                <a:pos x="365" y="188"/>
              </a:cxn>
              <a:cxn ang="0">
                <a:pos x="371" y="115"/>
              </a:cxn>
              <a:cxn ang="0">
                <a:pos x="356" y="106"/>
              </a:cxn>
              <a:cxn ang="0">
                <a:pos x="347" y="122"/>
              </a:cxn>
              <a:cxn ang="0">
                <a:pos x="294" y="225"/>
              </a:cxn>
              <a:cxn ang="0">
                <a:pos x="64" y="211"/>
              </a:cxn>
              <a:cxn ang="0">
                <a:pos x="28" y="137"/>
              </a:cxn>
              <a:cxn ang="0">
                <a:pos x="84" y="61"/>
              </a:cxn>
              <a:cxn ang="0">
                <a:pos x="297" y="63"/>
              </a:cxn>
              <a:cxn ang="0">
                <a:pos x="297" y="63"/>
              </a:cxn>
              <a:cxn ang="0">
                <a:pos x="311" y="64"/>
              </a:cxn>
              <a:cxn ang="0">
                <a:pos x="334" y="51"/>
              </a:cxn>
              <a:cxn ang="0">
                <a:pos x="346" y="61"/>
              </a:cxn>
              <a:cxn ang="0">
                <a:pos x="237" y="124"/>
              </a:cxn>
              <a:cxn ang="0">
                <a:pos x="230" y="135"/>
              </a:cxn>
              <a:cxn ang="0">
                <a:pos x="231" y="139"/>
              </a:cxn>
              <a:cxn ang="0">
                <a:pos x="232" y="143"/>
              </a:cxn>
              <a:cxn ang="0">
                <a:pos x="218" y="162"/>
              </a:cxn>
              <a:cxn ang="0">
                <a:pos x="171" y="166"/>
              </a:cxn>
              <a:cxn ang="0">
                <a:pos x="162" y="168"/>
              </a:cxn>
              <a:cxn ang="0">
                <a:pos x="154" y="172"/>
              </a:cxn>
              <a:cxn ang="0">
                <a:pos x="142" y="161"/>
              </a:cxn>
              <a:cxn ang="0">
                <a:pos x="148" y="151"/>
              </a:cxn>
              <a:cxn ang="0">
                <a:pos x="147" y="147"/>
              </a:cxn>
              <a:cxn ang="0">
                <a:pos x="147" y="143"/>
              </a:cxn>
              <a:cxn ang="0">
                <a:pos x="160" y="124"/>
              </a:cxn>
              <a:cxn ang="0">
                <a:pos x="206" y="120"/>
              </a:cxn>
              <a:cxn ang="0">
                <a:pos x="216" y="119"/>
              </a:cxn>
              <a:cxn ang="0">
                <a:pos x="241" y="104"/>
              </a:cxn>
              <a:cxn ang="0">
                <a:pos x="246" y="87"/>
              </a:cxn>
              <a:cxn ang="0">
                <a:pos x="228" y="82"/>
              </a:cxn>
              <a:cxn ang="0">
                <a:pos x="208" y="94"/>
              </a:cxn>
              <a:cxn ang="0">
                <a:pos x="148" y="103"/>
              </a:cxn>
              <a:cxn ang="0">
                <a:pos x="121" y="143"/>
              </a:cxn>
              <a:cxn ang="0">
                <a:pos x="121" y="144"/>
              </a:cxn>
              <a:cxn ang="0">
                <a:pos x="114" y="149"/>
              </a:cxn>
              <a:cxn ang="0">
                <a:pos x="107" y="158"/>
              </a:cxn>
              <a:cxn ang="0">
                <a:pos x="107" y="159"/>
              </a:cxn>
              <a:cxn ang="0">
                <a:pos x="112" y="169"/>
              </a:cxn>
              <a:cxn ang="0">
                <a:pos x="145" y="197"/>
              </a:cxn>
              <a:cxn ang="0">
                <a:pos x="159" y="198"/>
              </a:cxn>
              <a:cxn ang="0">
                <a:pos x="170" y="192"/>
              </a:cxn>
              <a:cxn ang="0">
                <a:pos x="231" y="184"/>
              </a:cxn>
              <a:cxn ang="0">
                <a:pos x="257" y="143"/>
              </a:cxn>
              <a:cxn ang="0">
                <a:pos x="257" y="142"/>
              </a:cxn>
              <a:cxn ang="0">
                <a:pos x="375" y="74"/>
              </a:cxn>
              <a:cxn ang="0">
                <a:pos x="381" y="64"/>
              </a:cxn>
              <a:cxn ang="0">
                <a:pos x="381" y="63"/>
              </a:cxn>
              <a:cxn ang="0">
                <a:pos x="376" y="53"/>
              </a:cxn>
              <a:cxn ang="0">
                <a:pos x="344" y="25"/>
              </a:cxn>
              <a:cxn ang="0">
                <a:pos x="329" y="24"/>
              </a:cxn>
              <a:cxn ang="0">
                <a:pos x="305" y="38"/>
              </a:cxn>
              <a:cxn ang="0">
                <a:pos x="72" y="39"/>
              </a:cxn>
            </a:cxnLst>
            <a:rect l="0" t="0" r="r" b="b"/>
            <a:pathLst>
              <a:path w="381" h="279">
                <a:moveTo>
                  <a:pt x="72" y="39"/>
                </a:moveTo>
                <a:cubicBezTo>
                  <a:pt x="31" y="62"/>
                  <a:pt x="6" y="97"/>
                  <a:pt x="3" y="134"/>
                </a:cubicBezTo>
                <a:cubicBezTo>
                  <a:pt x="0" y="169"/>
                  <a:pt x="16" y="203"/>
                  <a:pt x="47" y="230"/>
                </a:cubicBezTo>
                <a:cubicBezTo>
                  <a:pt x="79" y="257"/>
                  <a:pt x="123" y="273"/>
                  <a:pt x="172" y="276"/>
                </a:cubicBezTo>
                <a:cubicBezTo>
                  <a:pt x="221" y="279"/>
                  <a:pt x="269" y="269"/>
                  <a:pt x="307" y="247"/>
                </a:cubicBezTo>
                <a:cubicBezTo>
                  <a:pt x="334" y="232"/>
                  <a:pt x="354" y="211"/>
                  <a:pt x="365" y="188"/>
                </a:cubicBezTo>
                <a:cubicBezTo>
                  <a:pt x="377" y="164"/>
                  <a:pt x="379" y="139"/>
                  <a:pt x="371" y="115"/>
                </a:cubicBezTo>
                <a:cubicBezTo>
                  <a:pt x="369" y="108"/>
                  <a:pt x="362" y="104"/>
                  <a:pt x="356" y="106"/>
                </a:cubicBezTo>
                <a:cubicBezTo>
                  <a:pt x="349" y="108"/>
                  <a:pt x="345" y="115"/>
                  <a:pt x="347" y="122"/>
                </a:cubicBezTo>
                <a:cubicBezTo>
                  <a:pt x="359" y="160"/>
                  <a:pt x="338" y="200"/>
                  <a:pt x="294" y="225"/>
                </a:cubicBezTo>
                <a:cubicBezTo>
                  <a:pt x="224" y="266"/>
                  <a:pt x="121" y="259"/>
                  <a:pt x="64" y="211"/>
                </a:cubicBezTo>
                <a:cubicBezTo>
                  <a:pt x="38" y="190"/>
                  <a:pt x="26" y="163"/>
                  <a:pt x="28" y="137"/>
                </a:cubicBezTo>
                <a:cubicBezTo>
                  <a:pt x="31" y="107"/>
                  <a:pt x="51" y="80"/>
                  <a:pt x="84" y="61"/>
                </a:cubicBezTo>
                <a:cubicBezTo>
                  <a:pt x="146" y="25"/>
                  <a:pt x="237" y="26"/>
                  <a:pt x="297" y="63"/>
                </a:cubicBezTo>
                <a:cubicBezTo>
                  <a:pt x="297" y="63"/>
                  <a:pt x="297" y="63"/>
                  <a:pt x="297" y="63"/>
                </a:cubicBezTo>
                <a:cubicBezTo>
                  <a:pt x="301" y="66"/>
                  <a:pt x="307" y="66"/>
                  <a:pt x="311" y="64"/>
                </a:cubicBezTo>
                <a:cubicBezTo>
                  <a:pt x="311" y="64"/>
                  <a:pt x="325" y="56"/>
                  <a:pt x="334" y="51"/>
                </a:cubicBezTo>
                <a:cubicBezTo>
                  <a:pt x="338" y="54"/>
                  <a:pt x="340" y="56"/>
                  <a:pt x="346" y="61"/>
                </a:cubicBezTo>
                <a:cubicBezTo>
                  <a:pt x="322" y="75"/>
                  <a:pt x="237" y="124"/>
                  <a:pt x="237" y="124"/>
                </a:cubicBezTo>
                <a:cubicBezTo>
                  <a:pt x="233" y="126"/>
                  <a:pt x="230" y="131"/>
                  <a:pt x="230" y="135"/>
                </a:cubicBezTo>
                <a:cubicBezTo>
                  <a:pt x="230" y="136"/>
                  <a:pt x="231" y="138"/>
                  <a:pt x="231" y="139"/>
                </a:cubicBezTo>
                <a:cubicBezTo>
                  <a:pt x="231" y="140"/>
                  <a:pt x="232" y="142"/>
                  <a:pt x="232" y="143"/>
                </a:cubicBezTo>
                <a:cubicBezTo>
                  <a:pt x="232" y="150"/>
                  <a:pt x="227" y="157"/>
                  <a:pt x="218" y="162"/>
                </a:cubicBezTo>
                <a:cubicBezTo>
                  <a:pt x="205" y="169"/>
                  <a:pt x="187" y="171"/>
                  <a:pt x="171" y="166"/>
                </a:cubicBezTo>
                <a:cubicBezTo>
                  <a:pt x="168" y="165"/>
                  <a:pt x="165" y="166"/>
                  <a:pt x="162" y="168"/>
                </a:cubicBezTo>
                <a:cubicBezTo>
                  <a:pt x="162" y="168"/>
                  <a:pt x="158" y="170"/>
                  <a:pt x="154" y="172"/>
                </a:cubicBezTo>
                <a:cubicBezTo>
                  <a:pt x="150" y="168"/>
                  <a:pt x="148" y="166"/>
                  <a:pt x="142" y="161"/>
                </a:cubicBezTo>
                <a:cubicBezTo>
                  <a:pt x="146" y="159"/>
                  <a:pt x="148" y="155"/>
                  <a:pt x="148" y="151"/>
                </a:cubicBezTo>
                <a:cubicBezTo>
                  <a:pt x="148" y="150"/>
                  <a:pt x="148" y="148"/>
                  <a:pt x="147" y="147"/>
                </a:cubicBezTo>
                <a:cubicBezTo>
                  <a:pt x="147" y="146"/>
                  <a:pt x="147" y="144"/>
                  <a:pt x="147" y="143"/>
                </a:cubicBezTo>
                <a:cubicBezTo>
                  <a:pt x="147" y="136"/>
                  <a:pt x="152" y="130"/>
                  <a:pt x="160" y="124"/>
                </a:cubicBezTo>
                <a:cubicBezTo>
                  <a:pt x="173" y="117"/>
                  <a:pt x="191" y="115"/>
                  <a:pt x="206" y="120"/>
                </a:cubicBezTo>
                <a:cubicBezTo>
                  <a:pt x="210" y="121"/>
                  <a:pt x="213" y="120"/>
                  <a:pt x="216" y="119"/>
                </a:cubicBezTo>
                <a:cubicBezTo>
                  <a:pt x="241" y="104"/>
                  <a:pt x="241" y="104"/>
                  <a:pt x="241" y="104"/>
                </a:cubicBezTo>
                <a:cubicBezTo>
                  <a:pt x="247" y="101"/>
                  <a:pt x="249" y="93"/>
                  <a:pt x="246" y="87"/>
                </a:cubicBezTo>
                <a:cubicBezTo>
                  <a:pt x="242" y="81"/>
                  <a:pt x="234" y="79"/>
                  <a:pt x="228" y="82"/>
                </a:cubicBezTo>
                <a:cubicBezTo>
                  <a:pt x="228" y="82"/>
                  <a:pt x="214" y="91"/>
                  <a:pt x="208" y="94"/>
                </a:cubicBezTo>
                <a:cubicBezTo>
                  <a:pt x="187" y="90"/>
                  <a:pt x="165" y="93"/>
                  <a:pt x="148" y="103"/>
                </a:cubicBezTo>
                <a:cubicBezTo>
                  <a:pt x="131" y="112"/>
                  <a:pt x="121" y="127"/>
                  <a:pt x="121" y="143"/>
                </a:cubicBezTo>
                <a:cubicBezTo>
                  <a:pt x="121" y="143"/>
                  <a:pt x="121" y="144"/>
                  <a:pt x="121" y="144"/>
                </a:cubicBezTo>
                <a:cubicBezTo>
                  <a:pt x="118" y="146"/>
                  <a:pt x="114" y="149"/>
                  <a:pt x="114" y="149"/>
                </a:cubicBezTo>
                <a:cubicBezTo>
                  <a:pt x="110" y="151"/>
                  <a:pt x="108" y="154"/>
                  <a:pt x="107" y="158"/>
                </a:cubicBezTo>
                <a:cubicBezTo>
                  <a:pt x="107" y="159"/>
                  <a:pt x="107" y="159"/>
                  <a:pt x="107" y="159"/>
                </a:cubicBezTo>
                <a:cubicBezTo>
                  <a:pt x="107" y="163"/>
                  <a:pt x="109" y="167"/>
                  <a:pt x="112" y="169"/>
                </a:cubicBezTo>
                <a:cubicBezTo>
                  <a:pt x="145" y="197"/>
                  <a:pt x="145" y="197"/>
                  <a:pt x="145" y="197"/>
                </a:cubicBezTo>
                <a:cubicBezTo>
                  <a:pt x="149" y="200"/>
                  <a:pt x="155" y="201"/>
                  <a:pt x="159" y="198"/>
                </a:cubicBezTo>
                <a:cubicBezTo>
                  <a:pt x="159" y="198"/>
                  <a:pt x="165" y="195"/>
                  <a:pt x="170" y="192"/>
                </a:cubicBezTo>
                <a:cubicBezTo>
                  <a:pt x="191" y="197"/>
                  <a:pt x="214" y="194"/>
                  <a:pt x="231" y="184"/>
                </a:cubicBezTo>
                <a:cubicBezTo>
                  <a:pt x="247" y="174"/>
                  <a:pt x="257" y="159"/>
                  <a:pt x="257" y="143"/>
                </a:cubicBezTo>
                <a:cubicBezTo>
                  <a:pt x="257" y="143"/>
                  <a:pt x="257" y="142"/>
                  <a:pt x="257" y="142"/>
                </a:cubicBezTo>
                <a:cubicBezTo>
                  <a:pt x="270" y="134"/>
                  <a:pt x="375" y="74"/>
                  <a:pt x="375" y="74"/>
                </a:cubicBezTo>
                <a:cubicBezTo>
                  <a:pt x="378" y="72"/>
                  <a:pt x="381" y="68"/>
                  <a:pt x="381" y="64"/>
                </a:cubicBezTo>
                <a:cubicBezTo>
                  <a:pt x="381" y="63"/>
                  <a:pt x="381" y="63"/>
                  <a:pt x="381" y="63"/>
                </a:cubicBezTo>
                <a:cubicBezTo>
                  <a:pt x="381" y="59"/>
                  <a:pt x="379" y="55"/>
                  <a:pt x="376" y="53"/>
                </a:cubicBezTo>
                <a:cubicBezTo>
                  <a:pt x="344" y="25"/>
                  <a:pt x="344" y="25"/>
                  <a:pt x="344" y="25"/>
                </a:cubicBezTo>
                <a:cubicBezTo>
                  <a:pt x="339" y="22"/>
                  <a:pt x="334" y="21"/>
                  <a:pt x="329" y="24"/>
                </a:cubicBezTo>
                <a:cubicBezTo>
                  <a:pt x="329" y="24"/>
                  <a:pt x="313" y="34"/>
                  <a:pt x="305" y="38"/>
                </a:cubicBezTo>
                <a:cubicBezTo>
                  <a:pt x="237" y="0"/>
                  <a:pt x="140" y="0"/>
                  <a:pt x="72" y="39"/>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7" name="Freeform 445"/>
          <p:cNvSpPr>
            <a:spLocks noEditPoints="1"/>
          </p:cNvSpPr>
          <p:nvPr userDrawn="1"/>
        </p:nvSpPr>
        <p:spPr bwMode="auto">
          <a:xfrm>
            <a:off x="4265564" y="1308426"/>
            <a:ext cx="377527" cy="389335"/>
          </a:xfrm>
          <a:custGeom>
            <a:avLst/>
            <a:gdLst/>
            <a:ahLst/>
            <a:cxnLst>
              <a:cxn ang="0">
                <a:pos x="388" y="238"/>
              </a:cxn>
              <a:cxn ang="0">
                <a:pos x="429" y="217"/>
              </a:cxn>
              <a:cxn ang="0">
                <a:pos x="406" y="201"/>
              </a:cxn>
              <a:cxn ang="0">
                <a:pos x="388" y="161"/>
              </a:cxn>
              <a:cxn ang="0">
                <a:pos x="388" y="154"/>
              </a:cxn>
              <a:cxn ang="0">
                <a:pos x="366" y="147"/>
              </a:cxn>
              <a:cxn ang="0">
                <a:pos x="205" y="148"/>
              </a:cxn>
              <a:cxn ang="0">
                <a:pos x="283" y="139"/>
              </a:cxn>
              <a:cxn ang="0">
                <a:pos x="446" y="69"/>
              </a:cxn>
              <a:cxn ang="0">
                <a:pos x="283" y="0"/>
              </a:cxn>
              <a:cxn ang="0">
                <a:pos x="120" y="69"/>
              </a:cxn>
              <a:cxn ang="0">
                <a:pos x="178" y="123"/>
              </a:cxn>
              <a:cxn ang="0">
                <a:pos x="178" y="158"/>
              </a:cxn>
              <a:cxn ang="0">
                <a:pos x="178" y="243"/>
              </a:cxn>
              <a:cxn ang="0">
                <a:pos x="0" y="348"/>
              </a:cxn>
              <a:cxn ang="0">
                <a:pos x="157" y="449"/>
              </a:cxn>
              <a:cxn ang="0">
                <a:pos x="150" y="432"/>
              </a:cxn>
              <a:cxn ang="0">
                <a:pos x="27" y="347"/>
              </a:cxn>
              <a:cxn ang="0">
                <a:pos x="178" y="271"/>
              </a:cxn>
              <a:cxn ang="0">
                <a:pos x="120" y="331"/>
              </a:cxn>
              <a:cxn ang="0">
                <a:pos x="283" y="400"/>
              </a:cxn>
              <a:cxn ang="0">
                <a:pos x="446" y="331"/>
              </a:cxn>
              <a:cxn ang="0">
                <a:pos x="147" y="69"/>
              </a:cxn>
              <a:cxn ang="0">
                <a:pos x="283" y="27"/>
              </a:cxn>
              <a:cxn ang="0">
                <a:pos x="420" y="69"/>
              </a:cxn>
              <a:cxn ang="0">
                <a:pos x="283" y="112"/>
              </a:cxn>
              <a:cxn ang="0">
                <a:pos x="147" y="69"/>
              </a:cxn>
              <a:cxn ang="0">
                <a:pos x="361" y="175"/>
              </a:cxn>
              <a:cxn ang="0">
                <a:pos x="251" y="182"/>
              </a:cxn>
              <a:cxn ang="0">
                <a:pos x="221" y="198"/>
              </a:cxn>
              <a:cxn ang="0">
                <a:pos x="292" y="225"/>
              </a:cxn>
              <a:cxn ang="0">
                <a:pos x="205" y="189"/>
              </a:cxn>
              <a:cxn ang="0">
                <a:pos x="384" y="358"/>
              </a:cxn>
              <a:cxn ang="0">
                <a:pos x="182" y="358"/>
              </a:cxn>
              <a:cxn ang="0">
                <a:pos x="195" y="299"/>
              </a:cxn>
              <a:cxn ang="0">
                <a:pos x="205" y="265"/>
              </a:cxn>
              <a:cxn ang="0">
                <a:pos x="361" y="242"/>
              </a:cxn>
              <a:cxn ang="0">
                <a:pos x="371" y="299"/>
              </a:cxn>
              <a:cxn ang="0">
                <a:pos x="384" y="358"/>
              </a:cxn>
            </a:cxnLst>
            <a:rect l="0" t="0" r="r" b="b"/>
            <a:pathLst>
              <a:path w="446" h="459">
                <a:moveTo>
                  <a:pt x="388" y="277"/>
                </a:moveTo>
                <a:cubicBezTo>
                  <a:pt x="388" y="238"/>
                  <a:pt x="388" y="238"/>
                  <a:pt x="388" y="238"/>
                </a:cubicBezTo>
                <a:cubicBezTo>
                  <a:pt x="396" y="236"/>
                  <a:pt x="403" y="235"/>
                  <a:pt x="408" y="234"/>
                </a:cubicBezTo>
                <a:cubicBezTo>
                  <a:pt x="415" y="232"/>
                  <a:pt x="429" y="229"/>
                  <a:pt x="429" y="217"/>
                </a:cubicBezTo>
                <a:cubicBezTo>
                  <a:pt x="429" y="217"/>
                  <a:pt x="429" y="216"/>
                  <a:pt x="429" y="216"/>
                </a:cubicBezTo>
                <a:cubicBezTo>
                  <a:pt x="428" y="203"/>
                  <a:pt x="413" y="202"/>
                  <a:pt x="406" y="201"/>
                </a:cubicBezTo>
                <a:cubicBezTo>
                  <a:pt x="402" y="201"/>
                  <a:pt x="396" y="201"/>
                  <a:pt x="388" y="201"/>
                </a:cubicBezTo>
                <a:cubicBezTo>
                  <a:pt x="388" y="161"/>
                  <a:pt x="388" y="161"/>
                  <a:pt x="388" y="161"/>
                </a:cubicBezTo>
                <a:cubicBezTo>
                  <a:pt x="388" y="159"/>
                  <a:pt x="388" y="157"/>
                  <a:pt x="388" y="154"/>
                </a:cubicBezTo>
                <a:cubicBezTo>
                  <a:pt x="388" y="154"/>
                  <a:pt x="388" y="154"/>
                  <a:pt x="388" y="154"/>
                </a:cubicBezTo>
                <a:cubicBezTo>
                  <a:pt x="386" y="148"/>
                  <a:pt x="381" y="143"/>
                  <a:pt x="375" y="143"/>
                </a:cubicBezTo>
                <a:cubicBezTo>
                  <a:pt x="371" y="143"/>
                  <a:pt x="368" y="145"/>
                  <a:pt x="366" y="147"/>
                </a:cubicBezTo>
                <a:cubicBezTo>
                  <a:pt x="342" y="153"/>
                  <a:pt x="313" y="156"/>
                  <a:pt x="283" y="156"/>
                </a:cubicBezTo>
                <a:cubicBezTo>
                  <a:pt x="255" y="156"/>
                  <a:pt x="228" y="154"/>
                  <a:pt x="205" y="148"/>
                </a:cubicBezTo>
                <a:cubicBezTo>
                  <a:pt x="205" y="131"/>
                  <a:pt x="205" y="131"/>
                  <a:pt x="205" y="131"/>
                </a:cubicBezTo>
                <a:cubicBezTo>
                  <a:pt x="229" y="136"/>
                  <a:pt x="255" y="139"/>
                  <a:pt x="283" y="139"/>
                </a:cubicBezTo>
                <a:cubicBezTo>
                  <a:pt x="325" y="139"/>
                  <a:pt x="364" y="133"/>
                  <a:pt x="394" y="121"/>
                </a:cubicBezTo>
                <a:cubicBezTo>
                  <a:pt x="418" y="112"/>
                  <a:pt x="446" y="96"/>
                  <a:pt x="446" y="69"/>
                </a:cubicBezTo>
                <a:cubicBezTo>
                  <a:pt x="446" y="54"/>
                  <a:pt x="437" y="33"/>
                  <a:pt x="394" y="17"/>
                </a:cubicBezTo>
                <a:cubicBezTo>
                  <a:pt x="364" y="6"/>
                  <a:pt x="325" y="0"/>
                  <a:pt x="283" y="0"/>
                </a:cubicBezTo>
                <a:cubicBezTo>
                  <a:pt x="242" y="0"/>
                  <a:pt x="202" y="6"/>
                  <a:pt x="172" y="17"/>
                </a:cubicBezTo>
                <a:cubicBezTo>
                  <a:pt x="148" y="26"/>
                  <a:pt x="120" y="42"/>
                  <a:pt x="120" y="69"/>
                </a:cubicBezTo>
                <a:cubicBezTo>
                  <a:pt x="120" y="84"/>
                  <a:pt x="129" y="105"/>
                  <a:pt x="172" y="121"/>
                </a:cubicBezTo>
                <a:cubicBezTo>
                  <a:pt x="174" y="122"/>
                  <a:pt x="176" y="123"/>
                  <a:pt x="178" y="123"/>
                </a:cubicBezTo>
                <a:cubicBezTo>
                  <a:pt x="178" y="156"/>
                  <a:pt x="178" y="156"/>
                  <a:pt x="178" y="156"/>
                </a:cubicBezTo>
                <a:cubicBezTo>
                  <a:pt x="178" y="157"/>
                  <a:pt x="178" y="157"/>
                  <a:pt x="178" y="158"/>
                </a:cubicBezTo>
                <a:cubicBezTo>
                  <a:pt x="178" y="159"/>
                  <a:pt x="178" y="160"/>
                  <a:pt x="178" y="160"/>
                </a:cubicBezTo>
                <a:cubicBezTo>
                  <a:pt x="178" y="243"/>
                  <a:pt x="178" y="243"/>
                  <a:pt x="178" y="243"/>
                </a:cubicBezTo>
                <a:cubicBezTo>
                  <a:pt x="97" y="263"/>
                  <a:pt x="4" y="293"/>
                  <a:pt x="0" y="345"/>
                </a:cubicBezTo>
                <a:cubicBezTo>
                  <a:pt x="0" y="346"/>
                  <a:pt x="0" y="347"/>
                  <a:pt x="0" y="348"/>
                </a:cubicBezTo>
                <a:cubicBezTo>
                  <a:pt x="0" y="385"/>
                  <a:pt x="45" y="420"/>
                  <a:pt x="140" y="457"/>
                </a:cubicBezTo>
                <a:cubicBezTo>
                  <a:pt x="147" y="459"/>
                  <a:pt x="155" y="456"/>
                  <a:pt x="157" y="449"/>
                </a:cubicBezTo>
                <a:cubicBezTo>
                  <a:pt x="158" y="447"/>
                  <a:pt x="158" y="446"/>
                  <a:pt x="158" y="444"/>
                </a:cubicBezTo>
                <a:cubicBezTo>
                  <a:pt x="158" y="439"/>
                  <a:pt x="155" y="434"/>
                  <a:pt x="150" y="432"/>
                </a:cubicBezTo>
                <a:cubicBezTo>
                  <a:pt x="40" y="389"/>
                  <a:pt x="27" y="360"/>
                  <a:pt x="27" y="348"/>
                </a:cubicBezTo>
                <a:cubicBezTo>
                  <a:pt x="27" y="347"/>
                  <a:pt x="27" y="347"/>
                  <a:pt x="27" y="347"/>
                </a:cubicBezTo>
                <a:cubicBezTo>
                  <a:pt x="28" y="331"/>
                  <a:pt x="50" y="314"/>
                  <a:pt x="89" y="298"/>
                </a:cubicBezTo>
                <a:cubicBezTo>
                  <a:pt x="121" y="285"/>
                  <a:pt x="156" y="276"/>
                  <a:pt x="178" y="271"/>
                </a:cubicBezTo>
                <a:cubicBezTo>
                  <a:pt x="178" y="277"/>
                  <a:pt x="178" y="277"/>
                  <a:pt x="178" y="277"/>
                </a:cubicBezTo>
                <a:cubicBezTo>
                  <a:pt x="141" y="289"/>
                  <a:pt x="120" y="308"/>
                  <a:pt x="120" y="331"/>
                </a:cubicBezTo>
                <a:cubicBezTo>
                  <a:pt x="120" y="346"/>
                  <a:pt x="129" y="367"/>
                  <a:pt x="172" y="383"/>
                </a:cubicBezTo>
                <a:cubicBezTo>
                  <a:pt x="202" y="394"/>
                  <a:pt x="242" y="400"/>
                  <a:pt x="283" y="400"/>
                </a:cubicBezTo>
                <a:cubicBezTo>
                  <a:pt x="325" y="400"/>
                  <a:pt x="364" y="394"/>
                  <a:pt x="394" y="383"/>
                </a:cubicBezTo>
                <a:cubicBezTo>
                  <a:pt x="418" y="374"/>
                  <a:pt x="446" y="358"/>
                  <a:pt x="446" y="331"/>
                </a:cubicBezTo>
                <a:cubicBezTo>
                  <a:pt x="446" y="308"/>
                  <a:pt x="426" y="289"/>
                  <a:pt x="388" y="277"/>
                </a:cubicBezTo>
                <a:close/>
                <a:moveTo>
                  <a:pt x="147" y="69"/>
                </a:moveTo>
                <a:cubicBezTo>
                  <a:pt x="147" y="63"/>
                  <a:pt x="156" y="52"/>
                  <a:pt x="182" y="42"/>
                </a:cubicBezTo>
                <a:cubicBezTo>
                  <a:pt x="209" y="32"/>
                  <a:pt x="245" y="27"/>
                  <a:pt x="283" y="27"/>
                </a:cubicBezTo>
                <a:cubicBezTo>
                  <a:pt x="322" y="27"/>
                  <a:pt x="358" y="32"/>
                  <a:pt x="384" y="42"/>
                </a:cubicBezTo>
                <a:cubicBezTo>
                  <a:pt x="410" y="52"/>
                  <a:pt x="420" y="63"/>
                  <a:pt x="420" y="69"/>
                </a:cubicBezTo>
                <a:cubicBezTo>
                  <a:pt x="420" y="76"/>
                  <a:pt x="410" y="87"/>
                  <a:pt x="384" y="96"/>
                </a:cubicBezTo>
                <a:cubicBezTo>
                  <a:pt x="358" y="106"/>
                  <a:pt x="322" y="112"/>
                  <a:pt x="283" y="112"/>
                </a:cubicBezTo>
                <a:cubicBezTo>
                  <a:pt x="245" y="112"/>
                  <a:pt x="209" y="106"/>
                  <a:pt x="182" y="96"/>
                </a:cubicBezTo>
                <a:cubicBezTo>
                  <a:pt x="156" y="87"/>
                  <a:pt x="147" y="76"/>
                  <a:pt x="147" y="69"/>
                </a:cubicBezTo>
                <a:close/>
                <a:moveTo>
                  <a:pt x="283" y="183"/>
                </a:moveTo>
                <a:cubicBezTo>
                  <a:pt x="311" y="183"/>
                  <a:pt x="338" y="180"/>
                  <a:pt x="361" y="175"/>
                </a:cubicBezTo>
                <a:cubicBezTo>
                  <a:pt x="361" y="200"/>
                  <a:pt x="361" y="200"/>
                  <a:pt x="361" y="200"/>
                </a:cubicBezTo>
                <a:cubicBezTo>
                  <a:pt x="310" y="199"/>
                  <a:pt x="275" y="191"/>
                  <a:pt x="251" y="182"/>
                </a:cubicBezTo>
                <a:cubicBezTo>
                  <a:pt x="261" y="183"/>
                  <a:pt x="272" y="183"/>
                  <a:pt x="283" y="183"/>
                </a:cubicBezTo>
                <a:close/>
                <a:moveTo>
                  <a:pt x="221" y="198"/>
                </a:moveTo>
                <a:cubicBezTo>
                  <a:pt x="244" y="210"/>
                  <a:pt x="273" y="218"/>
                  <a:pt x="306" y="223"/>
                </a:cubicBezTo>
                <a:cubicBezTo>
                  <a:pt x="302" y="224"/>
                  <a:pt x="297" y="224"/>
                  <a:pt x="292" y="225"/>
                </a:cubicBezTo>
                <a:cubicBezTo>
                  <a:pt x="258" y="230"/>
                  <a:pt x="226" y="234"/>
                  <a:pt x="205" y="238"/>
                </a:cubicBezTo>
                <a:cubicBezTo>
                  <a:pt x="205" y="189"/>
                  <a:pt x="205" y="189"/>
                  <a:pt x="205" y="189"/>
                </a:cubicBezTo>
                <a:cubicBezTo>
                  <a:pt x="209" y="192"/>
                  <a:pt x="215" y="195"/>
                  <a:pt x="221" y="198"/>
                </a:cubicBezTo>
                <a:close/>
                <a:moveTo>
                  <a:pt x="384" y="358"/>
                </a:moveTo>
                <a:cubicBezTo>
                  <a:pt x="358" y="368"/>
                  <a:pt x="322" y="373"/>
                  <a:pt x="283" y="373"/>
                </a:cubicBezTo>
                <a:cubicBezTo>
                  <a:pt x="245" y="373"/>
                  <a:pt x="209" y="368"/>
                  <a:pt x="182" y="358"/>
                </a:cubicBezTo>
                <a:cubicBezTo>
                  <a:pt x="156" y="348"/>
                  <a:pt x="147" y="337"/>
                  <a:pt x="147" y="331"/>
                </a:cubicBezTo>
                <a:cubicBezTo>
                  <a:pt x="147" y="322"/>
                  <a:pt x="162" y="309"/>
                  <a:pt x="195" y="299"/>
                </a:cubicBezTo>
                <a:cubicBezTo>
                  <a:pt x="201" y="298"/>
                  <a:pt x="205" y="292"/>
                  <a:pt x="205" y="286"/>
                </a:cubicBezTo>
                <a:cubicBezTo>
                  <a:pt x="205" y="265"/>
                  <a:pt x="205" y="265"/>
                  <a:pt x="205" y="265"/>
                </a:cubicBezTo>
                <a:cubicBezTo>
                  <a:pt x="225" y="261"/>
                  <a:pt x="261" y="256"/>
                  <a:pt x="296" y="251"/>
                </a:cubicBezTo>
                <a:cubicBezTo>
                  <a:pt x="318" y="248"/>
                  <a:pt x="341" y="245"/>
                  <a:pt x="361" y="242"/>
                </a:cubicBezTo>
                <a:cubicBezTo>
                  <a:pt x="361" y="286"/>
                  <a:pt x="361" y="286"/>
                  <a:pt x="361" y="286"/>
                </a:cubicBezTo>
                <a:cubicBezTo>
                  <a:pt x="361" y="292"/>
                  <a:pt x="365" y="298"/>
                  <a:pt x="371" y="299"/>
                </a:cubicBezTo>
                <a:cubicBezTo>
                  <a:pt x="404" y="309"/>
                  <a:pt x="420" y="322"/>
                  <a:pt x="420" y="331"/>
                </a:cubicBezTo>
                <a:cubicBezTo>
                  <a:pt x="420" y="337"/>
                  <a:pt x="410" y="348"/>
                  <a:pt x="384" y="35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8" name="Freeform 485"/>
          <p:cNvSpPr>
            <a:spLocks/>
          </p:cNvSpPr>
          <p:nvPr userDrawn="1"/>
        </p:nvSpPr>
        <p:spPr bwMode="auto">
          <a:xfrm>
            <a:off x="4261396" y="2861412"/>
            <a:ext cx="385863" cy="182166"/>
          </a:xfrm>
          <a:custGeom>
            <a:avLst/>
            <a:gdLst/>
            <a:ahLst/>
            <a:cxnLst>
              <a:cxn ang="0">
                <a:pos x="109" y="12"/>
              </a:cxn>
              <a:cxn ang="0">
                <a:pos x="51" y="53"/>
              </a:cxn>
              <a:cxn ang="0">
                <a:pos x="109" y="93"/>
              </a:cxn>
              <a:cxn ang="0">
                <a:pos x="227" y="105"/>
              </a:cxn>
              <a:cxn ang="0">
                <a:pos x="227" y="105"/>
              </a:cxn>
              <a:cxn ang="0">
                <a:pos x="346" y="93"/>
              </a:cxn>
              <a:cxn ang="0">
                <a:pos x="388" y="77"/>
              </a:cxn>
              <a:cxn ang="0">
                <a:pos x="427" y="152"/>
              </a:cxn>
              <a:cxn ang="0">
                <a:pos x="227" y="188"/>
              </a:cxn>
              <a:cxn ang="0">
                <a:pos x="28" y="152"/>
              </a:cxn>
              <a:cxn ang="0">
                <a:pos x="56" y="94"/>
              </a:cxn>
              <a:cxn ang="0">
                <a:pos x="58" y="88"/>
              </a:cxn>
              <a:cxn ang="0">
                <a:pos x="50" y="76"/>
              </a:cxn>
              <a:cxn ang="0">
                <a:pos x="32" y="82"/>
              </a:cxn>
              <a:cxn ang="0">
                <a:pos x="1" y="146"/>
              </a:cxn>
              <a:cxn ang="0">
                <a:pos x="0" y="152"/>
              </a:cxn>
              <a:cxn ang="0">
                <a:pos x="34" y="189"/>
              </a:cxn>
              <a:cxn ang="0">
                <a:pos x="227" y="215"/>
              </a:cxn>
              <a:cxn ang="0">
                <a:pos x="420" y="189"/>
              </a:cxn>
              <a:cxn ang="0">
                <a:pos x="455" y="152"/>
              </a:cxn>
              <a:cxn ang="0">
                <a:pos x="454" y="146"/>
              </a:cxn>
              <a:cxn ang="0">
                <a:pos x="402" y="46"/>
              </a:cxn>
              <a:cxn ang="0">
                <a:pos x="387" y="40"/>
              </a:cxn>
              <a:cxn ang="0">
                <a:pos x="377" y="52"/>
              </a:cxn>
              <a:cxn ang="0">
                <a:pos x="333" y="69"/>
              </a:cxn>
              <a:cxn ang="0">
                <a:pos x="227" y="79"/>
              </a:cxn>
              <a:cxn ang="0">
                <a:pos x="122" y="69"/>
              </a:cxn>
              <a:cxn ang="0">
                <a:pos x="79" y="53"/>
              </a:cxn>
              <a:cxn ang="0">
                <a:pos x="122" y="36"/>
              </a:cxn>
              <a:cxn ang="0">
                <a:pos x="227" y="27"/>
              </a:cxn>
              <a:cxn ang="0">
                <a:pos x="241" y="13"/>
              </a:cxn>
              <a:cxn ang="0">
                <a:pos x="227" y="0"/>
              </a:cxn>
              <a:cxn ang="0">
                <a:pos x="109" y="12"/>
              </a:cxn>
            </a:cxnLst>
            <a:rect l="0" t="0" r="r" b="b"/>
            <a:pathLst>
              <a:path w="455" h="215">
                <a:moveTo>
                  <a:pt x="109" y="12"/>
                </a:moveTo>
                <a:cubicBezTo>
                  <a:pt x="70" y="21"/>
                  <a:pt x="51" y="35"/>
                  <a:pt x="51" y="53"/>
                </a:cubicBezTo>
                <a:cubicBezTo>
                  <a:pt x="51" y="71"/>
                  <a:pt x="70" y="84"/>
                  <a:pt x="109" y="93"/>
                </a:cubicBezTo>
                <a:cubicBezTo>
                  <a:pt x="141" y="101"/>
                  <a:pt x="183" y="105"/>
                  <a:pt x="227" y="105"/>
                </a:cubicBezTo>
                <a:cubicBezTo>
                  <a:pt x="227" y="105"/>
                  <a:pt x="227" y="105"/>
                  <a:pt x="227" y="105"/>
                </a:cubicBezTo>
                <a:cubicBezTo>
                  <a:pt x="272" y="105"/>
                  <a:pt x="314" y="101"/>
                  <a:pt x="346" y="93"/>
                </a:cubicBezTo>
                <a:cubicBezTo>
                  <a:pt x="365" y="89"/>
                  <a:pt x="379" y="83"/>
                  <a:pt x="388" y="77"/>
                </a:cubicBezTo>
                <a:cubicBezTo>
                  <a:pt x="400" y="99"/>
                  <a:pt x="419" y="135"/>
                  <a:pt x="427" y="152"/>
                </a:cubicBezTo>
                <a:cubicBezTo>
                  <a:pt x="421" y="160"/>
                  <a:pt x="388" y="188"/>
                  <a:pt x="227" y="188"/>
                </a:cubicBezTo>
                <a:cubicBezTo>
                  <a:pt x="67" y="188"/>
                  <a:pt x="34" y="160"/>
                  <a:pt x="28" y="152"/>
                </a:cubicBezTo>
                <a:cubicBezTo>
                  <a:pt x="37" y="131"/>
                  <a:pt x="56" y="95"/>
                  <a:pt x="56" y="94"/>
                </a:cubicBezTo>
                <a:cubicBezTo>
                  <a:pt x="57" y="92"/>
                  <a:pt x="58" y="90"/>
                  <a:pt x="58" y="88"/>
                </a:cubicBezTo>
                <a:cubicBezTo>
                  <a:pt x="58" y="83"/>
                  <a:pt x="55" y="79"/>
                  <a:pt x="50" y="76"/>
                </a:cubicBezTo>
                <a:cubicBezTo>
                  <a:pt x="44" y="73"/>
                  <a:pt x="36" y="75"/>
                  <a:pt x="32" y="82"/>
                </a:cubicBezTo>
                <a:cubicBezTo>
                  <a:pt x="32" y="84"/>
                  <a:pt x="9" y="127"/>
                  <a:pt x="1" y="146"/>
                </a:cubicBezTo>
                <a:cubicBezTo>
                  <a:pt x="0" y="148"/>
                  <a:pt x="0" y="150"/>
                  <a:pt x="0" y="152"/>
                </a:cubicBezTo>
                <a:cubicBezTo>
                  <a:pt x="0" y="157"/>
                  <a:pt x="2" y="174"/>
                  <a:pt x="34" y="189"/>
                </a:cubicBezTo>
                <a:cubicBezTo>
                  <a:pt x="72" y="206"/>
                  <a:pt x="137" y="215"/>
                  <a:pt x="227" y="215"/>
                </a:cubicBezTo>
                <a:cubicBezTo>
                  <a:pt x="318" y="215"/>
                  <a:pt x="383" y="206"/>
                  <a:pt x="420" y="189"/>
                </a:cubicBezTo>
                <a:cubicBezTo>
                  <a:pt x="452" y="174"/>
                  <a:pt x="455" y="157"/>
                  <a:pt x="455" y="152"/>
                </a:cubicBezTo>
                <a:cubicBezTo>
                  <a:pt x="455" y="150"/>
                  <a:pt x="455" y="148"/>
                  <a:pt x="454" y="146"/>
                </a:cubicBezTo>
                <a:cubicBezTo>
                  <a:pt x="445" y="127"/>
                  <a:pt x="404" y="50"/>
                  <a:pt x="402" y="46"/>
                </a:cubicBezTo>
                <a:cubicBezTo>
                  <a:pt x="399" y="41"/>
                  <a:pt x="393" y="38"/>
                  <a:pt x="387" y="40"/>
                </a:cubicBezTo>
                <a:cubicBezTo>
                  <a:pt x="381" y="41"/>
                  <a:pt x="378" y="46"/>
                  <a:pt x="377" y="52"/>
                </a:cubicBezTo>
                <a:cubicBezTo>
                  <a:pt x="375" y="54"/>
                  <a:pt x="365" y="62"/>
                  <a:pt x="333" y="69"/>
                </a:cubicBezTo>
                <a:cubicBezTo>
                  <a:pt x="304" y="75"/>
                  <a:pt x="266" y="79"/>
                  <a:pt x="227" y="79"/>
                </a:cubicBezTo>
                <a:cubicBezTo>
                  <a:pt x="188" y="79"/>
                  <a:pt x="151" y="75"/>
                  <a:pt x="122" y="69"/>
                </a:cubicBezTo>
                <a:cubicBezTo>
                  <a:pt x="94" y="63"/>
                  <a:pt x="82" y="56"/>
                  <a:pt x="79" y="53"/>
                </a:cubicBezTo>
                <a:cubicBezTo>
                  <a:pt x="82" y="49"/>
                  <a:pt x="94" y="42"/>
                  <a:pt x="122" y="36"/>
                </a:cubicBezTo>
                <a:cubicBezTo>
                  <a:pt x="151" y="30"/>
                  <a:pt x="188" y="27"/>
                  <a:pt x="227" y="27"/>
                </a:cubicBezTo>
                <a:cubicBezTo>
                  <a:pt x="235" y="27"/>
                  <a:pt x="241" y="21"/>
                  <a:pt x="241" y="13"/>
                </a:cubicBezTo>
                <a:cubicBezTo>
                  <a:pt x="241" y="6"/>
                  <a:pt x="235" y="0"/>
                  <a:pt x="227" y="0"/>
                </a:cubicBezTo>
                <a:cubicBezTo>
                  <a:pt x="183" y="0"/>
                  <a:pt x="141" y="4"/>
                  <a:pt x="109" y="1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69" name="Freeform 505"/>
          <p:cNvSpPr>
            <a:spLocks/>
          </p:cNvSpPr>
          <p:nvPr userDrawn="1"/>
        </p:nvSpPr>
        <p:spPr bwMode="auto">
          <a:xfrm>
            <a:off x="4267351" y="3825035"/>
            <a:ext cx="373953" cy="334566"/>
          </a:xfrm>
          <a:custGeom>
            <a:avLst/>
            <a:gdLst/>
            <a:ahLst/>
            <a:cxnLst>
              <a:cxn ang="0">
                <a:pos x="273" y="396"/>
              </a:cxn>
              <a:cxn ang="0">
                <a:pos x="15" y="396"/>
              </a:cxn>
              <a:cxn ang="0">
                <a:pos x="5" y="374"/>
              </a:cxn>
              <a:cxn ang="0">
                <a:pos x="91" y="278"/>
              </a:cxn>
              <a:cxn ang="0">
                <a:pos x="224" y="283"/>
              </a:cxn>
              <a:cxn ang="0">
                <a:pos x="341" y="240"/>
              </a:cxn>
              <a:cxn ang="0">
                <a:pos x="248" y="270"/>
              </a:cxn>
              <a:cxn ang="0">
                <a:pos x="109" y="274"/>
              </a:cxn>
              <a:cxn ang="0">
                <a:pos x="99" y="252"/>
              </a:cxn>
              <a:cxn ang="0">
                <a:pos x="182" y="167"/>
              </a:cxn>
              <a:cxn ang="0">
                <a:pos x="282" y="181"/>
              </a:cxn>
              <a:cxn ang="0">
                <a:pos x="188" y="194"/>
              </a:cxn>
              <a:cxn ang="0">
                <a:pos x="233" y="248"/>
              </a:cxn>
              <a:cxn ang="0">
                <a:pos x="306" y="172"/>
              </a:cxn>
              <a:cxn ang="0">
                <a:pos x="369" y="231"/>
              </a:cxn>
              <a:cxn ang="0">
                <a:pos x="272" y="352"/>
              </a:cxn>
              <a:cxn ang="0">
                <a:pos x="262" y="356"/>
              </a:cxn>
              <a:cxn ang="0">
                <a:pos x="209" y="305"/>
              </a:cxn>
              <a:cxn ang="0">
                <a:pos x="43" y="369"/>
              </a:cxn>
              <a:cxn ang="0">
                <a:pos x="361" y="337"/>
              </a:cxn>
              <a:cxn ang="0">
                <a:pos x="412" y="66"/>
              </a:cxn>
              <a:cxn ang="0">
                <a:pos x="343" y="51"/>
              </a:cxn>
              <a:cxn ang="0">
                <a:pos x="262" y="51"/>
              </a:cxn>
              <a:cxn ang="0">
                <a:pos x="181" y="51"/>
              </a:cxn>
              <a:cxn ang="0">
                <a:pos x="101" y="51"/>
              </a:cxn>
              <a:cxn ang="0">
                <a:pos x="6" y="17"/>
              </a:cxn>
              <a:cxn ang="0">
                <a:pos x="32" y="12"/>
              </a:cxn>
              <a:cxn ang="0">
                <a:pos x="87" y="13"/>
              </a:cxn>
              <a:cxn ang="0">
                <a:pos x="113" y="11"/>
              </a:cxn>
              <a:cxn ang="0">
                <a:pos x="168" y="12"/>
              </a:cxn>
              <a:cxn ang="0">
                <a:pos x="194" y="11"/>
              </a:cxn>
              <a:cxn ang="0">
                <a:pos x="249" y="12"/>
              </a:cxn>
              <a:cxn ang="0">
                <a:pos x="262" y="1"/>
              </a:cxn>
              <a:cxn ang="0">
                <a:pos x="303" y="51"/>
              </a:cxn>
              <a:cxn ang="0">
                <a:pos x="343" y="1"/>
              </a:cxn>
              <a:cxn ang="0">
                <a:pos x="356" y="11"/>
              </a:cxn>
              <a:cxn ang="0">
                <a:pos x="411" y="12"/>
              </a:cxn>
              <a:cxn ang="0">
                <a:pos x="437" y="14"/>
              </a:cxn>
              <a:cxn ang="0">
                <a:pos x="379" y="357"/>
              </a:cxn>
              <a:cxn ang="0">
                <a:pos x="290" y="396"/>
              </a:cxn>
            </a:cxnLst>
            <a:rect l="0" t="0" r="r" b="b"/>
            <a:pathLst>
              <a:path w="441" h="396">
                <a:moveTo>
                  <a:pt x="279" y="396"/>
                </a:moveTo>
                <a:cubicBezTo>
                  <a:pt x="275" y="396"/>
                  <a:pt x="273" y="396"/>
                  <a:pt x="273" y="396"/>
                </a:cubicBezTo>
                <a:cubicBezTo>
                  <a:pt x="272" y="396"/>
                  <a:pt x="271" y="396"/>
                  <a:pt x="271" y="396"/>
                </a:cubicBezTo>
                <a:cubicBezTo>
                  <a:pt x="15" y="396"/>
                  <a:pt x="15" y="396"/>
                  <a:pt x="15" y="396"/>
                </a:cubicBezTo>
                <a:cubicBezTo>
                  <a:pt x="10" y="396"/>
                  <a:pt x="5" y="393"/>
                  <a:pt x="3" y="388"/>
                </a:cubicBezTo>
                <a:cubicBezTo>
                  <a:pt x="0" y="383"/>
                  <a:pt x="1" y="378"/>
                  <a:pt x="5" y="374"/>
                </a:cubicBezTo>
                <a:cubicBezTo>
                  <a:pt x="81" y="283"/>
                  <a:pt x="81" y="283"/>
                  <a:pt x="81" y="283"/>
                </a:cubicBezTo>
                <a:cubicBezTo>
                  <a:pt x="83" y="280"/>
                  <a:pt x="87" y="278"/>
                  <a:pt x="91" y="278"/>
                </a:cubicBezTo>
                <a:cubicBezTo>
                  <a:pt x="214" y="278"/>
                  <a:pt x="214" y="278"/>
                  <a:pt x="214" y="278"/>
                </a:cubicBezTo>
                <a:cubicBezTo>
                  <a:pt x="218" y="278"/>
                  <a:pt x="222" y="280"/>
                  <a:pt x="224" y="283"/>
                </a:cubicBezTo>
                <a:cubicBezTo>
                  <a:pt x="263" y="323"/>
                  <a:pt x="263" y="323"/>
                  <a:pt x="263" y="323"/>
                </a:cubicBezTo>
                <a:cubicBezTo>
                  <a:pt x="341" y="240"/>
                  <a:pt x="341" y="240"/>
                  <a:pt x="341" y="240"/>
                </a:cubicBezTo>
                <a:cubicBezTo>
                  <a:pt x="307" y="205"/>
                  <a:pt x="307" y="205"/>
                  <a:pt x="307" y="205"/>
                </a:cubicBezTo>
                <a:cubicBezTo>
                  <a:pt x="248" y="270"/>
                  <a:pt x="248" y="270"/>
                  <a:pt x="248" y="270"/>
                </a:cubicBezTo>
                <a:cubicBezTo>
                  <a:pt x="246" y="273"/>
                  <a:pt x="242" y="274"/>
                  <a:pt x="238" y="274"/>
                </a:cubicBezTo>
                <a:cubicBezTo>
                  <a:pt x="109" y="274"/>
                  <a:pt x="109" y="274"/>
                  <a:pt x="109" y="274"/>
                </a:cubicBezTo>
                <a:cubicBezTo>
                  <a:pt x="104" y="274"/>
                  <a:pt x="99" y="271"/>
                  <a:pt x="97" y="266"/>
                </a:cubicBezTo>
                <a:cubicBezTo>
                  <a:pt x="95" y="262"/>
                  <a:pt x="96" y="256"/>
                  <a:pt x="99" y="252"/>
                </a:cubicBezTo>
                <a:cubicBezTo>
                  <a:pt x="172" y="172"/>
                  <a:pt x="172" y="172"/>
                  <a:pt x="172" y="172"/>
                </a:cubicBezTo>
                <a:cubicBezTo>
                  <a:pt x="175" y="169"/>
                  <a:pt x="178" y="167"/>
                  <a:pt x="182" y="167"/>
                </a:cubicBezTo>
                <a:cubicBezTo>
                  <a:pt x="268" y="167"/>
                  <a:pt x="268" y="167"/>
                  <a:pt x="268" y="167"/>
                </a:cubicBezTo>
                <a:cubicBezTo>
                  <a:pt x="276" y="167"/>
                  <a:pt x="282" y="173"/>
                  <a:pt x="282" y="181"/>
                </a:cubicBezTo>
                <a:cubicBezTo>
                  <a:pt x="282" y="188"/>
                  <a:pt x="276" y="194"/>
                  <a:pt x="268" y="194"/>
                </a:cubicBezTo>
                <a:cubicBezTo>
                  <a:pt x="188" y="194"/>
                  <a:pt x="188" y="194"/>
                  <a:pt x="188" y="194"/>
                </a:cubicBezTo>
                <a:cubicBezTo>
                  <a:pt x="139" y="248"/>
                  <a:pt x="139" y="248"/>
                  <a:pt x="139" y="248"/>
                </a:cubicBezTo>
                <a:cubicBezTo>
                  <a:pt x="233" y="248"/>
                  <a:pt x="233" y="248"/>
                  <a:pt x="233" y="248"/>
                </a:cubicBezTo>
                <a:cubicBezTo>
                  <a:pt x="297" y="176"/>
                  <a:pt x="297" y="176"/>
                  <a:pt x="297" y="176"/>
                </a:cubicBezTo>
                <a:cubicBezTo>
                  <a:pt x="299" y="174"/>
                  <a:pt x="302" y="172"/>
                  <a:pt x="306" y="172"/>
                </a:cubicBezTo>
                <a:cubicBezTo>
                  <a:pt x="310" y="172"/>
                  <a:pt x="313" y="173"/>
                  <a:pt x="316" y="176"/>
                </a:cubicBezTo>
                <a:cubicBezTo>
                  <a:pt x="369" y="231"/>
                  <a:pt x="369" y="231"/>
                  <a:pt x="369" y="231"/>
                </a:cubicBezTo>
                <a:cubicBezTo>
                  <a:pt x="374" y="236"/>
                  <a:pt x="374" y="244"/>
                  <a:pt x="369" y="250"/>
                </a:cubicBezTo>
                <a:cubicBezTo>
                  <a:pt x="272" y="352"/>
                  <a:pt x="272" y="352"/>
                  <a:pt x="272" y="352"/>
                </a:cubicBezTo>
                <a:cubicBezTo>
                  <a:pt x="270" y="355"/>
                  <a:pt x="266" y="356"/>
                  <a:pt x="262" y="356"/>
                </a:cubicBezTo>
                <a:cubicBezTo>
                  <a:pt x="262" y="356"/>
                  <a:pt x="262" y="356"/>
                  <a:pt x="262" y="356"/>
                </a:cubicBezTo>
                <a:cubicBezTo>
                  <a:pt x="259" y="356"/>
                  <a:pt x="255" y="355"/>
                  <a:pt x="253" y="352"/>
                </a:cubicBezTo>
                <a:cubicBezTo>
                  <a:pt x="209" y="305"/>
                  <a:pt x="209" y="305"/>
                  <a:pt x="209" y="305"/>
                </a:cubicBezTo>
                <a:cubicBezTo>
                  <a:pt x="97" y="305"/>
                  <a:pt x="97" y="305"/>
                  <a:pt x="97" y="305"/>
                </a:cubicBezTo>
                <a:cubicBezTo>
                  <a:pt x="43" y="369"/>
                  <a:pt x="43" y="369"/>
                  <a:pt x="43" y="369"/>
                </a:cubicBezTo>
                <a:cubicBezTo>
                  <a:pt x="288" y="369"/>
                  <a:pt x="288" y="369"/>
                  <a:pt x="288" y="369"/>
                </a:cubicBezTo>
                <a:cubicBezTo>
                  <a:pt x="305" y="368"/>
                  <a:pt x="335" y="361"/>
                  <a:pt x="361" y="337"/>
                </a:cubicBezTo>
                <a:cubicBezTo>
                  <a:pt x="396" y="306"/>
                  <a:pt x="413" y="253"/>
                  <a:pt x="414" y="181"/>
                </a:cubicBezTo>
                <a:cubicBezTo>
                  <a:pt x="414" y="141"/>
                  <a:pt x="413" y="98"/>
                  <a:pt x="412" y="66"/>
                </a:cubicBezTo>
                <a:cubicBezTo>
                  <a:pt x="405" y="73"/>
                  <a:pt x="395" y="78"/>
                  <a:pt x="384" y="78"/>
                </a:cubicBezTo>
                <a:cubicBezTo>
                  <a:pt x="366" y="78"/>
                  <a:pt x="352" y="65"/>
                  <a:pt x="343" y="51"/>
                </a:cubicBezTo>
                <a:cubicBezTo>
                  <a:pt x="335" y="65"/>
                  <a:pt x="321" y="78"/>
                  <a:pt x="303" y="78"/>
                </a:cubicBezTo>
                <a:cubicBezTo>
                  <a:pt x="285" y="78"/>
                  <a:pt x="271" y="65"/>
                  <a:pt x="262" y="51"/>
                </a:cubicBezTo>
                <a:cubicBezTo>
                  <a:pt x="254" y="65"/>
                  <a:pt x="240" y="78"/>
                  <a:pt x="222" y="78"/>
                </a:cubicBezTo>
                <a:cubicBezTo>
                  <a:pt x="204" y="78"/>
                  <a:pt x="190" y="65"/>
                  <a:pt x="181" y="51"/>
                </a:cubicBezTo>
                <a:cubicBezTo>
                  <a:pt x="173" y="65"/>
                  <a:pt x="160" y="78"/>
                  <a:pt x="141" y="78"/>
                </a:cubicBezTo>
                <a:cubicBezTo>
                  <a:pt x="123" y="78"/>
                  <a:pt x="110" y="65"/>
                  <a:pt x="101" y="51"/>
                </a:cubicBezTo>
                <a:cubicBezTo>
                  <a:pt x="92" y="66"/>
                  <a:pt x="79" y="78"/>
                  <a:pt x="60" y="78"/>
                </a:cubicBezTo>
                <a:cubicBezTo>
                  <a:pt x="28" y="78"/>
                  <a:pt x="11" y="40"/>
                  <a:pt x="6" y="17"/>
                </a:cubicBezTo>
                <a:cubicBezTo>
                  <a:pt x="5" y="10"/>
                  <a:pt x="9" y="3"/>
                  <a:pt x="16" y="2"/>
                </a:cubicBezTo>
                <a:cubicBezTo>
                  <a:pt x="24" y="0"/>
                  <a:pt x="31" y="5"/>
                  <a:pt x="32" y="12"/>
                </a:cubicBezTo>
                <a:cubicBezTo>
                  <a:pt x="35" y="25"/>
                  <a:pt x="46" y="51"/>
                  <a:pt x="60" y="51"/>
                </a:cubicBezTo>
                <a:cubicBezTo>
                  <a:pt x="76" y="51"/>
                  <a:pt x="85" y="22"/>
                  <a:pt x="87" y="13"/>
                </a:cubicBezTo>
                <a:cubicBezTo>
                  <a:pt x="88" y="7"/>
                  <a:pt x="92" y="2"/>
                  <a:pt x="99" y="1"/>
                </a:cubicBezTo>
                <a:cubicBezTo>
                  <a:pt x="105" y="0"/>
                  <a:pt x="112" y="5"/>
                  <a:pt x="113" y="11"/>
                </a:cubicBezTo>
                <a:cubicBezTo>
                  <a:pt x="116" y="24"/>
                  <a:pt x="127" y="51"/>
                  <a:pt x="141" y="51"/>
                </a:cubicBezTo>
                <a:cubicBezTo>
                  <a:pt x="157" y="51"/>
                  <a:pt x="166" y="20"/>
                  <a:pt x="168" y="12"/>
                </a:cubicBezTo>
                <a:cubicBezTo>
                  <a:pt x="169" y="6"/>
                  <a:pt x="175" y="1"/>
                  <a:pt x="181" y="1"/>
                </a:cubicBezTo>
                <a:cubicBezTo>
                  <a:pt x="187" y="1"/>
                  <a:pt x="193" y="5"/>
                  <a:pt x="194" y="11"/>
                </a:cubicBezTo>
                <a:cubicBezTo>
                  <a:pt x="197" y="24"/>
                  <a:pt x="208" y="51"/>
                  <a:pt x="222" y="51"/>
                </a:cubicBezTo>
                <a:cubicBezTo>
                  <a:pt x="238" y="51"/>
                  <a:pt x="247" y="20"/>
                  <a:pt x="249" y="12"/>
                </a:cubicBezTo>
                <a:cubicBezTo>
                  <a:pt x="250" y="6"/>
                  <a:pt x="255" y="1"/>
                  <a:pt x="262" y="1"/>
                </a:cubicBezTo>
                <a:cubicBezTo>
                  <a:pt x="262" y="1"/>
                  <a:pt x="262" y="1"/>
                  <a:pt x="262" y="1"/>
                </a:cubicBezTo>
                <a:cubicBezTo>
                  <a:pt x="268" y="1"/>
                  <a:pt x="274" y="5"/>
                  <a:pt x="275" y="11"/>
                </a:cubicBezTo>
                <a:cubicBezTo>
                  <a:pt x="278" y="24"/>
                  <a:pt x="289" y="51"/>
                  <a:pt x="303" y="51"/>
                </a:cubicBezTo>
                <a:cubicBezTo>
                  <a:pt x="319" y="51"/>
                  <a:pt x="328" y="20"/>
                  <a:pt x="330" y="12"/>
                </a:cubicBezTo>
                <a:cubicBezTo>
                  <a:pt x="331" y="6"/>
                  <a:pt x="336" y="1"/>
                  <a:pt x="343" y="1"/>
                </a:cubicBezTo>
                <a:cubicBezTo>
                  <a:pt x="343" y="1"/>
                  <a:pt x="343" y="1"/>
                  <a:pt x="343" y="1"/>
                </a:cubicBezTo>
                <a:cubicBezTo>
                  <a:pt x="349" y="1"/>
                  <a:pt x="355" y="5"/>
                  <a:pt x="356" y="11"/>
                </a:cubicBezTo>
                <a:cubicBezTo>
                  <a:pt x="359" y="24"/>
                  <a:pt x="369" y="51"/>
                  <a:pt x="384" y="51"/>
                </a:cubicBezTo>
                <a:cubicBezTo>
                  <a:pt x="400" y="51"/>
                  <a:pt x="409" y="20"/>
                  <a:pt x="411" y="12"/>
                </a:cubicBezTo>
                <a:cubicBezTo>
                  <a:pt x="412" y="5"/>
                  <a:pt x="418" y="1"/>
                  <a:pt x="425" y="1"/>
                </a:cubicBezTo>
                <a:cubicBezTo>
                  <a:pt x="432" y="2"/>
                  <a:pt x="437" y="7"/>
                  <a:pt x="437" y="14"/>
                </a:cubicBezTo>
                <a:cubicBezTo>
                  <a:pt x="437" y="15"/>
                  <a:pt x="441" y="103"/>
                  <a:pt x="441" y="181"/>
                </a:cubicBezTo>
                <a:cubicBezTo>
                  <a:pt x="440" y="261"/>
                  <a:pt x="419" y="320"/>
                  <a:pt x="379" y="357"/>
                </a:cubicBezTo>
                <a:cubicBezTo>
                  <a:pt x="348" y="386"/>
                  <a:pt x="313" y="394"/>
                  <a:pt x="292" y="396"/>
                </a:cubicBezTo>
                <a:cubicBezTo>
                  <a:pt x="291" y="396"/>
                  <a:pt x="291" y="396"/>
                  <a:pt x="290" y="396"/>
                </a:cubicBezTo>
                <a:cubicBezTo>
                  <a:pt x="285" y="396"/>
                  <a:pt x="282" y="396"/>
                  <a:pt x="279" y="39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0" name="Freeform 167"/>
          <p:cNvSpPr>
            <a:spLocks/>
          </p:cNvSpPr>
          <p:nvPr userDrawn="1"/>
        </p:nvSpPr>
        <p:spPr bwMode="auto">
          <a:xfrm>
            <a:off x="4728805" y="872433"/>
            <a:ext cx="367999" cy="388144"/>
          </a:xfrm>
          <a:custGeom>
            <a:avLst/>
            <a:gdLst/>
            <a:ahLst/>
            <a:cxnLst>
              <a:cxn ang="0">
                <a:pos x="114" y="13"/>
              </a:cxn>
              <a:cxn ang="0">
                <a:pos x="128" y="71"/>
              </a:cxn>
              <a:cxn ang="0">
                <a:pos x="150" y="112"/>
              </a:cxn>
              <a:cxn ang="0">
                <a:pos x="153" y="123"/>
              </a:cxn>
              <a:cxn ang="0">
                <a:pos x="160" y="137"/>
              </a:cxn>
              <a:cxn ang="0">
                <a:pos x="141" y="181"/>
              </a:cxn>
              <a:cxn ang="0">
                <a:pos x="145" y="193"/>
              </a:cxn>
              <a:cxn ang="0">
                <a:pos x="146" y="217"/>
              </a:cxn>
              <a:cxn ang="0">
                <a:pos x="118" y="299"/>
              </a:cxn>
              <a:cxn ang="0">
                <a:pos x="129" y="314"/>
              </a:cxn>
              <a:cxn ang="0">
                <a:pos x="157" y="244"/>
              </a:cxn>
              <a:cxn ang="0">
                <a:pos x="220" y="236"/>
              </a:cxn>
              <a:cxn ang="0">
                <a:pos x="216" y="221"/>
              </a:cxn>
              <a:cxn ang="0">
                <a:pos x="171" y="163"/>
              </a:cxn>
              <a:cxn ang="0">
                <a:pos x="209" y="156"/>
              </a:cxn>
              <a:cxn ang="0">
                <a:pos x="206" y="141"/>
              </a:cxn>
              <a:cxn ang="0">
                <a:pos x="186" y="60"/>
              </a:cxn>
              <a:cxn ang="0">
                <a:pos x="183" y="49"/>
              </a:cxn>
              <a:cxn ang="0">
                <a:pos x="141" y="44"/>
              </a:cxn>
              <a:cxn ang="0">
                <a:pos x="244" y="26"/>
              </a:cxn>
              <a:cxn ang="0">
                <a:pos x="214" y="44"/>
              </a:cxn>
              <a:cxn ang="0">
                <a:pos x="201" y="57"/>
              </a:cxn>
              <a:cxn ang="0">
                <a:pos x="246" y="321"/>
              </a:cxn>
              <a:cxn ang="0">
                <a:pos x="0" y="334"/>
              </a:cxn>
              <a:cxn ang="0">
                <a:pos x="13" y="411"/>
              </a:cxn>
              <a:cxn ang="0">
                <a:pos x="145" y="445"/>
              </a:cxn>
              <a:cxn ang="0">
                <a:pos x="213" y="459"/>
              </a:cxn>
              <a:cxn ang="0">
                <a:pos x="254" y="423"/>
              </a:cxn>
              <a:cxn ang="0">
                <a:pos x="295" y="459"/>
              </a:cxn>
              <a:cxn ang="0">
                <a:pos x="337" y="423"/>
              </a:cxn>
              <a:cxn ang="0">
                <a:pos x="378" y="459"/>
              </a:cxn>
              <a:cxn ang="0">
                <a:pos x="432" y="397"/>
              </a:cxn>
              <a:cxn ang="0">
                <a:pos x="407" y="388"/>
              </a:cxn>
              <a:cxn ang="0">
                <a:pos x="349" y="388"/>
              </a:cxn>
              <a:cxn ang="0">
                <a:pos x="324" y="388"/>
              </a:cxn>
              <a:cxn ang="0">
                <a:pos x="267" y="387"/>
              </a:cxn>
              <a:cxn ang="0">
                <a:pos x="242" y="387"/>
              </a:cxn>
              <a:cxn ang="0">
                <a:pos x="172" y="432"/>
              </a:cxn>
              <a:cxn ang="0">
                <a:pos x="158" y="384"/>
              </a:cxn>
              <a:cxn ang="0">
                <a:pos x="26" y="347"/>
              </a:cxn>
              <a:cxn ang="0">
                <a:pos x="272" y="343"/>
              </a:cxn>
              <a:cxn ang="0">
                <a:pos x="275" y="332"/>
              </a:cxn>
              <a:cxn ang="0">
                <a:pos x="258" y="71"/>
              </a:cxn>
              <a:cxn ang="0">
                <a:pos x="271" y="13"/>
              </a:cxn>
              <a:cxn ang="0">
                <a:pos x="128" y="0"/>
              </a:cxn>
            </a:cxnLst>
            <a:rect l="0" t="0" r="r" b="b"/>
            <a:pathLst>
              <a:path w="435" h="459">
                <a:moveTo>
                  <a:pt x="128" y="0"/>
                </a:moveTo>
                <a:cubicBezTo>
                  <a:pt x="120" y="0"/>
                  <a:pt x="114" y="6"/>
                  <a:pt x="114" y="13"/>
                </a:cubicBezTo>
                <a:cubicBezTo>
                  <a:pt x="114" y="57"/>
                  <a:pt x="114" y="57"/>
                  <a:pt x="114" y="57"/>
                </a:cubicBezTo>
                <a:cubicBezTo>
                  <a:pt x="114" y="65"/>
                  <a:pt x="120" y="71"/>
                  <a:pt x="128" y="71"/>
                </a:cubicBezTo>
                <a:cubicBezTo>
                  <a:pt x="128" y="71"/>
                  <a:pt x="144" y="71"/>
                  <a:pt x="157" y="71"/>
                </a:cubicBezTo>
                <a:cubicBezTo>
                  <a:pt x="154" y="87"/>
                  <a:pt x="150" y="112"/>
                  <a:pt x="150" y="112"/>
                </a:cubicBezTo>
                <a:cubicBezTo>
                  <a:pt x="150" y="113"/>
                  <a:pt x="150" y="113"/>
                  <a:pt x="150" y="114"/>
                </a:cubicBezTo>
                <a:cubicBezTo>
                  <a:pt x="150" y="117"/>
                  <a:pt x="151" y="121"/>
                  <a:pt x="153" y="123"/>
                </a:cubicBezTo>
                <a:cubicBezTo>
                  <a:pt x="153" y="123"/>
                  <a:pt x="160" y="130"/>
                  <a:pt x="166" y="137"/>
                </a:cubicBezTo>
                <a:cubicBezTo>
                  <a:pt x="164" y="137"/>
                  <a:pt x="160" y="137"/>
                  <a:pt x="160" y="137"/>
                </a:cubicBezTo>
                <a:cubicBezTo>
                  <a:pt x="153" y="137"/>
                  <a:pt x="147" y="141"/>
                  <a:pt x="146" y="148"/>
                </a:cubicBezTo>
                <a:cubicBezTo>
                  <a:pt x="141" y="181"/>
                  <a:pt x="141" y="181"/>
                  <a:pt x="141" y="181"/>
                </a:cubicBezTo>
                <a:cubicBezTo>
                  <a:pt x="141" y="181"/>
                  <a:pt x="141" y="182"/>
                  <a:pt x="141" y="183"/>
                </a:cubicBezTo>
                <a:cubicBezTo>
                  <a:pt x="141" y="186"/>
                  <a:pt x="142" y="190"/>
                  <a:pt x="145" y="193"/>
                </a:cubicBezTo>
                <a:cubicBezTo>
                  <a:pt x="145" y="193"/>
                  <a:pt x="159" y="205"/>
                  <a:pt x="173" y="217"/>
                </a:cubicBezTo>
                <a:cubicBezTo>
                  <a:pt x="160" y="217"/>
                  <a:pt x="146" y="217"/>
                  <a:pt x="146" y="217"/>
                </a:cubicBezTo>
                <a:cubicBezTo>
                  <a:pt x="140" y="217"/>
                  <a:pt x="134" y="222"/>
                  <a:pt x="133" y="228"/>
                </a:cubicBezTo>
                <a:cubicBezTo>
                  <a:pt x="118" y="299"/>
                  <a:pt x="118" y="299"/>
                  <a:pt x="118" y="299"/>
                </a:cubicBezTo>
                <a:cubicBezTo>
                  <a:pt x="118" y="300"/>
                  <a:pt x="118" y="300"/>
                  <a:pt x="118" y="301"/>
                </a:cubicBezTo>
                <a:cubicBezTo>
                  <a:pt x="118" y="308"/>
                  <a:pt x="122" y="313"/>
                  <a:pt x="129" y="314"/>
                </a:cubicBezTo>
                <a:cubicBezTo>
                  <a:pt x="136" y="316"/>
                  <a:pt x="143" y="311"/>
                  <a:pt x="145" y="304"/>
                </a:cubicBezTo>
                <a:cubicBezTo>
                  <a:pt x="145" y="304"/>
                  <a:pt x="154" y="260"/>
                  <a:pt x="157" y="244"/>
                </a:cubicBezTo>
                <a:cubicBezTo>
                  <a:pt x="171" y="244"/>
                  <a:pt x="207" y="244"/>
                  <a:pt x="207" y="244"/>
                </a:cubicBezTo>
                <a:cubicBezTo>
                  <a:pt x="213" y="244"/>
                  <a:pt x="218" y="241"/>
                  <a:pt x="220" y="236"/>
                </a:cubicBezTo>
                <a:cubicBezTo>
                  <a:pt x="221" y="234"/>
                  <a:pt x="221" y="232"/>
                  <a:pt x="221" y="231"/>
                </a:cubicBezTo>
                <a:cubicBezTo>
                  <a:pt x="221" y="227"/>
                  <a:pt x="219" y="224"/>
                  <a:pt x="216" y="221"/>
                </a:cubicBezTo>
                <a:cubicBezTo>
                  <a:pt x="216" y="221"/>
                  <a:pt x="177" y="186"/>
                  <a:pt x="168" y="178"/>
                </a:cubicBezTo>
                <a:cubicBezTo>
                  <a:pt x="169" y="173"/>
                  <a:pt x="170" y="170"/>
                  <a:pt x="171" y="163"/>
                </a:cubicBezTo>
                <a:cubicBezTo>
                  <a:pt x="182" y="163"/>
                  <a:pt x="197" y="163"/>
                  <a:pt x="197" y="163"/>
                </a:cubicBezTo>
                <a:cubicBezTo>
                  <a:pt x="202" y="164"/>
                  <a:pt x="207" y="160"/>
                  <a:pt x="209" y="156"/>
                </a:cubicBezTo>
                <a:cubicBezTo>
                  <a:pt x="210" y="154"/>
                  <a:pt x="210" y="152"/>
                  <a:pt x="210" y="150"/>
                </a:cubicBezTo>
                <a:cubicBezTo>
                  <a:pt x="210" y="147"/>
                  <a:pt x="209" y="144"/>
                  <a:pt x="206" y="141"/>
                </a:cubicBezTo>
                <a:cubicBezTo>
                  <a:pt x="206" y="141"/>
                  <a:pt x="184" y="117"/>
                  <a:pt x="177" y="110"/>
                </a:cubicBezTo>
                <a:cubicBezTo>
                  <a:pt x="179" y="100"/>
                  <a:pt x="186" y="60"/>
                  <a:pt x="186" y="60"/>
                </a:cubicBezTo>
                <a:cubicBezTo>
                  <a:pt x="186" y="59"/>
                  <a:pt x="186" y="58"/>
                  <a:pt x="186" y="57"/>
                </a:cubicBezTo>
                <a:cubicBezTo>
                  <a:pt x="186" y="54"/>
                  <a:pt x="185" y="51"/>
                  <a:pt x="183" y="49"/>
                </a:cubicBezTo>
                <a:cubicBezTo>
                  <a:pt x="181" y="46"/>
                  <a:pt x="177" y="44"/>
                  <a:pt x="173" y="44"/>
                </a:cubicBezTo>
                <a:cubicBezTo>
                  <a:pt x="173" y="44"/>
                  <a:pt x="154" y="44"/>
                  <a:pt x="141" y="44"/>
                </a:cubicBezTo>
                <a:cubicBezTo>
                  <a:pt x="141" y="37"/>
                  <a:pt x="141" y="34"/>
                  <a:pt x="141" y="26"/>
                </a:cubicBezTo>
                <a:cubicBezTo>
                  <a:pt x="160" y="26"/>
                  <a:pt x="225" y="26"/>
                  <a:pt x="244" y="26"/>
                </a:cubicBezTo>
                <a:cubicBezTo>
                  <a:pt x="244" y="34"/>
                  <a:pt x="244" y="37"/>
                  <a:pt x="244" y="44"/>
                </a:cubicBezTo>
                <a:cubicBezTo>
                  <a:pt x="232" y="44"/>
                  <a:pt x="214" y="44"/>
                  <a:pt x="214" y="44"/>
                </a:cubicBezTo>
                <a:cubicBezTo>
                  <a:pt x="210" y="44"/>
                  <a:pt x="207" y="46"/>
                  <a:pt x="204" y="49"/>
                </a:cubicBezTo>
                <a:cubicBezTo>
                  <a:pt x="202" y="51"/>
                  <a:pt x="201" y="54"/>
                  <a:pt x="201" y="57"/>
                </a:cubicBezTo>
                <a:cubicBezTo>
                  <a:pt x="201" y="58"/>
                  <a:pt x="201" y="59"/>
                  <a:pt x="201" y="60"/>
                </a:cubicBezTo>
                <a:cubicBezTo>
                  <a:pt x="201" y="60"/>
                  <a:pt x="241" y="293"/>
                  <a:pt x="246" y="321"/>
                </a:cubicBezTo>
                <a:cubicBezTo>
                  <a:pt x="218" y="321"/>
                  <a:pt x="13" y="321"/>
                  <a:pt x="13" y="321"/>
                </a:cubicBezTo>
                <a:cubicBezTo>
                  <a:pt x="6" y="321"/>
                  <a:pt x="0" y="327"/>
                  <a:pt x="0" y="334"/>
                </a:cubicBezTo>
                <a:cubicBezTo>
                  <a:pt x="0" y="397"/>
                  <a:pt x="0" y="397"/>
                  <a:pt x="0" y="397"/>
                </a:cubicBezTo>
                <a:cubicBezTo>
                  <a:pt x="0" y="405"/>
                  <a:pt x="6" y="411"/>
                  <a:pt x="13" y="411"/>
                </a:cubicBezTo>
                <a:cubicBezTo>
                  <a:pt x="13" y="411"/>
                  <a:pt x="123" y="411"/>
                  <a:pt x="145" y="411"/>
                </a:cubicBezTo>
                <a:cubicBezTo>
                  <a:pt x="145" y="425"/>
                  <a:pt x="145" y="445"/>
                  <a:pt x="145" y="445"/>
                </a:cubicBezTo>
                <a:cubicBezTo>
                  <a:pt x="145" y="453"/>
                  <a:pt x="151" y="459"/>
                  <a:pt x="158" y="459"/>
                </a:cubicBezTo>
                <a:cubicBezTo>
                  <a:pt x="213" y="459"/>
                  <a:pt x="213" y="459"/>
                  <a:pt x="213" y="459"/>
                </a:cubicBezTo>
                <a:cubicBezTo>
                  <a:pt x="226" y="459"/>
                  <a:pt x="240" y="448"/>
                  <a:pt x="253" y="426"/>
                </a:cubicBezTo>
                <a:cubicBezTo>
                  <a:pt x="253" y="425"/>
                  <a:pt x="254" y="424"/>
                  <a:pt x="254" y="423"/>
                </a:cubicBezTo>
                <a:cubicBezTo>
                  <a:pt x="254" y="424"/>
                  <a:pt x="255" y="425"/>
                  <a:pt x="255" y="426"/>
                </a:cubicBezTo>
                <a:cubicBezTo>
                  <a:pt x="268" y="448"/>
                  <a:pt x="281" y="459"/>
                  <a:pt x="295" y="459"/>
                </a:cubicBezTo>
                <a:cubicBezTo>
                  <a:pt x="309" y="459"/>
                  <a:pt x="322" y="448"/>
                  <a:pt x="335" y="426"/>
                </a:cubicBezTo>
                <a:cubicBezTo>
                  <a:pt x="336" y="425"/>
                  <a:pt x="336" y="424"/>
                  <a:pt x="337" y="423"/>
                </a:cubicBezTo>
                <a:cubicBezTo>
                  <a:pt x="337" y="424"/>
                  <a:pt x="338" y="425"/>
                  <a:pt x="338" y="426"/>
                </a:cubicBezTo>
                <a:cubicBezTo>
                  <a:pt x="351" y="448"/>
                  <a:pt x="364" y="459"/>
                  <a:pt x="378" y="459"/>
                </a:cubicBezTo>
                <a:cubicBezTo>
                  <a:pt x="392" y="459"/>
                  <a:pt x="405" y="448"/>
                  <a:pt x="418" y="426"/>
                </a:cubicBezTo>
                <a:cubicBezTo>
                  <a:pt x="426" y="412"/>
                  <a:pt x="432" y="398"/>
                  <a:pt x="432" y="397"/>
                </a:cubicBezTo>
                <a:cubicBezTo>
                  <a:pt x="435" y="391"/>
                  <a:pt x="431" y="383"/>
                  <a:pt x="424" y="380"/>
                </a:cubicBezTo>
                <a:cubicBezTo>
                  <a:pt x="418" y="378"/>
                  <a:pt x="410" y="381"/>
                  <a:pt x="407" y="388"/>
                </a:cubicBezTo>
                <a:cubicBezTo>
                  <a:pt x="398" y="411"/>
                  <a:pt x="384" y="431"/>
                  <a:pt x="378" y="432"/>
                </a:cubicBezTo>
                <a:cubicBezTo>
                  <a:pt x="372" y="431"/>
                  <a:pt x="358" y="411"/>
                  <a:pt x="349" y="388"/>
                </a:cubicBezTo>
                <a:cubicBezTo>
                  <a:pt x="347" y="383"/>
                  <a:pt x="342" y="379"/>
                  <a:pt x="337" y="379"/>
                </a:cubicBezTo>
                <a:cubicBezTo>
                  <a:pt x="331" y="379"/>
                  <a:pt x="326" y="382"/>
                  <a:pt x="324" y="388"/>
                </a:cubicBezTo>
                <a:cubicBezTo>
                  <a:pt x="315" y="411"/>
                  <a:pt x="301" y="431"/>
                  <a:pt x="295" y="432"/>
                </a:cubicBezTo>
                <a:cubicBezTo>
                  <a:pt x="290" y="431"/>
                  <a:pt x="276" y="411"/>
                  <a:pt x="267" y="387"/>
                </a:cubicBezTo>
                <a:cubicBezTo>
                  <a:pt x="265" y="382"/>
                  <a:pt x="260" y="379"/>
                  <a:pt x="254" y="379"/>
                </a:cubicBezTo>
                <a:cubicBezTo>
                  <a:pt x="249" y="379"/>
                  <a:pt x="244" y="382"/>
                  <a:pt x="242" y="387"/>
                </a:cubicBezTo>
                <a:cubicBezTo>
                  <a:pt x="232" y="411"/>
                  <a:pt x="218" y="431"/>
                  <a:pt x="213" y="432"/>
                </a:cubicBezTo>
                <a:cubicBezTo>
                  <a:pt x="213" y="432"/>
                  <a:pt x="187" y="432"/>
                  <a:pt x="172" y="432"/>
                </a:cubicBezTo>
                <a:cubicBezTo>
                  <a:pt x="172" y="418"/>
                  <a:pt x="172" y="397"/>
                  <a:pt x="172" y="397"/>
                </a:cubicBezTo>
                <a:cubicBezTo>
                  <a:pt x="172" y="390"/>
                  <a:pt x="166" y="384"/>
                  <a:pt x="158" y="384"/>
                </a:cubicBezTo>
                <a:cubicBezTo>
                  <a:pt x="158" y="384"/>
                  <a:pt x="48" y="384"/>
                  <a:pt x="26" y="384"/>
                </a:cubicBezTo>
                <a:cubicBezTo>
                  <a:pt x="26" y="372"/>
                  <a:pt x="26" y="359"/>
                  <a:pt x="26" y="347"/>
                </a:cubicBezTo>
                <a:cubicBezTo>
                  <a:pt x="50" y="347"/>
                  <a:pt x="261" y="347"/>
                  <a:pt x="261" y="347"/>
                </a:cubicBezTo>
                <a:cubicBezTo>
                  <a:pt x="265" y="347"/>
                  <a:pt x="269" y="346"/>
                  <a:pt x="272" y="343"/>
                </a:cubicBezTo>
                <a:cubicBezTo>
                  <a:pt x="274" y="340"/>
                  <a:pt x="275" y="337"/>
                  <a:pt x="275" y="334"/>
                </a:cubicBezTo>
                <a:cubicBezTo>
                  <a:pt x="275" y="333"/>
                  <a:pt x="275" y="332"/>
                  <a:pt x="275" y="332"/>
                </a:cubicBezTo>
                <a:cubicBezTo>
                  <a:pt x="275" y="332"/>
                  <a:pt x="235" y="99"/>
                  <a:pt x="230" y="71"/>
                </a:cubicBezTo>
                <a:cubicBezTo>
                  <a:pt x="243" y="71"/>
                  <a:pt x="258" y="71"/>
                  <a:pt x="258" y="71"/>
                </a:cubicBezTo>
                <a:cubicBezTo>
                  <a:pt x="265" y="71"/>
                  <a:pt x="271" y="65"/>
                  <a:pt x="271" y="57"/>
                </a:cubicBezTo>
                <a:cubicBezTo>
                  <a:pt x="271" y="13"/>
                  <a:pt x="271" y="13"/>
                  <a:pt x="271" y="13"/>
                </a:cubicBezTo>
                <a:cubicBezTo>
                  <a:pt x="271" y="6"/>
                  <a:pt x="265" y="0"/>
                  <a:pt x="258" y="0"/>
                </a:cubicBezTo>
                <a:lnTo>
                  <a:pt x="128" y="0"/>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1" name="Freeform 385"/>
          <p:cNvSpPr>
            <a:spLocks noEditPoints="1"/>
          </p:cNvSpPr>
          <p:nvPr userDrawn="1"/>
        </p:nvSpPr>
        <p:spPr bwMode="auto">
          <a:xfrm>
            <a:off x="4720469" y="3320272"/>
            <a:ext cx="384672" cy="351234"/>
          </a:xfrm>
          <a:custGeom>
            <a:avLst/>
            <a:gdLst/>
            <a:ahLst/>
            <a:cxnLst>
              <a:cxn ang="0">
                <a:pos x="67" y="59"/>
              </a:cxn>
              <a:cxn ang="0">
                <a:pos x="67" y="61"/>
              </a:cxn>
              <a:cxn ang="0">
                <a:pos x="79" y="147"/>
              </a:cxn>
              <a:cxn ang="0">
                <a:pos x="23" y="157"/>
              </a:cxn>
              <a:cxn ang="0">
                <a:pos x="0" y="192"/>
              </a:cxn>
              <a:cxn ang="0">
                <a:pos x="0" y="202"/>
              </a:cxn>
              <a:cxn ang="0">
                <a:pos x="53" y="280"/>
              </a:cxn>
              <a:cxn ang="0">
                <a:pos x="103" y="308"/>
              </a:cxn>
              <a:cxn ang="0">
                <a:pos x="108" y="347"/>
              </a:cxn>
              <a:cxn ang="0">
                <a:pos x="157" y="398"/>
              </a:cxn>
              <a:cxn ang="0">
                <a:pos x="261" y="415"/>
              </a:cxn>
              <a:cxn ang="0">
                <a:pos x="365" y="398"/>
              </a:cxn>
              <a:cxn ang="0">
                <a:pos x="415" y="347"/>
              </a:cxn>
              <a:cxn ang="0">
                <a:pos x="455" y="64"/>
              </a:cxn>
              <a:cxn ang="0">
                <a:pos x="455" y="62"/>
              </a:cxn>
              <a:cxn ang="0">
                <a:pos x="449" y="51"/>
              </a:cxn>
              <a:cxn ang="0">
                <a:pos x="434" y="51"/>
              </a:cxn>
              <a:cxn ang="0">
                <a:pos x="261" y="92"/>
              </a:cxn>
              <a:cxn ang="0">
                <a:pos x="141" y="80"/>
              </a:cxn>
              <a:cxn ang="0">
                <a:pos x="93" y="59"/>
              </a:cxn>
              <a:cxn ang="0">
                <a:pos x="93" y="59"/>
              </a:cxn>
              <a:cxn ang="0">
                <a:pos x="141" y="39"/>
              </a:cxn>
              <a:cxn ang="0">
                <a:pos x="261" y="27"/>
              </a:cxn>
              <a:cxn ang="0">
                <a:pos x="367" y="36"/>
              </a:cxn>
              <a:cxn ang="0">
                <a:pos x="383" y="25"/>
              </a:cxn>
              <a:cxn ang="0">
                <a:pos x="372" y="9"/>
              </a:cxn>
              <a:cxn ang="0">
                <a:pos x="261" y="0"/>
              </a:cxn>
              <a:cxn ang="0">
                <a:pos x="67" y="59"/>
              </a:cxn>
              <a:cxn ang="0">
                <a:pos x="425" y="86"/>
              </a:cxn>
              <a:cxn ang="0">
                <a:pos x="388" y="344"/>
              </a:cxn>
              <a:cxn ang="0">
                <a:pos x="388" y="346"/>
              </a:cxn>
              <a:cxn ang="0">
                <a:pos x="261" y="388"/>
              </a:cxn>
              <a:cxn ang="0">
                <a:pos x="134" y="346"/>
              </a:cxn>
              <a:cxn ang="0">
                <a:pos x="134" y="344"/>
              </a:cxn>
              <a:cxn ang="0">
                <a:pos x="128" y="297"/>
              </a:cxn>
              <a:cxn ang="0">
                <a:pos x="120" y="287"/>
              </a:cxn>
              <a:cxn ang="0">
                <a:pos x="27" y="196"/>
              </a:cxn>
              <a:cxn ang="0">
                <a:pos x="37" y="179"/>
              </a:cxn>
              <a:cxn ang="0">
                <a:pos x="91" y="176"/>
              </a:cxn>
              <a:cxn ang="0">
                <a:pos x="104" y="173"/>
              </a:cxn>
              <a:cxn ang="0">
                <a:pos x="108" y="163"/>
              </a:cxn>
              <a:cxn ang="0">
                <a:pos x="108" y="161"/>
              </a:cxn>
              <a:cxn ang="0">
                <a:pos x="98" y="94"/>
              </a:cxn>
              <a:cxn ang="0">
                <a:pos x="261" y="119"/>
              </a:cxn>
              <a:cxn ang="0">
                <a:pos x="425" y="86"/>
              </a:cxn>
            </a:cxnLst>
            <a:rect l="0" t="0" r="r" b="b"/>
            <a:pathLst>
              <a:path w="455" h="415">
                <a:moveTo>
                  <a:pt x="67" y="59"/>
                </a:moveTo>
                <a:cubicBezTo>
                  <a:pt x="67" y="60"/>
                  <a:pt x="67" y="61"/>
                  <a:pt x="67" y="61"/>
                </a:cubicBezTo>
                <a:cubicBezTo>
                  <a:pt x="67" y="61"/>
                  <a:pt x="75" y="122"/>
                  <a:pt x="79" y="147"/>
                </a:cubicBezTo>
                <a:cubicBezTo>
                  <a:pt x="63" y="145"/>
                  <a:pt x="40" y="146"/>
                  <a:pt x="23" y="157"/>
                </a:cubicBezTo>
                <a:cubicBezTo>
                  <a:pt x="11" y="165"/>
                  <a:pt x="3" y="177"/>
                  <a:pt x="0" y="192"/>
                </a:cubicBezTo>
                <a:cubicBezTo>
                  <a:pt x="0" y="195"/>
                  <a:pt x="0" y="198"/>
                  <a:pt x="0" y="202"/>
                </a:cubicBezTo>
                <a:cubicBezTo>
                  <a:pt x="0" y="222"/>
                  <a:pt x="10" y="250"/>
                  <a:pt x="53" y="280"/>
                </a:cubicBezTo>
                <a:cubicBezTo>
                  <a:pt x="72" y="294"/>
                  <a:pt x="92" y="304"/>
                  <a:pt x="103" y="308"/>
                </a:cubicBezTo>
                <a:cubicBezTo>
                  <a:pt x="104" y="319"/>
                  <a:pt x="108" y="347"/>
                  <a:pt x="108" y="347"/>
                </a:cubicBezTo>
                <a:cubicBezTo>
                  <a:pt x="108" y="367"/>
                  <a:pt x="126" y="385"/>
                  <a:pt x="157" y="398"/>
                </a:cubicBezTo>
                <a:cubicBezTo>
                  <a:pt x="185" y="409"/>
                  <a:pt x="222" y="415"/>
                  <a:pt x="261" y="415"/>
                </a:cubicBezTo>
                <a:cubicBezTo>
                  <a:pt x="300" y="415"/>
                  <a:pt x="337" y="409"/>
                  <a:pt x="365" y="398"/>
                </a:cubicBezTo>
                <a:cubicBezTo>
                  <a:pt x="396" y="385"/>
                  <a:pt x="414" y="367"/>
                  <a:pt x="415" y="347"/>
                </a:cubicBezTo>
                <a:cubicBezTo>
                  <a:pt x="415" y="347"/>
                  <a:pt x="455" y="64"/>
                  <a:pt x="455" y="64"/>
                </a:cubicBezTo>
                <a:cubicBezTo>
                  <a:pt x="455" y="64"/>
                  <a:pt x="455" y="63"/>
                  <a:pt x="455" y="62"/>
                </a:cubicBezTo>
                <a:cubicBezTo>
                  <a:pt x="455" y="58"/>
                  <a:pt x="453" y="53"/>
                  <a:pt x="449" y="51"/>
                </a:cubicBezTo>
                <a:cubicBezTo>
                  <a:pt x="445" y="48"/>
                  <a:pt x="439" y="48"/>
                  <a:pt x="434" y="51"/>
                </a:cubicBezTo>
                <a:cubicBezTo>
                  <a:pt x="434" y="52"/>
                  <a:pt x="372" y="92"/>
                  <a:pt x="261" y="92"/>
                </a:cubicBezTo>
                <a:cubicBezTo>
                  <a:pt x="216" y="92"/>
                  <a:pt x="173" y="88"/>
                  <a:pt x="141" y="80"/>
                </a:cubicBezTo>
                <a:cubicBezTo>
                  <a:pt x="106" y="72"/>
                  <a:pt x="95" y="62"/>
                  <a:pt x="93" y="59"/>
                </a:cubicBezTo>
                <a:cubicBezTo>
                  <a:pt x="93" y="59"/>
                  <a:pt x="93" y="59"/>
                  <a:pt x="93" y="59"/>
                </a:cubicBezTo>
                <a:cubicBezTo>
                  <a:pt x="95" y="56"/>
                  <a:pt x="106" y="47"/>
                  <a:pt x="141" y="39"/>
                </a:cubicBezTo>
                <a:cubicBezTo>
                  <a:pt x="173" y="31"/>
                  <a:pt x="216" y="27"/>
                  <a:pt x="261" y="27"/>
                </a:cubicBezTo>
                <a:cubicBezTo>
                  <a:pt x="300" y="27"/>
                  <a:pt x="337" y="30"/>
                  <a:pt x="367" y="36"/>
                </a:cubicBezTo>
                <a:cubicBezTo>
                  <a:pt x="375" y="37"/>
                  <a:pt x="382" y="32"/>
                  <a:pt x="383" y="25"/>
                </a:cubicBezTo>
                <a:cubicBezTo>
                  <a:pt x="384" y="18"/>
                  <a:pt x="380" y="11"/>
                  <a:pt x="372" y="9"/>
                </a:cubicBezTo>
                <a:cubicBezTo>
                  <a:pt x="340" y="3"/>
                  <a:pt x="302" y="0"/>
                  <a:pt x="261" y="0"/>
                </a:cubicBezTo>
                <a:cubicBezTo>
                  <a:pt x="189" y="0"/>
                  <a:pt x="67" y="12"/>
                  <a:pt x="67" y="59"/>
                </a:cubicBezTo>
                <a:close/>
                <a:moveTo>
                  <a:pt x="425" y="86"/>
                </a:moveTo>
                <a:cubicBezTo>
                  <a:pt x="419" y="129"/>
                  <a:pt x="388" y="344"/>
                  <a:pt x="388" y="344"/>
                </a:cubicBezTo>
                <a:cubicBezTo>
                  <a:pt x="388" y="345"/>
                  <a:pt x="388" y="345"/>
                  <a:pt x="388" y="346"/>
                </a:cubicBezTo>
                <a:cubicBezTo>
                  <a:pt x="388" y="363"/>
                  <a:pt x="339" y="388"/>
                  <a:pt x="261" y="388"/>
                </a:cubicBezTo>
                <a:cubicBezTo>
                  <a:pt x="184" y="388"/>
                  <a:pt x="134" y="363"/>
                  <a:pt x="134" y="346"/>
                </a:cubicBezTo>
                <a:cubicBezTo>
                  <a:pt x="134" y="345"/>
                  <a:pt x="134" y="345"/>
                  <a:pt x="134" y="344"/>
                </a:cubicBezTo>
                <a:cubicBezTo>
                  <a:pt x="128" y="297"/>
                  <a:pt x="128" y="297"/>
                  <a:pt x="128" y="297"/>
                </a:cubicBezTo>
                <a:cubicBezTo>
                  <a:pt x="128" y="293"/>
                  <a:pt x="125" y="289"/>
                  <a:pt x="120" y="287"/>
                </a:cubicBezTo>
                <a:cubicBezTo>
                  <a:pt x="92" y="275"/>
                  <a:pt x="20" y="236"/>
                  <a:pt x="27" y="196"/>
                </a:cubicBezTo>
                <a:cubicBezTo>
                  <a:pt x="28" y="189"/>
                  <a:pt x="31" y="183"/>
                  <a:pt x="37" y="179"/>
                </a:cubicBezTo>
                <a:cubicBezTo>
                  <a:pt x="53" y="169"/>
                  <a:pt x="82" y="173"/>
                  <a:pt x="91" y="176"/>
                </a:cubicBezTo>
                <a:cubicBezTo>
                  <a:pt x="96" y="177"/>
                  <a:pt x="100" y="175"/>
                  <a:pt x="104" y="173"/>
                </a:cubicBezTo>
                <a:cubicBezTo>
                  <a:pt x="106" y="170"/>
                  <a:pt x="108" y="166"/>
                  <a:pt x="108" y="163"/>
                </a:cubicBezTo>
                <a:cubicBezTo>
                  <a:pt x="108" y="162"/>
                  <a:pt x="108" y="161"/>
                  <a:pt x="108" y="161"/>
                </a:cubicBezTo>
                <a:cubicBezTo>
                  <a:pt x="108" y="161"/>
                  <a:pt x="103" y="124"/>
                  <a:pt x="98" y="94"/>
                </a:cubicBezTo>
                <a:cubicBezTo>
                  <a:pt x="140" y="113"/>
                  <a:pt x="213" y="119"/>
                  <a:pt x="261" y="119"/>
                </a:cubicBezTo>
                <a:cubicBezTo>
                  <a:pt x="340" y="119"/>
                  <a:pt x="395" y="100"/>
                  <a:pt x="425" y="8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2" name="Freeform 437"/>
          <p:cNvSpPr>
            <a:spLocks/>
          </p:cNvSpPr>
          <p:nvPr userDrawn="1"/>
        </p:nvSpPr>
        <p:spPr bwMode="auto">
          <a:xfrm>
            <a:off x="4757388" y="1793840"/>
            <a:ext cx="310834" cy="375047"/>
          </a:xfrm>
          <a:custGeom>
            <a:avLst/>
            <a:gdLst/>
            <a:ahLst/>
            <a:cxnLst>
              <a:cxn ang="0">
                <a:pos x="0" y="183"/>
              </a:cxn>
              <a:cxn ang="0">
                <a:pos x="0" y="183"/>
              </a:cxn>
              <a:cxn ang="0">
                <a:pos x="0" y="199"/>
              </a:cxn>
              <a:cxn ang="0">
                <a:pos x="14" y="212"/>
              </a:cxn>
              <a:cxn ang="0">
                <a:pos x="27" y="199"/>
              </a:cxn>
              <a:cxn ang="0">
                <a:pos x="55" y="170"/>
              </a:cxn>
              <a:cxn ang="0">
                <a:pos x="84" y="199"/>
              </a:cxn>
              <a:cxn ang="0">
                <a:pos x="97" y="212"/>
              </a:cxn>
              <a:cxn ang="0">
                <a:pos x="110" y="199"/>
              </a:cxn>
              <a:cxn ang="0">
                <a:pos x="55" y="144"/>
              </a:cxn>
              <a:cxn ang="0">
                <a:pos x="30" y="150"/>
              </a:cxn>
              <a:cxn ang="0">
                <a:pos x="183" y="26"/>
              </a:cxn>
              <a:cxn ang="0">
                <a:pos x="335" y="149"/>
              </a:cxn>
              <a:cxn ang="0">
                <a:pos x="312" y="144"/>
              </a:cxn>
              <a:cxn ang="0">
                <a:pos x="271" y="163"/>
              </a:cxn>
              <a:cxn ang="0">
                <a:pos x="229" y="144"/>
              </a:cxn>
              <a:cxn ang="0">
                <a:pos x="174" y="199"/>
              </a:cxn>
              <a:cxn ang="0">
                <a:pos x="174" y="388"/>
              </a:cxn>
              <a:cxn ang="0">
                <a:pos x="146" y="416"/>
              </a:cxn>
              <a:cxn ang="0">
                <a:pos x="132" y="430"/>
              </a:cxn>
              <a:cxn ang="0">
                <a:pos x="146" y="443"/>
              </a:cxn>
              <a:cxn ang="0">
                <a:pos x="201" y="388"/>
              </a:cxn>
              <a:cxn ang="0">
                <a:pos x="201" y="199"/>
              </a:cxn>
              <a:cxn ang="0">
                <a:pos x="229" y="170"/>
              </a:cxn>
              <a:cxn ang="0">
                <a:pos x="257" y="199"/>
              </a:cxn>
              <a:cxn ang="0">
                <a:pos x="271" y="212"/>
              </a:cxn>
              <a:cxn ang="0">
                <a:pos x="284" y="199"/>
              </a:cxn>
              <a:cxn ang="0">
                <a:pos x="312" y="170"/>
              </a:cxn>
              <a:cxn ang="0">
                <a:pos x="340" y="198"/>
              </a:cxn>
              <a:cxn ang="0">
                <a:pos x="340" y="199"/>
              </a:cxn>
              <a:cxn ang="0">
                <a:pos x="354" y="212"/>
              </a:cxn>
              <a:cxn ang="0">
                <a:pos x="367" y="199"/>
              </a:cxn>
              <a:cxn ang="0">
                <a:pos x="367" y="197"/>
              </a:cxn>
              <a:cxn ang="0">
                <a:pos x="367" y="198"/>
              </a:cxn>
              <a:cxn ang="0">
                <a:pos x="367" y="197"/>
              </a:cxn>
              <a:cxn ang="0">
                <a:pos x="367" y="192"/>
              </a:cxn>
              <a:cxn ang="0">
                <a:pos x="366" y="182"/>
              </a:cxn>
              <a:cxn ang="0">
                <a:pos x="183" y="0"/>
              </a:cxn>
              <a:cxn ang="0">
                <a:pos x="0" y="183"/>
              </a:cxn>
            </a:cxnLst>
            <a:rect l="0" t="0" r="r" b="b"/>
            <a:pathLst>
              <a:path w="367" h="443">
                <a:moveTo>
                  <a:pt x="0" y="183"/>
                </a:moveTo>
                <a:cubicBezTo>
                  <a:pt x="0" y="183"/>
                  <a:pt x="0" y="183"/>
                  <a:pt x="0" y="183"/>
                </a:cubicBezTo>
                <a:cubicBezTo>
                  <a:pt x="0" y="199"/>
                  <a:pt x="0" y="199"/>
                  <a:pt x="0" y="199"/>
                </a:cubicBezTo>
                <a:cubicBezTo>
                  <a:pt x="1" y="206"/>
                  <a:pt x="7" y="212"/>
                  <a:pt x="14" y="212"/>
                </a:cubicBezTo>
                <a:cubicBezTo>
                  <a:pt x="21" y="212"/>
                  <a:pt x="27" y="206"/>
                  <a:pt x="27" y="199"/>
                </a:cubicBezTo>
                <a:cubicBezTo>
                  <a:pt x="27" y="183"/>
                  <a:pt x="40" y="170"/>
                  <a:pt x="55" y="170"/>
                </a:cubicBezTo>
                <a:cubicBezTo>
                  <a:pt x="71" y="170"/>
                  <a:pt x="84" y="183"/>
                  <a:pt x="84" y="199"/>
                </a:cubicBezTo>
                <a:cubicBezTo>
                  <a:pt x="84" y="206"/>
                  <a:pt x="90" y="212"/>
                  <a:pt x="97" y="212"/>
                </a:cubicBezTo>
                <a:cubicBezTo>
                  <a:pt x="104" y="212"/>
                  <a:pt x="110" y="206"/>
                  <a:pt x="110" y="199"/>
                </a:cubicBezTo>
                <a:cubicBezTo>
                  <a:pt x="110" y="168"/>
                  <a:pt x="86" y="144"/>
                  <a:pt x="55" y="144"/>
                </a:cubicBezTo>
                <a:cubicBezTo>
                  <a:pt x="46" y="144"/>
                  <a:pt x="38" y="146"/>
                  <a:pt x="30" y="150"/>
                </a:cubicBezTo>
                <a:cubicBezTo>
                  <a:pt x="45" y="79"/>
                  <a:pt x="108" y="26"/>
                  <a:pt x="183" y="26"/>
                </a:cubicBezTo>
                <a:cubicBezTo>
                  <a:pt x="257" y="26"/>
                  <a:pt x="320" y="79"/>
                  <a:pt x="335" y="149"/>
                </a:cubicBezTo>
                <a:cubicBezTo>
                  <a:pt x="328" y="145"/>
                  <a:pt x="320" y="144"/>
                  <a:pt x="312" y="144"/>
                </a:cubicBezTo>
                <a:cubicBezTo>
                  <a:pt x="295" y="144"/>
                  <a:pt x="281" y="151"/>
                  <a:pt x="271" y="163"/>
                </a:cubicBezTo>
                <a:cubicBezTo>
                  <a:pt x="261" y="151"/>
                  <a:pt x="246" y="144"/>
                  <a:pt x="229" y="144"/>
                </a:cubicBezTo>
                <a:cubicBezTo>
                  <a:pt x="199" y="144"/>
                  <a:pt x="174" y="168"/>
                  <a:pt x="174" y="199"/>
                </a:cubicBezTo>
                <a:cubicBezTo>
                  <a:pt x="174" y="388"/>
                  <a:pt x="174" y="388"/>
                  <a:pt x="174" y="388"/>
                </a:cubicBezTo>
                <a:cubicBezTo>
                  <a:pt x="174" y="404"/>
                  <a:pt x="161" y="416"/>
                  <a:pt x="146" y="416"/>
                </a:cubicBezTo>
                <a:cubicBezTo>
                  <a:pt x="138" y="416"/>
                  <a:pt x="132" y="422"/>
                  <a:pt x="132" y="430"/>
                </a:cubicBezTo>
                <a:cubicBezTo>
                  <a:pt x="132" y="437"/>
                  <a:pt x="138" y="443"/>
                  <a:pt x="146" y="443"/>
                </a:cubicBezTo>
                <a:cubicBezTo>
                  <a:pt x="176" y="443"/>
                  <a:pt x="201" y="418"/>
                  <a:pt x="201" y="388"/>
                </a:cubicBezTo>
                <a:cubicBezTo>
                  <a:pt x="201" y="199"/>
                  <a:pt x="201" y="199"/>
                  <a:pt x="201" y="199"/>
                </a:cubicBezTo>
                <a:cubicBezTo>
                  <a:pt x="201" y="183"/>
                  <a:pt x="213" y="170"/>
                  <a:pt x="229" y="170"/>
                </a:cubicBezTo>
                <a:cubicBezTo>
                  <a:pt x="245" y="170"/>
                  <a:pt x="257" y="183"/>
                  <a:pt x="257" y="199"/>
                </a:cubicBezTo>
                <a:cubicBezTo>
                  <a:pt x="257" y="206"/>
                  <a:pt x="263" y="212"/>
                  <a:pt x="271" y="212"/>
                </a:cubicBezTo>
                <a:cubicBezTo>
                  <a:pt x="278" y="212"/>
                  <a:pt x="284" y="206"/>
                  <a:pt x="284" y="199"/>
                </a:cubicBezTo>
                <a:cubicBezTo>
                  <a:pt x="284" y="183"/>
                  <a:pt x="296" y="170"/>
                  <a:pt x="312" y="170"/>
                </a:cubicBezTo>
                <a:cubicBezTo>
                  <a:pt x="327" y="170"/>
                  <a:pt x="340" y="182"/>
                  <a:pt x="340" y="198"/>
                </a:cubicBezTo>
                <a:cubicBezTo>
                  <a:pt x="340" y="198"/>
                  <a:pt x="340" y="199"/>
                  <a:pt x="340" y="199"/>
                </a:cubicBezTo>
                <a:cubicBezTo>
                  <a:pt x="341" y="207"/>
                  <a:pt x="347" y="212"/>
                  <a:pt x="354" y="212"/>
                </a:cubicBezTo>
                <a:cubicBezTo>
                  <a:pt x="361" y="212"/>
                  <a:pt x="367" y="206"/>
                  <a:pt x="367" y="199"/>
                </a:cubicBezTo>
                <a:cubicBezTo>
                  <a:pt x="367" y="198"/>
                  <a:pt x="367" y="198"/>
                  <a:pt x="367" y="197"/>
                </a:cubicBezTo>
                <a:cubicBezTo>
                  <a:pt x="367" y="198"/>
                  <a:pt x="367" y="198"/>
                  <a:pt x="367" y="198"/>
                </a:cubicBezTo>
                <a:cubicBezTo>
                  <a:pt x="367" y="198"/>
                  <a:pt x="367" y="197"/>
                  <a:pt x="367" y="197"/>
                </a:cubicBezTo>
                <a:cubicBezTo>
                  <a:pt x="367" y="195"/>
                  <a:pt x="367" y="194"/>
                  <a:pt x="367" y="192"/>
                </a:cubicBezTo>
                <a:cubicBezTo>
                  <a:pt x="366" y="188"/>
                  <a:pt x="366" y="182"/>
                  <a:pt x="366" y="182"/>
                </a:cubicBezTo>
                <a:cubicBezTo>
                  <a:pt x="365" y="81"/>
                  <a:pt x="284" y="0"/>
                  <a:pt x="183" y="0"/>
                </a:cubicBezTo>
                <a:cubicBezTo>
                  <a:pt x="82" y="0"/>
                  <a:pt x="0" y="82"/>
                  <a:pt x="0" y="183"/>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3" name="Freeform 453"/>
          <p:cNvSpPr>
            <a:spLocks/>
          </p:cNvSpPr>
          <p:nvPr userDrawn="1"/>
        </p:nvSpPr>
        <p:spPr bwMode="auto">
          <a:xfrm>
            <a:off x="4718683" y="1376292"/>
            <a:ext cx="388245" cy="253603"/>
          </a:xfrm>
          <a:custGeom>
            <a:avLst/>
            <a:gdLst/>
            <a:ahLst/>
            <a:cxnLst>
              <a:cxn ang="0">
                <a:pos x="10" y="68"/>
              </a:cxn>
              <a:cxn ang="0">
                <a:pos x="0" y="165"/>
              </a:cxn>
              <a:cxn ang="0">
                <a:pos x="48" y="198"/>
              </a:cxn>
              <a:cxn ang="0">
                <a:pos x="68" y="186"/>
              </a:cxn>
              <a:cxn ang="0">
                <a:pos x="73" y="136"/>
              </a:cxn>
              <a:cxn ang="0">
                <a:pos x="79" y="215"/>
              </a:cxn>
              <a:cxn ang="0">
                <a:pos x="125" y="234"/>
              </a:cxn>
              <a:cxn ang="0">
                <a:pos x="132" y="168"/>
              </a:cxn>
              <a:cxn ang="0">
                <a:pos x="137" y="240"/>
              </a:cxn>
              <a:cxn ang="0">
                <a:pos x="226" y="297"/>
              </a:cxn>
              <a:cxn ang="0">
                <a:pos x="375" y="219"/>
              </a:cxn>
              <a:cxn ang="0">
                <a:pos x="382" y="196"/>
              </a:cxn>
              <a:cxn ang="0">
                <a:pos x="404" y="144"/>
              </a:cxn>
              <a:cxn ang="0">
                <a:pos x="331" y="145"/>
              </a:cxn>
              <a:cxn ang="0">
                <a:pos x="346" y="171"/>
              </a:cxn>
              <a:cxn ang="0">
                <a:pos x="358" y="147"/>
              </a:cxn>
              <a:cxn ang="0">
                <a:pos x="377" y="144"/>
              </a:cxn>
              <a:cxn ang="0">
                <a:pos x="366" y="174"/>
              </a:cxn>
              <a:cxn ang="0">
                <a:pos x="355" y="200"/>
              </a:cxn>
              <a:cxn ang="0">
                <a:pos x="164" y="232"/>
              </a:cxn>
              <a:cxn ang="0">
                <a:pos x="157" y="151"/>
              </a:cxn>
              <a:cxn ang="0">
                <a:pos x="112" y="135"/>
              </a:cxn>
              <a:cxn ang="0">
                <a:pos x="105" y="199"/>
              </a:cxn>
              <a:cxn ang="0">
                <a:pos x="99" y="128"/>
              </a:cxn>
              <a:cxn ang="0">
                <a:pos x="60" y="100"/>
              </a:cxn>
              <a:cxn ang="0">
                <a:pos x="41" y="112"/>
              </a:cxn>
              <a:cxn ang="0">
                <a:pos x="27" y="157"/>
              </a:cxn>
              <a:cxn ang="0">
                <a:pos x="242" y="27"/>
              </a:cxn>
              <a:cxn ang="0">
                <a:pos x="432" y="163"/>
              </a:cxn>
              <a:cxn ang="0">
                <a:pos x="459" y="163"/>
              </a:cxn>
              <a:cxn ang="0">
                <a:pos x="449" y="61"/>
              </a:cxn>
              <a:cxn ang="0">
                <a:pos x="238" y="0"/>
              </a:cxn>
            </a:cxnLst>
            <a:rect l="0" t="0" r="r" b="b"/>
            <a:pathLst>
              <a:path w="459" h="299">
                <a:moveTo>
                  <a:pt x="238" y="0"/>
                </a:moveTo>
                <a:cubicBezTo>
                  <a:pt x="10" y="68"/>
                  <a:pt x="10" y="68"/>
                  <a:pt x="10" y="68"/>
                </a:cubicBezTo>
                <a:cubicBezTo>
                  <a:pt x="4" y="70"/>
                  <a:pt x="0" y="75"/>
                  <a:pt x="0" y="81"/>
                </a:cubicBezTo>
                <a:cubicBezTo>
                  <a:pt x="0" y="165"/>
                  <a:pt x="0" y="165"/>
                  <a:pt x="0" y="165"/>
                </a:cubicBezTo>
                <a:cubicBezTo>
                  <a:pt x="0" y="170"/>
                  <a:pt x="3" y="175"/>
                  <a:pt x="7" y="177"/>
                </a:cubicBezTo>
                <a:cubicBezTo>
                  <a:pt x="48" y="198"/>
                  <a:pt x="48" y="198"/>
                  <a:pt x="48" y="198"/>
                </a:cubicBezTo>
                <a:cubicBezTo>
                  <a:pt x="52" y="200"/>
                  <a:pt x="57" y="200"/>
                  <a:pt x="61" y="198"/>
                </a:cubicBezTo>
                <a:cubicBezTo>
                  <a:pt x="65" y="195"/>
                  <a:pt x="68" y="191"/>
                  <a:pt x="68" y="186"/>
                </a:cubicBezTo>
                <a:cubicBezTo>
                  <a:pt x="68" y="186"/>
                  <a:pt x="68" y="155"/>
                  <a:pt x="68" y="133"/>
                </a:cubicBezTo>
                <a:cubicBezTo>
                  <a:pt x="70" y="135"/>
                  <a:pt x="71" y="135"/>
                  <a:pt x="73" y="136"/>
                </a:cubicBezTo>
                <a:cubicBezTo>
                  <a:pt x="73" y="149"/>
                  <a:pt x="73" y="203"/>
                  <a:pt x="73" y="203"/>
                </a:cubicBezTo>
                <a:cubicBezTo>
                  <a:pt x="73" y="208"/>
                  <a:pt x="75" y="212"/>
                  <a:pt x="79" y="215"/>
                </a:cubicBezTo>
                <a:cubicBezTo>
                  <a:pt x="112" y="234"/>
                  <a:pt x="112" y="234"/>
                  <a:pt x="112" y="234"/>
                </a:cubicBezTo>
                <a:cubicBezTo>
                  <a:pt x="116" y="236"/>
                  <a:pt x="121" y="236"/>
                  <a:pt x="125" y="234"/>
                </a:cubicBezTo>
                <a:cubicBezTo>
                  <a:pt x="129" y="231"/>
                  <a:pt x="132" y="227"/>
                  <a:pt x="132" y="222"/>
                </a:cubicBezTo>
                <a:cubicBezTo>
                  <a:pt x="132" y="222"/>
                  <a:pt x="132" y="190"/>
                  <a:pt x="132" y="168"/>
                </a:cubicBezTo>
                <a:cubicBezTo>
                  <a:pt x="134" y="170"/>
                  <a:pt x="135" y="170"/>
                  <a:pt x="137" y="171"/>
                </a:cubicBezTo>
                <a:cubicBezTo>
                  <a:pt x="137" y="184"/>
                  <a:pt x="137" y="240"/>
                  <a:pt x="137" y="240"/>
                </a:cubicBezTo>
                <a:cubicBezTo>
                  <a:pt x="137" y="245"/>
                  <a:pt x="140" y="249"/>
                  <a:pt x="144" y="252"/>
                </a:cubicBezTo>
                <a:cubicBezTo>
                  <a:pt x="226" y="297"/>
                  <a:pt x="226" y="297"/>
                  <a:pt x="226" y="297"/>
                </a:cubicBezTo>
                <a:cubicBezTo>
                  <a:pt x="230" y="299"/>
                  <a:pt x="235" y="299"/>
                  <a:pt x="239" y="297"/>
                </a:cubicBezTo>
                <a:cubicBezTo>
                  <a:pt x="375" y="219"/>
                  <a:pt x="375" y="219"/>
                  <a:pt x="375" y="219"/>
                </a:cubicBezTo>
                <a:cubicBezTo>
                  <a:pt x="380" y="217"/>
                  <a:pt x="382" y="213"/>
                  <a:pt x="382" y="208"/>
                </a:cubicBezTo>
                <a:cubicBezTo>
                  <a:pt x="382" y="208"/>
                  <a:pt x="382" y="202"/>
                  <a:pt x="382" y="196"/>
                </a:cubicBezTo>
                <a:cubicBezTo>
                  <a:pt x="394" y="187"/>
                  <a:pt x="402" y="171"/>
                  <a:pt x="404" y="150"/>
                </a:cubicBezTo>
                <a:cubicBezTo>
                  <a:pt x="404" y="148"/>
                  <a:pt x="404" y="146"/>
                  <a:pt x="404" y="144"/>
                </a:cubicBezTo>
                <a:cubicBezTo>
                  <a:pt x="404" y="117"/>
                  <a:pt x="390" y="96"/>
                  <a:pt x="371" y="94"/>
                </a:cubicBezTo>
                <a:cubicBezTo>
                  <a:pt x="350" y="93"/>
                  <a:pt x="333" y="115"/>
                  <a:pt x="331" y="145"/>
                </a:cubicBezTo>
                <a:cubicBezTo>
                  <a:pt x="331" y="150"/>
                  <a:pt x="331" y="155"/>
                  <a:pt x="331" y="159"/>
                </a:cubicBezTo>
                <a:cubicBezTo>
                  <a:pt x="332" y="166"/>
                  <a:pt x="338" y="172"/>
                  <a:pt x="346" y="171"/>
                </a:cubicBezTo>
                <a:cubicBezTo>
                  <a:pt x="353" y="170"/>
                  <a:pt x="358" y="164"/>
                  <a:pt x="358" y="156"/>
                </a:cubicBezTo>
                <a:cubicBezTo>
                  <a:pt x="357" y="153"/>
                  <a:pt x="357" y="150"/>
                  <a:pt x="358" y="147"/>
                </a:cubicBezTo>
                <a:cubicBezTo>
                  <a:pt x="359" y="129"/>
                  <a:pt x="367" y="121"/>
                  <a:pt x="369" y="121"/>
                </a:cubicBezTo>
                <a:cubicBezTo>
                  <a:pt x="371" y="121"/>
                  <a:pt x="377" y="129"/>
                  <a:pt x="377" y="144"/>
                </a:cubicBezTo>
                <a:cubicBezTo>
                  <a:pt x="377" y="146"/>
                  <a:pt x="377" y="147"/>
                  <a:pt x="377" y="148"/>
                </a:cubicBezTo>
                <a:cubicBezTo>
                  <a:pt x="376" y="164"/>
                  <a:pt x="369" y="174"/>
                  <a:pt x="366" y="174"/>
                </a:cubicBezTo>
                <a:cubicBezTo>
                  <a:pt x="360" y="176"/>
                  <a:pt x="355" y="181"/>
                  <a:pt x="355" y="187"/>
                </a:cubicBezTo>
                <a:cubicBezTo>
                  <a:pt x="355" y="187"/>
                  <a:pt x="355" y="194"/>
                  <a:pt x="355" y="200"/>
                </a:cubicBezTo>
                <a:cubicBezTo>
                  <a:pt x="344" y="207"/>
                  <a:pt x="243" y="264"/>
                  <a:pt x="232" y="270"/>
                </a:cubicBezTo>
                <a:cubicBezTo>
                  <a:pt x="222" y="265"/>
                  <a:pt x="175" y="238"/>
                  <a:pt x="164" y="232"/>
                </a:cubicBezTo>
                <a:cubicBezTo>
                  <a:pt x="164" y="220"/>
                  <a:pt x="164" y="163"/>
                  <a:pt x="164" y="163"/>
                </a:cubicBezTo>
                <a:cubicBezTo>
                  <a:pt x="164" y="158"/>
                  <a:pt x="161" y="154"/>
                  <a:pt x="157" y="151"/>
                </a:cubicBezTo>
                <a:cubicBezTo>
                  <a:pt x="125" y="134"/>
                  <a:pt x="125" y="134"/>
                  <a:pt x="125" y="134"/>
                </a:cubicBezTo>
                <a:cubicBezTo>
                  <a:pt x="121" y="132"/>
                  <a:pt x="116" y="132"/>
                  <a:pt x="112" y="135"/>
                </a:cubicBezTo>
                <a:cubicBezTo>
                  <a:pt x="108" y="137"/>
                  <a:pt x="105" y="142"/>
                  <a:pt x="105" y="146"/>
                </a:cubicBezTo>
                <a:cubicBezTo>
                  <a:pt x="105" y="146"/>
                  <a:pt x="105" y="177"/>
                  <a:pt x="105" y="199"/>
                </a:cubicBezTo>
                <a:cubicBezTo>
                  <a:pt x="102" y="197"/>
                  <a:pt x="101" y="197"/>
                  <a:pt x="99" y="196"/>
                </a:cubicBezTo>
                <a:cubicBezTo>
                  <a:pt x="99" y="183"/>
                  <a:pt x="99" y="128"/>
                  <a:pt x="99" y="128"/>
                </a:cubicBezTo>
                <a:cubicBezTo>
                  <a:pt x="99" y="123"/>
                  <a:pt x="96" y="118"/>
                  <a:pt x="92" y="116"/>
                </a:cubicBezTo>
                <a:cubicBezTo>
                  <a:pt x="60" y="100"/>
                  <a:pt x="60" y="100"/>
                  <a:pt x="60" y="100"/>
                </a:cubicBezTo>
                <a:cubicBezTo>
                  <a:pt x="56" y="98"/>
                  <a:pt x="51" y="98"/>
                  <a:pt x="47" y="101"/>
                </a:cubicBezTo>
                <a:cubicBezTo>
                  <a:pt x="44" y="103"/>
                  <a:pt x="41" y="107"/>
                  <a:pt x="41" y="112"/>
                </a:cubicBezTo>
                <a:cubicBezTo>
                  <a:pt x="41" y="112"/>
                  <a:pt x="41" y="143"/>
                  <a:pt x="41" y="164"/>
                </a:cubicBezTo>
                <a:cubicBezTo>
                  <a:pt x="34" y="161"/>
                  <a:pt x="31" y="159"/>
                  <a:pt x="27" y="157"/>
                </a:cubicBezTo>
                <a:cubicBezTo>
                  <a:pt x="27" y="145"/>
                  <a:pt x="27" y="105"/>
                  <a:pt x="27" y="91"/>
                </a:cubicBezTo>
                <a:cubicBezTo>
                  <a:pt x="44" y="86"/>
                  <a:pt x="235" y="29"/>
                  <a:pt x="242" y="27"/>
                </a:cubicBezTo>
                <a:cubicBezTo>
                  <a:pt x="249" y="29"/>
                  <a:pt x="415" y="78"/>
                  <a:pt x="432" y="83"/>
                </a:cubicBezTo>
                <a:cubicBezTo>
                  <a:pt x="432" y="99"/>
                  <a:pt x="432" y="163"/>
                  <a:pt x="432" y="163"/>
                </a:cubicBezTo>
                <a:cubicBezTo>
                  <a:pt x="432" y="171"/>
                  <a:pt x="438" y="176"/>
                  <a:pt x="445" y="176"/>
                </a:cubicBezTo>
                <a:cubicBezTo>
                  <a:pt x="453" y="176"/>
                  <a:pt x="459" y="171"/>
                  <a:pt x="459" y="163"/>
                </a:cubicBezTo>
                <a:cubicBezTo>
                  <a:pt x="459" y="73"/>
                  <a:pt x="459" y="73"/>
                  <a:pt x="459" y="73"/>
                </a:cubicBezTo>
                <a:cubicBezTo>
                  <a:pt x="459" y="68"/>
                  <a:pt x="455" y="62"/>
                  <a:pt x="449" y="61"/>
                </a:cubicBezTo>
                <a:cubicBezTo>
                  <a:pt x="246" y="0"/>
                  <a:pt x="246" y="0"/>
                  <a:pt x="246" y="0"/>
                </a:cubicBezTo>
                <a:cubicBezTo>
                  <a:pt x="243" y="0"/>
                  <a:pt x="240" y="0"/>
                  <a:pt x="238" y="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4" name="Freeform 461"/>
          <p:cNvSpPr>
            <a:spLocks noEditPoints="1"/>
          </p:cNvSpPr>
          <p:nvPr userDrawn="1"/>
        </p:nvSpPr>
        <p:spPr bwMode="auto">
          <a:xfrm>
            <a:off x="4795497" y="2246791"/>
            <a:ext cx="234615" cy="378619"/>
          </a:xfrm>
          <a:custGeom>
            <a:avLst/>
            <a:gdLst/>
            <a:ahLst/>
            <a:cxnLst>
              <a:cxn ang="0">
                <a:pos x="85" y="1"/>
              </a:cxn>
              <a:cxn ang="0">
                <a:pos x="71" y="7"/>
              </a:cxn>
              <a:cxn ang="0">
                <a:pos x="64" y="24"/>
              </a:cxn>
              <a:cxn ang="0">
                <a:pos x="81" y="31"/>
              </a:cxn>
              <a:cxn ang="0">
                <a:pos x="92" y="27"/>
              </a:cxn>
              <a:cxn ang="0">
                <a:pos x="220" y="43"/>
              </a:cxn>
              <a:cxn ang="0">
                <a:pos x="180" y="63"/>
              </a:cxn>
              <a:cxn ang="0">
                <a:pos x="15" y="40"/>
              </a:cxn>
              <a:cxn ang="0">
                <a:pos x="5" y="43"/>
              </a:cxn>
              <a:cxn ang="0">
                <a:pos x="0" y="53"/>
              </a:cxn>
              <a:cxn ang="0">
                <a:pos x="0" y="385"/>
              </a:cxn>
              <a:cxn ang="0">
                <a:pos x="10" y="397"/>
              </a:cxn>
              <a:cxn ang="0">
                <a:pos x="121" y="432"/>
              </a:cxn>
              <a:cxn ang="0">
                <a:pos x="137" y="423"/>
              </a:cxn>
              <a:cxn ang="0">
                <a:pos x="138" y="419"/>
              </a:cxn>
              <a:cxn ang="0">
                <a:pos x="129" y="407"/>
              </a:cxn>
              <a:cxn ang="0">
                <a:pos x="27" y="375"/>
              </a:cxn>
              <a:cxn ang="0">
                <a:pos x="27" y="68"/>
              </a:cxn>
              <a:cxn ang="0">
                <a:pos x="169" y="88"/>
              </a:cxn>
              <a:cxn ang="0">
                <a:pos x="170" y="435"/>
              </a:cxn>
              <a:cxn ang="0">
                <a:pos x="177" y="447"/>
              </a:cxn>
              <a:cxn ang="0">
                <a:pos x="191" y="446"/>
              </a:cxn>
              <a:cxn ang="0">
                <a:pos x="273" y="391"/>
              </a:cxn>
              <a:cxn ang="0">
                <a:pos x="278" y="380"/>
              </a:cxn>
              <a:cxn ang="0">
                <a:pos x="278" y="35"/>
              </a:cxn>
              <a:cxn ang="0">
                <a:pos x="278" y="35"/>
              </a:cxn>
              <a:cxn ang="0">
                <a:pos x="278" y="33"/>
              </a:cxn>
              <a:cxn ang="0">
                <a:pos x="278" y="32"/>
              </a:cxn>
              <a:cxn ang="0">
                <a:pos x="277" y="30"/>
              </a:cxn>
              <a:cxn ang="0">
                <a:pos x="277" y="29"/>
              </a:cxn>
              <a:cxn ang="0">
                <a:pos x="276" y="28"/>
              </a:cxn>
              <a:cxn ang="0">
                <a:pos x="276" y="27"/>
              </a:cxn>
              <a:cxn ang="0">
                <a:pos x="274" y="26"/>
              </a:cxn>
              <a:cxn ang="0">
                <a:pos x="274" y="25"/>
              </a:cxn>
              <a:cxn ang="0">
                <a:pos x="274" y="25"/>
              </a:cxn>
              <a:cxn ang="0">
                <a:pos x="273" y="24"/>
              </a:cxn>
              <a:cxn ang="0">
                <a:pos x="272" y="24"/>
              </a:cxn>
              <a:cxn ang="0">
                <a:pos x="271" y="23"/>
              </a:cxn>
              <a:cxn ang="0">
                <a:pos x="270" y="23"/>
              </a:cxn>
              <a:cxn ang="0">
                <a:pos x="268" y="22"/>
              </a:cxn>
              <a:cxn ang="0">
                <a:pos x="267" y="22"/>
              </a:cxn>
              <a:cxn ang="0">
                <a:pos x="267" y="22"/>
              </a:cxn>
              <a:cxn ang="0">
                <a:pos x="91" y="0"/>
              </a:cxn>
              <a:cxn ang="0">
                <a:pos x="85" y="1"/>
              </a:cxn>
              <a:cxn ang="0">
                <a:pos x="240" y="63"/>
              </a:cxn>
              <a:cxn ang="0">
                <a:pos x="225" y="102"/>
              </a:cxn>
              <a:cxn ang="0">
                <a:pos x="204" y="80"/>
              </a:cxn>
              <a:cxn ang="0">
                <a:pos x="240" y="63"/>
              </a:cxn>
              <a:cxn ang="0">
                <a:pos x="232" y="140"/>
              </a:cxn>
              <a:cxn ang="0">
                <a:pos x="242" y="132"/>
              </a:cxn>
              <a:cxn ang="0">
                <a:pos x="252" y="106"/>
              </a:cxn>
              <a:cxn ang="0">
                <a:pos x="252" y="373"/>
              </a:cxn>
              <a:cxn ang="0">
                <a:pos x="196" y="410"/>
              </a:cxn>
              <a:cxn ang="0">
                <a:pos x="196" y="110"/>
              </a:cxn>
              <a:cxn ang="0">
                <a:pos x="219" y="136"/>
              </a:cxn>
              <a:cxn ang="0">
                <a:pos x="232" y="140"/>
              </a:cxn>
            </a:cxnLst>
            <a:rect l="0" t="0" r="r" b="b"/>
            <a:pathLst>
              <a:path w="278" h="449">
                <a:moveTo>
                  <a:pt x="85" y="1"/>
                </a:moveTo>
                <a:cubicBezTo>
                  <a:pt x="71" y="7"/>
                  <a:pt x="71" y="7"/>
                  <a:pt x="71" y="7"/>
                </a:cubicBezTo>
                <a:cubicBezTo>
                  <a:pt x="64" y="10"/>
                  <a:pt x="61" y="18"/>
                  <a:pt x="64" y="24"/>
                </a:cubicBezTo>
                <a:cubicBezTo>
                  <a:pt x="67" y="31"/>
                  <a:pt x="74" y="34"/>
                  <a:pt x="81" y="31"/>
                </a:cubicBezTo>
                <a:cubicBezTo>
                  <a:pt x="81" y="31"/>
                  <a:pt x="88" y="29"/>
                  <a:pt x="92" y="27"/>
                </a:cubicBezTo>
                <a:cubicBezTo>
                  <a:pt x="97" y="28"/>
                  <a:pt x="172" y="37"/>
                  <a:pt x="220" y="43"/>
                </a:cubicBezTo>
                <a:cubicBezTo>
                  <a:pt x="200" y="53"/>
                  <a:pt x="184" y="61"/>
                  <a:pt x="180" y="63"/>
                </a:cubicBezTo>
                <a:cubicBezTo>
                  <a:pt x="173" y="62"/>
                  <a:pt x="15" y="40"/>
                  <a:pt x="15" y="40"/>
                </a:cubicBezTo>
                <a:cubicBezTo>
                  <a:pt x="12" y="39"/>
                  <a:pt x="8" y="40"/>
                  <a:pt x="5" y="43"/>
                </a:cubicBezTo>
                <a:cubicBezTo>
                  <a:pt x="2" y="45"/>
                  <a:pt x="0" y="49"/>
                  <a:pt x="0" y="53"/>
                </a:cubicBezTo>
                <a:cubicBezTo>
                  <a:pt x="0" y="385"/>
                  <a:pt x="0" y="385"/>
                  <a:pt x="0" y="385"/>
                </a:cubicBezTo>
                <a:cubicBezTo>
                  <a:pt x="0" y="390"/>
                  <a:pt x="4" y="396"/>
                  <a:pt x="10" y="397"/>
                </a:cubicBezTo>
                <a:cubicBezTo>
                  <a:pt x="121" y="432"/>
                  <a:pt x="121" y="432"/>
                  <a:pt x="121" y="432"/>
                </a:cubicBezTo>
                <a:cubicBezTo>
                  <a:pt x="128" y="434"/>
                  <a:pt x="135" y="430"/>
                  <a:pt x="137" y="423"/>
                </a:cubicBezTo>
                <a:cubicBezTo>
                  <a:pt x="138" y="422"/>
                  <a:pt x="138" y="421"/>
                  <a:pt x="138" y="419"/>
                </a:cubicBezTo>
                <a:cubicBezTo>
                  <a:pt x="138" y="414"/>
                  <a:pt x="134" y="408"/>
                  <a:pt x="129" y="407"/>
                </a:cubicBezTo>
                <a:cubicBezTo>
                  <a:pt x="129" y="407"/>
                  <a:pt x="43" y="380"/>
                  <a:pt x="27" y="375"/>
                </a:cubicBezTo>
                <a:cubicBezTo>
                  <a:pt x="27" y="357"/>
                  <a:pt x="27" y="95"/>
                  <a:pt x="27" y="68"/>
                </a:cubicBezTo>
                <a:cubicBezTo>
                  <a:pt x="50" y="71"/>
                  <a:pt x="151" y="85"/>
                  <a:pt x="169" y="88"/>
                </a:cubicBezTo>
                <a:cubicBezTo>
                  <a:pt x="169" y="110"/>
                  <a:pt x="170" y="435"/>
                  <a:pt x="170" y="435"/>
                </a:cubicBezTo>
                <a:cubicBezTo>
                  <a:pt x="170" y="440"/>
                  <a:pt x="173" y="445"/>
                  <a:pt x="177" y="447"/>
                </a:cubicBezTo>
                <a:cubicBezTo>
                  <a:pt x="181" y="449"/>
                  <a:pt x="187" y="449"/>
                  <a:pt x="191" y="446"/>
                </a:cubicBezTo>
                <a:cubicBezTo>
                  <a:pt x="273" y="391"/>
                  <a:pt x="273" y="391"/>
                  <a:pt x="273" y="391"/>
                </a:cubicBezTo>
                <a:cubicBezTo>
                  <a:pt x="276" y="389"/>
                  <a:pt x="278" y="384"/>
                  <a:pt x="278" y="380"/>
                </a:cubicBezTo>
                <a:cubicBezTo>
                  <a:pt x="278" y="380"/>
                  <a:pt x="278" y="35"/>
                  <a:pt x="278" y="35"/>
                </a:cubicBezTo>
                <a:cubicBezTo>
                  <a:pt x="278" y="35"/>
                  <a:pt x="278" y="35"/>
                  <a:pt x="278" y="35"/>
                </a:cubicBezTo>
                <a:cubicBezTo>
                  <a:pt x="278" y="34"/>
                  <a:pt x="278" y="33"/>
                  <a:pt x="278" y="33"/>
                </a:cubicBezTo>
                <a:cubicBezTo>
                  <a:pt x="278" y="32"/>
                  <a:pt x="278" y="32"/>
                  <a:pt x="278" y="32"/>
                </a:cubicBezTo>
                <a:cubicBezTo>
                  <a:pt x="278" y="31"/>
                  <a:pt x="278" y="31"/>
                  <a:pt x="277" y="30"/>
                </a:cubicBezTo>
                <a:cubicBezTo>
                  <a:pt x="277" y="30"/>
                  <a:pt x="277" y="29"/>
                  <a:pt x="277" y="29"/>
                </a:cubicBezTo>
                <a:cubicBezTo>
                  <a:pt x="277" y="29"/>
                  <a:pt x="276" y="28"/>
                  <a:pt x="276" y="28"/>
                </a:cubicBezTo>
                <a:cubicBezTo>
                  <a:pt x="276" y="27"/>
                  <a:pt x="276" y="27"/>
                  <a:pt x="276" y="27"/>
                </a:cubicBezTo>
                <a:cubicBezTo>
                  <a:pt x="275" y="27"/>
                  <a:pt x="275" y="26"/>
                  <a:pt x="274" y="26"/>
                </a:cubicBezTo>
                <a:cubicBezTo>
                  <a:pt x="274" y="26"/>
                  <a:pt x="274" y="25"/>
                  <a:pt x="274" y="25"/>
                </a:cubicBezTo>
                <a:cubicBezTo>
                  <a:pt x="274" y="25"/>
                  <a:pt x="274" y="25"/>
                  <a:pt x="274" y="25"/>
                </a:cubicBezTo>
                <a:cubicBezTo>
                  <a:pt x="273" y="25"/>
                  <a:pt x="273" y="24"/>
                  <a:pt x="273" y="24"/>
                </a:cubicBezTo>
                <a:cubicBezTo>
                  <a:pt x="272" y="24"/>
                  <a:pt x="272" y="24"/>
                  <a:pt x="272" y="24"/>
                </a:cubicBezTo>
                <a:cubicBezTo>
                  <a:pt x="271" y="23"/>
                  <a:pt x="271" y="23"/>
                  <a:pt x="271" y="23"/>
                </a:cubicBezTo>
                <a:cubicBezTo>
                  <a:pt x="270" y="23"/>
                  <a:pt x="270" y="23"/>
                  <a:pt x="270" y="23"/>
                </a:cubicBezTo>
                <a:cubicBezTo>
                  <a:pt x="269" y="22"/>
                  <a:pt x="269" y="22"/>
                  <a:pt x="268" y="22"/>
                </a:cubicBezTo>
                <a:cubicBezTo>
                  <a:pt x="268" y="22"/>
                  <a:pt x="268" y="22"/>
                  <a:pt x="267" y="22"/>
                </a:cubicBezTo>
                <a:cubicBezTo>
                  <a:pt x="267" y="22"/>
                  <a:pt x="267" y="22"/>
                  <a:pt x="267" y="22"/>
                </a:cubicBezTo>
                <a:cubicBezTo>
                  <a:pt x="91" y="0"/>
                  <a:pt x="91" y="0"/>
                  <a:pt x="91" y="0"/>
                </a:cubicBezTo>
                <a:cubicBezTo>
                  <a:pt x="89" y="0"/>
                  <a:pt x="87" y="0"/>
                  <a:pt x="85" y="1"/>
                </a:cubicBezTo>
                <a:close/>
                <a:moveTo>
                  <a:pt x="240" y="63"/>
                </a:moveTo>
                <a:cubicBezTo>
                  <a:pt x="233" y="81"/>
                  <a:pt x="230" y="89"/>
                  <a:pt x="225" y="102"/>
                </a:cubicBezTo>
                <a:cubicBezTo>
                  <a:pt x="216" y="93"/>
                  <a:pt x="212" y="89"/>
                  <a:pt x="204" y="80"/>
                </a:cubicBezTo>
                <a:cubicBezTo>
                  <a:pt x="216" y="75"/>
                  <a:pt x="223" y="71"/>
                  <a:pt x="240" y="63"/>
                </a:cubicBezTo>
                <a:close/>
                <a:moveTo>
                  <a:pt x="232" y="140"/>
                </a:moveTo>
                <a:cubicBezTo>
                  <a:pt x="236" y="139"/>
                  <a:pt x="240" y="136"/>
                  <a:pt x="242" y="132"/>
                </a:cubicBezTo>
                <a:cubicBezTo>
                  <a:pt x="242" y="132"/>
                  <a:pt x="248" y="116"/>
                  <a:pt x="252" y="106"/>
                </a:cubicBezTo>
                <a:cubicBezTo>
                  <a:pt x="252" y="193"/>
                  <a:pt x="252" y="362"/>
                  <a:pt x="252" y="373"/>
                </a:cubicBezTo>
                <a:cubicBezTo>
                  <a:pt x="244" y="378"/>
                  <a:pt x="217" y="396"/>
                  <a:pt x="196" y="410"/>
                </a:cubicBezTo>
                <a:cubicBezTo>
                  <a:pt x="196" y="371"/>
                  <a:pt x="196" y="162"/>
                  <a:pt x="196" y="110"/>
                </a:cubicBezTo>
                <a:cubicBezTo>
                  <a:pt x="208" y="123"/>
                  <a:pt x="219" y="136"/>
                  <a:pt x="219" y="136"/>
                </a:cubicBezTo>
                <a:cubicBezTo>
                  <a:pt x="223" y="139"/>
                  <a:pt x="227" y="141"/>
                  <a:pt x="232" y="14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5" name="Freeform 489"/>
          <p:cNvSpPr>
            <a:spLocks/>
          </p:cNvSpPr>
          <p:nvPr userDrawn="1"/>
        </p:nvSpPr>
        <p:spPr bwMode="auto">
          <a:xfrm>
            <a:off x="4718683" y="2823907"/>
            <a:ext cx="388245" cy="257175"/>
          </a:xfrm>
          <a:custGeom>
            <a:avLst/>
            <a:gdLst/>
            <a:ahLst/>
            <a:cxnLst>
              <a:cxn ang="0">
                <a:pos x="223" y="2"/>
              </a:cxn>
              <a:cxn ang="0">
                <a:pos x="115" y="55"/>
              </a:cxn>
              <a:cxn ang="0">
                <a:pos x="26" y="68"/>
              </a:cxn>
              <a:cxn ang="0">
                <a:pos x="13" y="112"/>
              </a:cxn>
              <a:cxn ang="0">
                <a:pos x="13" y="139"/>
              </a:cxn>
              <a:cxn ang="0">
                <a:pos x="53" y="126"/>
              </a:cxn>
              <a:cxn ang="0">
                <a:pos x="102" y="82"/>
              </a:cxn>
              <a:cxn ang="0">
                <a:pos x="109" y="103"/>
              </a:cxn>
              <a:cxn ang="0">
                <a:pos x="234" y="26"/>
              </a:cxn>
              <a:cxn ang="0">
                <a:pos x="315" y="51"/>
              </a:cxn>
              <a:cxn ang="0">
                <a:pos x="432" y="64"/>
              </a:cxn>
              <a:cxn ang="0">
                <a:pos x="328" y="87"/>
              </a:cxn>
              <a:cxn ang="0">
                <a:pos x="315" y="101"/>
              </a:cxn>
              <a:cxn ang="0">
                <a:pos x="328" y="214"/>
              </a:cxn>
              <a:cxn ang="0">
                <a:pos x="432" y="237"/>
              </a:cxn>
              <a:cxn ang="0">
                <a:pos x="315" y="250"/>
              </a:cxn>
              <a:cxn ang="0">
                <a:pos x="234" y="278"/>
              </a:cxn>
              <a:cxn ang="0">
                <a:pos x="109" y="197"/>
              </a:cxn>
              <a:cxn ang="0">
                <a:pos x="102" y="219"/>
              </a:cxn>
              <a:cxn ang="0">
                <a:pos x="53" y="177"/>
              </a:cxn>
              <a:cxn ang="0">
                <a:pos x="39" y="164"/>
              </a:cxn>
              <a:cxn ang="0">
                <a:pos x="0" y="177"/>
              </a:cxn>
              <a:cxn ang="0">
                <a:pos x="26" y="190"/>
              </a:cxn>
              <a:cxn ang="0">
                <a:pos x="30" y="242"/>
              </a:cxn>
              <a:cxn ang="0">
                <a:pos x="115" y="246"/>
              </a:cxn>
              <a:cxn ang="0">
                <a:pos x="222" y="302"/>
              </a:cxn>
              <a:cxn ang="0">
                <a:pos x="328" y="305"/>
              </a:cxn>
              <a:cxn ang="0">
                <a:pos x="342" y="263"/>
              </a:cxn>
              <a:cxn ang="0">
                <a:pos x="459" y="250"/>
              </a:cxn>
              <a:cxn ang="0">
                <a:pos x="445" y="187"/>
              </a:cxn>
              <a:cxn ang="0">
                <a:pos x="342" y="114"/>
              </a:cxn>
              <a:cxn ang="0">
                <a:pos x="455" y="110"/>
              </a:cxn>
              <a:cxn ang="0">
                <a:pos x="459" y="51"/>
              </a:cxn>
              <a:cxn ang="0">
                <a:pos x="342" y="37"/>
              </a:cxn>
              <a:cxn ang="0">
                <a:pos x="328" y="0"/>
              </a:cxn>
            </a:cxnLst>
            <a:rect l="0" t="0" r="r" b="b"/>
            <a:pathLst>
              <a:path w="459" h="305">
                <a:moveTo>
                  <a:pt x="230" y="0"/>
                </a:moveTo>
                <a:cubicBezTo>
                  <a:pt x="227" y="0"/>
                  <a:pt x="225" y="1"/>
                  <a:pt x="223" y="2"/>
                </a:cubicBezTo>
                <a:cubicBezTo>
                  <a:pt x="223" y="2"/>
                  <a:pt x="156" y="47"/>
                  <a:pt x="128" y="66"/>
                </a:cubicBezTo>
                <a:cubicBezTo>
                  <a:pt x="127" y="60"/>
                  <a:pt x="122" y="55"/>
                  <a:pt x="115" y="55"/>
                </a:cubicBezTo>
                <a:cubicBezTo>
                  <a:pt x="39" y="55"/>
                  <a:pt x="39" y="55"/>
                  <a:pt x="39" y="55"/>
                </a:cubicBezTo>
                <a:cubicBezTo>
                  <a:pt x="32" y="55"/>
                  <a:pt x="26" y="61"/>
                  <a:pt x="26" y="68"/>
                </a:cubicBezTo>
                <a:cubicBezTo>
                  <a:pt x="26" y="68"/>
                  <a:pt x="26" y="97"/>
                  <a:pt x="26" y="112"/>
                </a:cubicBezTo>
                <a:cubicBezTo>
                  <a:pt x="20" y="112"/>
                  <a:pt x="13" y="112"/>
                  <a:pt x="13" y="112"/>
                </a:cubicBezTo>
                <a:cubicBezTo>
                  <a:pt x="6" y="112"/>
                  <a:pt x="0" y="118"/>
                  <a:pt x="0" y="126"/>
                </a:cubicBezTo>
                <a:cubicBezTo>
                  <a:pt x="0" y="133"/>
                  <a:pt x="6" y="139"/>
                  <a:pt x="13" y="139"/>
                </a:cubicBezTo>
                <a:cubicBezTo>
                  <a:pt x="39" y="139"/>
                  <a:pt x="39" y="139"/>
                  <a:pt x="39" y="139"/>
                </a:cubicBezTo>
                <a:cubicBezTo>
                  <a:pt x="47" y="139"/>
                  <a:pt x="53" y="133"/>
                  <a:pt x="53" y="126"/>
                </a:cubicBezTo>
                <a:cubicBezTo>
                  <a:pt x="53" y="126"/>
                  <a:pt x="53" y="97"/>
                  <a:pt x="53" y="82"/>
                </a:cubicBezTo>
                <a:cubicBezTo>
                  <a:pt x="67" y="82"/>
                  <a:pt x="88" y="82"/>
                  <a:pt x="102" y="82"/>
                </a:cubicBezTo>
                <a:cubicBezTo>
                  <a:pt x="102" y="86"/>
                  <a:pt x="102" y="91"/>
                  <a:pt x="102" y="91"/>
                </a:cubicBezTo>
                <a:cubicBezTo>
                  <a:pt x="102" y="96"/>
                  <a:pt x="105" y="101"/>
                  <a:pt x="109" y="103"/>
                </a:cubicBezTo>
                <a:cubicBezTo>
                  <a:pt x="113" y="105"/>
                  <a:pt x="119" y="105"/>
                  <a:pt x="123" y="102"/>
                </a:cubicBezTo>
                <a:cubicBezTo>
                  <a:pt x="123" y="102"/>
                  <a:pt x="228" y="31"/>
                  <a:pt x="234" y="26"/>
                </a:cubicBezTo>
                <a:cubicBezTo>
                  <a:pt x="241" y="26"/>
                  <a:pt x="296" y="26"/>
                  <a:pt x="315" y="26"/>
                </a:cubicBezTo>
                <a:cubicBezTo>
                  <a:pt x="315" y="38"/>
                  <a:pt x="315" y="51"/>
                  <a:pt x="315" y="51"/>
                </a:cubicBezTo>
                <a:cubicBezTo>
                  <a:pt x="315" y="58"/>
                  <a:pt x="321" y="64"/>
                  <a:pt x="328" y="64"/>
                </a:cubicBezTo>
                <a:cubicBezTo>
                  <a:pt x="328" y="64"/>
                  <a:pt x="411" y="64"/>
                  <a:pt x="432" y="64"/>
                </a:cubicBezTo>
                <a:cubicBezTo>
                  <a:pt x="432" y="73"/>
                  <a:pt x="432" y="78"/>
                  <a:pt x="432" y="87"/>
                </a:cubicBezTo>
                <a:cubicBezTo>
                  <a:pt x="411" y="87"/>
                  <a:pt x="328" y="87"/>
                  <a:pt x="328" y="87"/>
                </a:cubicBezTo>
                <a:cubicBezTo>
                  <a:pt x="325" y="87"/>
                  <a:pt x="321" y="89"/>
                  <a:pt x="319" y="91"/>
                </a:cubicBezTo>
                <a:cubicBezTo>
                  <a:pt x="316" y="94"/>
                  <a:pt x="315" y="97"/>
                  <a:pt x="315" y="101"/>
                </a:cubicBezTo>
                <a:cubicBezTo>
                  <a:pt x="315" y="200"/>
                  <a:pt x="315" y="200"/>
                  <a:pt x="315" y="200"/>
                </a:cubicBezTo>
                <a:cubicBezTo>
                  <a:pt x="315" y="208"/>
                  <a:pt x="321" y="214"/>
                  <a:pt x="328" y="214"/>
                </a:cubicBezTo>
                <a:cubicBezTo>
                  <a:pt x="328" y="214"/>
                  <a:pt x="411" y="214"/>
                  <a:pt x="432" y="214"/>
                </a:cubicBezTo>
                <a:cubicBezTo>
                  <a:pt x="432" y="223"/>
                  <a:pt x="432" y="228"/>
                  <a:pt x="432" y="237"/>
                </a:cubicBezTo>
                <a:cubicBezTo>
                  <a:pt x="411" y="237"/>
                  <a:pt x="328" y="237"/>
                  <a:pt x="328" y="237"/>
                </a:cubicBezTo>
                <a:cubicBezTo>
                  <a:pt x="321" y="237"/>
                  <a:pt x="315" y="243"/>
                  <a:pt x="315" y="250"/>
                </a:cubicBezTo>
                <a:cubicBezTo>
                  <a:pt x="315" y="250"/>
                  <a:pt x="315" y="266"/>
                  <a:pt x="315" y="278"/>
                </a:cubicBezTo>
                <a:cubicBezTo>
                  <a:pt x="296" y="278"/>
                  <a:pt x="241" y="278"/>
                  <a:pt x="234" y="278"/>
                </a:cubicBezTo>
                <a:cubicBezTo>
                  <a:pt x="228" y="274"/>
                  <a:pt x="123" y="198"/>
                  <a:pt x="123" y="198"/>
                </a:cubicBezTo>
                <a:cubicBezTo>
                  <a:pt x="119" y="195"/>
                  <a:pt x="114" y="195"/>
                  <a:pt x="109" y="197"/>
                </a:cubicBezTo>
                <a:cubicBezTo>
                  <a:pt x="105" y="200"/>
                  <a:pt x="102" y="204"/>
                  <a:pt x="102" y="209"/>
                </a:cubicBezTo>
                <a:cubicBezTo>
                  <a:pt x="102" y="209"/>
                  <a:pt x="102" y="214"/>
                  <a:pt x="102" y="219"/>
                </a:cubicBezTo>
                <a:cubicBezTo>
                  <a:pt x="88" y="219"/>
                  <a:pt x="67" y="219"/>
                  <a:pt x="53" y="219"/>
                </a:cubicBezTo>
                <a:cubicBezTo>
                  <a:pt x="53" y="204"/>
                  <a:pt x="53" y="177"/>
                  <a:pt x="53" y="177"/>
                </a:cubicBezTo>
                <a:cubicBezTo>
                  <a:pt x="53" y="174"/>
                  <a:pt x="51" y="170"/>
                  <a:pt x="49" y="168"/>
                </a:cubicBezTo>
                <a:cubicBezTo>
                  <a:pt x="46" y="165"/>
                  <a:pt x="43" y="164"/>
                  <a:pt x="39" y="164"/>
                </a:cubicBezTo>
                <a:cubicBezTo>
                  <a:pt x="13" y="164"/>
                  <a:pt x="13" y="164"/>
                  <a:pt x="13" y="164"/>
                </a:cubicBezTo>
                <a:cubicBezTo>
                  <a:pt x="6" y="164"/>
                  <a:pt x="0" y="170"/>
                  <a:pt x="0" y="177"/>
                </a:cubicBezTo>
                <a:cubicBezTo>
                  <a:pt x="0" y="185"/>
                  <a:pt x="6" y="191"/>
                  <a:pt x="13" y="190"/>
                </a:cubicBezTo>
                <a:cubicBezTo>
                  <a:pt x="13" y="190"/>
                  <a:pt x="20" y="190"/>
                  <a:pt x="26" y="190"/>
                </a:cubicBezTo>
                <a:cubicBezTo>
                  <a:pt x="26" y="206"/>
                  <a:pt x="26" y="233"/>
                  <a:pt x="26" y="233"/>
                </a:cubicBezTo>
                <a:cubicBezTo>
                  <a:pt x="26" y="236"/>
                  <a:pt x="27" y="240"/>
                  <a:pt x="30" y="242"/>
                </a:cubicBezTo>
                <a:cubicBezTo>
                  <a:pt x="32" y="245"/>
                  <a:pt x="36" y="246"/>
                  <a:pt x="39" y="246"/>
                </a:cubicBezTo>
                <a:cubicBezTo>
                  <a:pt x="115" y="246"/>
                  <a:pt x="115" y="246"/>
                  <a:pt x="115" y="246"/>
                </a:cubicBezTo>
                <a:cubicBezTo>
                  <a:pt x="122" y="246"/>
                  <a:pt x="127" y="241"/>
                  <a:pt x="128" y="235"/>
                </a:cubicBezTo>
                <a:cubicBezTo>
                  <a:pt x="156" y="255"/>
                  <a:pt x="222" y="302"/>
                  <a:pt x="222" y="302"/>
                </a:cubicBezTo>
                <a:cubicBezTo>
                  <a:pt x="225" y="304"/>
                  <a:pt x="227" y="305"/>
                  <a:pt x="230" y="305"/>
                </a:cubicBezTo>
                <a:cubicBezTo>
                  <a:pt x="328" y="305"/>
                  <a:pt x="328" y="305"/>
                  <a:pt x="328" y="305"/>
                </a:cubicBezTo>
                <a:cubicBezTo>
                  <a:pt x="336" y="305"/>
                  <a:pt x="342" y="299"/>
                  <a:pt x="342" y="292"/>
                </a:cubicBezTo>
                <a:cubicBezTo>
                  <a:pt x="342" y="292"/>
                  <a:pt x="342" y="276"/>
                  <a:pt x="342" y="263"/>
                </a:cubicBezTo>
                <a:cubicBezTo>
                  <a:pt x="363" y="263"/>
                  <a:pt x="445" y="263"/>
                  <a:pt x="445" y="263"/>
                </a:cubicBezTo>
                <a:cubicBezTo>
                  <a:pt x="453" y="263"/>
                  <a:pt x="459" y="257"/>
                  <a:pt x="459" y="250"/>
                </a:cubicBezTo>
                <a:cubicBezTo>
                  <a:pt x="459" y="200"/>
                  <a:pt x="459" y="200"/>
                  <a:pt x="459" y="200"/>
                </a:cubicBezTo>
                <a:cubicBezTo>
                  <a:pt x="459" y="193"/>
                  <a:pt x="453" y="187"/>
                  <a:pt x="445" y="187"/>
                </a:cubicBezTo>
                <a:cubicBezTo>
                  <a:pt x="445" y="187"/>
                  <a:pt x="363" y="187"/>
                  <a:pt x="342" y="187"/>
                </a:cubicBezTo>
                <a:cubicBezTo>
                  <a:pt x="342" y="170"/>
                  <a:pt x="342" y="131"/>
                  <a:pt x="342" y="114"/>
                </a:cubicBezTo>
                <a:cubicBezTo>
                  <a:pt x="363" y="114"/>
                  <a:pt x="445" y="114"/>
                  <a:pt x="445" y="114"/>
                </a:cubicBezTo>
                <a:cubicBezTo>
                  <a:pt x="449" y="114"/>
                  <a:pt x="452" y="113"/>
                  <a:pt x="455" y="110"/>
                </a:cubicBezTo>
                <a:cubicBezTo>
                  <a:pt x="457" y="108"/>
                  <a:pt x="459" y="104"/>
                  <a:pt x="459" y="101"/>
                </a:cubicBezTo>
                <a:cubicBezTo>
                  <a:pt x="459" y="51"/>
                  <a:pt x="459" y="51"/>
                  <a:pt x="459" y="51"/>
                </a:cubicBezTo>
                <a:cubicBezTo>
                  <a:pt x="459" y="43"/>
                  <a:pt x="453" y="37"/>
                  <a:pt x="445" y="37"/>
                </a:cubicBezTo>
                <a:cubicBezTo>
                  <a:pt x="445" y="37"/>
                  <a:pt x="363" y="37"/>
                  <a:pt x="342" y="37"/>
                </a:cubicBezTo>
                <a:cubicBezTo>
                  <a:pt x="342" y="26"/>
                  <a:pt x="342" y="13"/>
                  <a:pt x="342" y="13"/>
                </a:cubicBezTo>
                <a:cubicBezTo>
                  <a:pt x="342" y="6"/>
                  <a:pt x="336" y="0"/>
                  <a:pt x="328" y="0"/>
                </a:cubicBezTo>
                <a:lnTo>
                  <a:pt x="230" y="0"/>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6" name="Freeform 509"/>
          <p:cNvSpPr>
            <a:spLocks/>
          </p:cNvSpPr>
          <p:nvPr userDrawn="1"/>
        </p:nvSpPr>
        <p:spPr bwMode="auto">
          <a:xfrm>
            <a:off x="4747265" y="3900640"/>
            <a:ext cx="331080" cy="183356"/>
          </a:xfrm>
          <a:custGeom>
            <a:avLst/>
            <a:gdLst/>
            <a:ahLst/>
            <a:cxnLst>
              <a:cxn ang="0">
                <a:pos x="278" y="38"/>
              </a:cxn>
              <a:cxn ang="0">
                <a:pos x="278" y="154"/>
              </a:cxn>
              <a:cxn ang="0">
                <a:pos x="0" y="154"/>
              </a:cxn>
              <a:cxn ang="0">
                <a:pos x="0" y="0"/>
              </a:cxn>
              <a:cxn ang="0">
                <a:pos x="275" y="0"/>
              </a:cxn>
              <a:cxn ang="0">
                <a:pos x="146" y="115"/>
              </a:cxn>
              <a:cxn ang="0">
                <a:pos x="29" y="28"/>
              </a:cxn>
            </a:cxnLst>
            <a:rect l="0" t="0" r="r" b="b"/>
            <a:pathLst>
              <a:path w="278" h="154">
                <a:moveTo>
                  <a:pt x="278" y="38"/>
                </a:moveTo>
                <a:lnTo>
                  <a:pt x="278" y="154"/>
                </a:lnTo>
                <a:lnTo>
                  <a:pt x="0" y="154"/>
                </a:lnTo>
                <a:lnTo>
                  <a:pt x="0" y="0"/>
                </a:lnTo>
                <a:lnTo>
                  <a:pt x="275" y="0"/>
                </a:lnTo>
                <a:lnTo>
                  <a:pt x="146" y="115"/>
                </a:lnTo>
                <a:lnTo>
                  <a:pt x="29" y="28"/>
                </a:lnTo>
              </a:path>
            </a:pathLst>
          </a:custGeom>
          <a:noFill/>
          <a:ln w="30163" cap="rnd">
            <a:solidFill>
              <a:srgbClr val="FFFFFF"/>
            </a:solidFill>
            <a:prstDash val="solid"/>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7" name="Freeform 296"/>
          <p:cNvSpPr>
            <a:spLocks/>
          </p:cNvSpPr>
          <p:nvPr userDrawn="1"/>
        </p:nvSpPr>
        <p:spPr bwMode="auto">
          <a:xfrm>
            <a:off x="5171205" y="870647"/>
            <a:ext cx="394200" cy="391716"/>
          </a:xfrm>
          <a:custGeom>
            <a:avLst/>
            <a:gdLst/>
            <a:ahLst/>
            <a:cxnLst>
              <a:cxn ang="0">
                <a:pos x="28" y="139"/>
              </a:cxn>
              <a:cxn ang="0">
                <a:pos x="97" y="174"/>
              </a:cxn>
              <a:cxn ang="0">
                <a:pos x="159" y="111"/>
              </a:cxn>
              <a:cxn ang="0">
                <a:pos x="181" y="104"/>
              </a:cxn>
              <a:cxn ang="0">
                <a:pos x="236" y="147"/>
              </a:cxn>
              <a:cxn ang="0">
                <a:pos x="263" y="100"/>
              </a:cxn>
              <a:cxn ang="0">
                <a:pos x="289" y="156"/>
              </a:cxn>
              <a:cxn ang="0">
                <a:pos x="303" y="239"/>
              </a:cxn>
              <a:cxn ang="0">
                <a:pos x="265" y="309"/>
              </a:cxn>
              <a:cxn ang="0">
                <a:pos x="230" y="305"/>
              </a:cxn>
              <a:cxn ang="0">
                <a:pos x="219" y="276"/>
              </a:cxn>
              <a:cxn ang="0">
                <a:pos x="119" y="263"/>
              </a:cxn>
              <a:cxn ang="0">
                <a:pos x="60" y="198"/>
              </a:cxn>
              <a:cxn ang="0">
                <a:pos x="10" y="287"/>
              </a:cxn>
              <a:cxn ang="0">
                <a:pos x="321" y="444"/>
              </a:cxn>
              <a:cxn ang="0">
                <a:pos x="164" y="379"/>
              </a:cxn>
              <a:cxn ang="0">
                <a:pos x="293" y="402"/>
              </a:cxn>
              <a:cxn ang="0">
                <a:pos x="306" y="421"/>
              </a:cxn>
              <a:cxn ang="0">
                <a:pos x="36" y="281"/>
              </a:cxn>
              <a:cxn ang="0">
                <a:pos x="37" y="212"/>
              </a:cxn>
              <a:cxn ang="0">
                <a:pos x="132" y="287"/>
              </a:cxn>
              <a:cxn ang="0">
                <a:pos x="196" y="289"/>
              </a:cxn>
              <a:cxn ang="0">
                <a:pos x="206" y="317"/>
              </a:cxn>
              <a:cxn ang="0">
                <a:pos x="250" y="332"/>
              </a:cxn>
              <a:cxn ang="0">
                <a:pos x="315" y="276"/>
              </a:cxn>
              <a:cxn ang="0">
                <a:pos x="305" y="133"/>
              </a:cxn>
              <a:cxn ang="0">
                <a:pos x="283" y="73"/>
              </a:cxn>
              <a:cxn ang="0">
                <a:pos x="221" y="118"/>
              </a:cxn>
              <a:cxn ang="0">
                <a:pos x="197" y="78"/>
              </a:cxn>
              <a:cxn ang="0">
                <a:pos x="124" y="109"/>
              </a:cxn>
              <a:cxn ang="0">
                <a:pos x="64" y="152"/>
              </a:cxn>
              <a:cxn ang="0">
                <a:pos x="177" y="45"/>
              </a:cxn>
              <a:cxn ang="0">
                <a:pos x="435" y="207"/>
              </a:cxn>
              <a:cxn ang="0">
                <a:pos x="421" y="243"/>
              </a:cxn>
              <a:cxn ang="0">
                <a:pos x="355" y="228"/>
              </a:cxn>
              <a:cxn ang="0">
                <a:pos x="334" y="277"/>
              </a:cxn>
              <a:cxn ang="0">
                <a:pos x="344" y="348"/>
              </a:cxn>
              <a:cxn ang="0">
                <a:pos x="407" y="308"/>
              </a:cxn>
              <a:cxn ang="0">
                <a:pos x="395" y="358"/>
              </a:cxn>
              <a:cxn ang="0">
                <a:pos x="353" y="416"/>
              </a:cxn>
              <a:cxn ang="0">
                <a:pos x="446" y="325"/>
              </a:cxn>
              <a:cxn ang="0">
                <a:pos x="405" y="281"/>
              </a:cxn>
              <a:cxn ang="0">
                <a:pos x="348" y="321"/>
              </a:cxn>
              <a:cxn ang="0">
                <a:pos x="368" y="282"/>
              </a:cxn>
              <a:cxn ang="0">
                <a:pos x="378" y="243"/>
              </a:cxn>
              <a:cxn ang="0">
                <a:pos x="402" y="263"/>
              </a:cxn>
              <a:cxn ang="0">
                <a:pos x="462" y="203"/>
              </a:cxn>
              <a:cxn ang="0">
                <a:pos x="168" y="19"/>
              </a:cxn>
            </a:cxnLst>
            <a:rect l="0" t="0" r="r" b="b"/>
            <a:pathLst>
              <a:path w="465" h="463">
                <a:moveTo>
                  <a:pt x="168" y="19"/>
                </a:moveTo>
                <a:cubicBezTo>
                  <a:pt x="158" y="22"/>
                  <a:pt x="75" y="46"/>
                  <a:pt x="30" y="133"/>
                </a:cubicBezTo>
                <a:cubicBezTo>
                  <a:pt x="29" y="135"/>
                  <a:pt x="28" y="137"/>
                  <a:pt x="28" y="139"/>
                </a:cubicBezTo>
                <a:cubicBezTo>
                  <a:pt x="28" y="141"/>
                  <a:pt x="29" y="157"/>
                  <a:pt x="46" y="172"/>
                </a:cubicBezTo>
                <a:cubicBezTo>
                  <a:pt x="62" y="186"/>
                  <a:pt x="84" y="181"/>
                  <a:pt x="94" y="175"/>
                </a:cubicBezTo>
                <a:cubicBezTo>
                  <a:pt x="95" y="175"/>
                  <a:pt x="96" y="174"/>
                  <a:pt x="97" y="174"/>
                </a:cubicBezTo>
                <a:cubicBezTo>
                  <a:pt x="105" y="168"/>
                  <a:pt x="110" y="160"/>
                  <a:pt x="116" y="152"/>
                </a:cubicBezTo>
                <a:cubicBezTo>
                  <a:pt x="121" y="145"/>
                  <a:pt x="127" y="136"/>
                  <a:pt x="131" y="135"/>
                </a:cubicBezTo>
                <a:cubicBezTo>
                  <a:pt x="146" y="132"/>
                  <a:pt x="153" y="120"/>
                  <a:pt x="159" y="111"/>
                </a:cubicBezTo>
                <a:cubicBezTo>
                  <a:pt x="161" y="108"/>
                  <a:pt x="163" y="104"/>
                  <a:pt x="164" y="103"/>
                </a:cubicBezTo>
                <a:cubicBezTo>
                  <a:pt x="168" y="100"/>
                  <a:pt x="175" y="100"/>
                  <a:pt x="181" y="101"/>
                </a:cubicBezTo>
                <a:cubicBezTo>
                  <a:pt x="181" y="102"/>
                  <a:pt x="181" y="103"/>
                  <a:pt x="181" y="104"/>
                </a:cubicBezTo>
                <a:cubicBezTo>
                  <a:pt x="184" y="117"/>
                  <a:pt x="188" y="134"/>
                  <a:pt x="202" y="138"/>
                </a:cubicBezTo>
                <a:cubicBezTo>
                  <a:pt x="203" y="139"/>
                  <a:pt x="206" y="141"/>
                  <a:pt x="209" y="142"/>
                </a:cubicBezTo>
                <a:cubicBezTo>
                  <a:pt x="217" y="146"/>
                  <a:pt x="227" y="151"/>
                  <a:pt x="236" y="147"/>
                </a:cubicBezTo>
                <a:cubicBezTo>
                  <a:pt x="239" y="145"/>
                  <a:pt x="244" y="141"/>
                  <a:pt x="246" y="133"/>
                </a:cubicBezTo>
                <a:cubicBezTo>
                  <a:pt x="249" y="112"/>
                  <a:pt x="255" y="93"/>
                  <a:pt x="260" y="86"/>
                </a:cubicBezTo>
                <a:cubicBezTo>
                  <a:pt x="261" y="90"/>
                  <a:pt x="262" y="96"/>
                  <a:pt x="263" y="100"/>
                </a:cubicBezTo>
                <a:cubicBezTo>
                  <a:pt x="264" y="105"/>
                  <a:pt x="265" y="110"/>
                  <a:pt x="266" y="114"/>
                </a:cubicBezTo>
                <a:cubicBezTo>
                  <a:pt x="272" y="131"/>
                  <a:pt x="277" y="142"/>
                  <a:pt x="285" y="151"/>
                </a:cubicBezTo>
                <a:cubicBezTo>
                  <a:pt x="285" y="151"/>
                  <a:pt x="289" y="156"/>
                  <a:pt x="289" y="156"/>
                </a:cubicBezTo>
                <a:cubicBezTo>
                  <a:pt x="301" y="169"/>
                  <a:pt x="311" y="180"/>
                  <a:pt x="314" y="191"/>
                </a:cubicBezTo>
                <a:cubicBezTo>
                  <a:pt x="315" y="194"/>
                  <a:pt x="315" y="197"/>
                  <a:pt x="315" y="200"/>
                </a:cubicBezTo>
                <a:cubicBezTo>
                  <a:pt x="315" y="209"/>
                  <a:pt x="312" y="220"/>
                  <a:pt x="303" y="239"/>
                </a:cubicBezTo>
                <a:cubicBezTo>
                  <a:pt x="299" y="246"/>
                  <a:pt x="295" y="255"/>
                  <a:pt x="290" y="265"/>
                </a:cubicBezTo>
                <a:cubicBezTo>
                  <a:pt x="284" y="278"/>
                  <a:pt x="274" y="301"/>
                  <a:pt x="267" y="310"/>
                </a:cubicBezTo>
                <a:cubicBezTo>
                  <a:pt x="266" y="310"/>
                  <a:pt x="266" y="310"/>
                  <a:pt x="265" y="309"/>
                </a:cubicBezTo>
                <a:cubicBezTo>
                  <a:pt x="261" y="307"/>
                  <a:pt x="257" y="305"/>
                  <a:pt x="250" y="305"/>
                </a:cubicBezTo>
                <a:cubicBezTo>
                  <a:pt x="244" y="305"/>
                  <a:pt x="244" y="305"/>
                  <a:pt x="244" y="305"/>
                </a:cubicBezTo>
                <a:cubicBezTo>
                  <a:pt x="241" y="305"/>
                  <a:pt x="234" y="306"/>
                  <a:pt x="230" y="305"/>
                </a:cubicBezTo>
                <a:cubicBezTo>
                  <a:pt x="230" y="303"/>
                  <a:pt x="229" y="301"/>
                  <a:pt x="229" y="300"/>
                </a:cubicBezTo>
                <a:cubicBezTo>
                  <a:pt x="228" y="294"/>
                  <a:pt x="227" y="288"/>
                  <a:pt x="223" y="282"/>
                </a:cubicBezTo>
                <a:cubicBezTo>
                  <a:pt x="223" y="282"/>
                  <a:pt x="219" y="276"/>
                  <a:pt x="219" y="276"/>
                </a:cubicBezTo>
                <a:cubicBezTo>
                  <a:pt x="216" y="270"/>
                  <a:pt x="213" y="265"/>
                  <a:pt x="204" y="258"/>
                </a:cubicBezTo>
                <a:cubicBezTo>
                  <a:pt x="189" y="243"/>
                  <a:pt x="167" y="246"/>
                  <a:pt x="148" y="250"/>
                </a:cubicBezTo>
                <a:cubicBezTo>
                  <a:pt x="141" y="252"/>
                  <a:pt x="132" y="256"/>
                  <a:pt x="119" y="263"/>
                </a:cubicBezTo>
                <a:cubicBezTo>
                  <a:pt x="111" y="268"/>
                  <a:pt x="94" y="277"/>
                  <a:pt x="87" y="278"/>
                </a:cubicBezTo>
                <a:cubicBezTo>
                  <a:pt x="84" y="275"/>
                  <a:pt x="77" y="264"/>
                  <a:pt x="77" y="255"/>
                </a:cubicBezTo>
                <a:cubicBezTo>
                  <a:pt x="76" y="240"/>
                  <a:pt x="74" y="218"/>
                  <a:pt x="60" y="198"/>
                </a:cubicBezTo>
                <a:cubicBezTo>
                  <a:pt x="49" y="181"/>
                  <a:pt x="36" y="180"/>
                  <a:pt x="24" y="180"/>
                </a:cubicBezTo>
                <a:cubicBezTo>
                  <a:pt x="20" y="180"/>
                  <a:pt x="16" y="182"/>
                  <a:pt x="13" y="185"/>
                </a:cubicBezTo>
                <a:cubicBezTo>
                  <a:pt x="4" y="196"/>
                  <a:pt x="0" y="240"/>
                  <a:pt x="10" y="287"/>
                </a:cubicBezTo>
                <a:cubicBezTo>
                  <a:pt x="15" y="313"/>
                  <a:pt x="29" y="343"/>
                  <a:pt x="48" y="370"/>
                </a:cubicBezTo>
                <a:cubicBezTo>
                  <a:pt x="79" y="412"/>
                  <a:pt x="145" y="463"/>
                  <a:pt x="231" y="463"/>
                </a:cubicBezTo>
                <a:cubicBezTo>
                  <a:pt x="272" y="463"/>
                  <a:pt x="302" y="456"/>
                  <a:pt x="321" y="444"/>
                </a:cubicBezTo>
                <a:cubicBezTo>
                  <a:pt x="330" y="438"/>
                  <a:pt x="334" y="429"/>
                  <a:pt x="333" y="418"/>
                </a:cubicBezTo>
                <a:cubicBezTo>
                  <a:pt x="332" y="400"/>
                  <a:pt x="315" y="383"/>
                  <a:pt x="304" y="378"/>
                </a:cubicBezTo>
                <a:cubicBezTo>
                  <a:pt x="282" y="368"/>
                  <a:pt x="211" y="353"/>
                  <a:pt x="164" y="379"/>
                </a:cubicBezTo>
                <a:cubicBezTo>
                  <a:pt x="157" y="383"/>
                  <a:pt x="155" y="391"/>
                  <a:pt x="159" y="397"/>
                </a:cubicBezTo>
                <a:cubicBezTo>
                  <a:pt x="162" y="404"/>
                  <a:pt x="171" y="406"/>
                  <a:pt x="177" y="403"/>
                </a:cubicBezTo>
                <a:cubicBezTo>
                  <a:pt x="214" y="382"/>
                  <a:pt x="276" y="394"/>
                  <a:pt x="293" y="402"/>
                </a:cubicBezTo>
                <a:cubicBezTo>
                  <a:pt x="298" y="405"/>
                  <a:pt x="306" y="416"/>
                  <a:pt x="306" y="421"/>
                </a:cubicBezTo>
                <a:cubicBezTo>
                  <a:pt x="306" y="421"/>
                  <a:pt x="306" y="421"/>
                  <a:pt x="306" y="421"/>
                </a:cubicBezTo>
                <a:cubicBezTo>
                  <a:pt x="306" y="421"/>
                  <a:pt x="306" y="421"/>
                  <a:pt x="306" y="421"/>
                </a:cubicBezTo>
                <a:cubicBezTo>
                  <a:pt x="298" y="427"/>
                  <a:pt x="278" y="436"/>
                  <a:pt x="231" y="436"/>
                </a:cubicBezTo>
                <a:cubicBezTo>
                  <a:pt x="160" y="435"/>
                  <a:pt x="99" y="394"/>
                  <a:pt x="70" y="354"/>
                </a:cubicBezTo>
                <a:cubicBezTo>
                  <a:pt x="53" y="330"/>
                  <a:pt x="41" y="304"/>
                  <a:pt x="36" y="281"/>
                </a:cubicBezTo>
                <a:cubicBezTo>
                  <a:pt x="33" y="262"/>
                  <a:pt x="31" y="246"/>
                  <a:pt x="31" y="234"/>
                </a:cubicBezTo>
                <a:cubicBezTo>
                  <a:pt x="31" y="222"/>
                  <a:pt x="32" y="214"/>
                  <a:pt x="33" y="208"/>
                </a:cubicBezTo>
                <a:cubicBezTo>
                  <a:pt x="35" y="209"/>
                  <a:pt x="36" y="210"/>
                  <a:pt x="37" y="212"/>
                </a:cubicBezTo>
                <a:cubicBezTo>
                  <a:pt x="47" y="227"/>
                  <a:pt x="49" y="244"/>
                  <a:pt x="50" y="256"/>
                </a:cubicBezTo>
                <a:cubicBezTo>
                  <a:pt x="51" y="272"/>
                  <a:pt x="63" y="303"/>
                  <a:pt x="84" y="305"/>
                </a:cubicBezTo>
                <a:cubicBezTo>
                  <a:pt x="96" y="306"/>
                  <a:pt x="110" y="299"/>
                  <a:pt x="132" y="287"/>
                </a:cubicBezTo>
                <a:cubicBezTo>
                  <a:pt x="140" y="283"/>
                  <a:pt x="150" y="277"/>
                  <a:pt x="154" y="277"/>
                </a:cubicBezTo>
                <a:cubicBezTo>
                  <a:pt x="165" y="274"/>
                  <a:pt x="180" y="272"/>
                  <a:pt x="186" y="277"/>
                </a:cubicBezTo>
                <a:cubicBezTo>
                  <a:pt x="192" y="283"/>
                  <a:pt x="193" y="285"/>
                  <a:pt x="196" y="289"/>
                </a:cubicBezTo>
                <a:cubicBezTo>
                  <a:pt x="200" y="297"/>
                  <a:pt x="200" y="297"/>
                  <a:pt x="200" y="297"/>
                </a:cubicBezTo>
                <a:cubicBezTo>
                  <a:pt x="201" y="298"/>
                  <a:pt x="202" y="302"/>
                  <a:pt x="202" y="305"/>
                </a:cubicBezTo>
                <a:cubicBezTo>
                  <a:pt x="203" y="309"/>
                  <a:pt x="204" y="313"/>
                  <a:pt x="206" y="317"/>
                </a:cubicBezTo>
                <a:cubicBezTo>
                  <a:pt x="213" y="334"/>
                  <a:pt x="234" y="333"/>
                  <a:pt x="246" y="332"/>
                </a:cubicBezTo>
                <a:cubicBezTo>
                  <a:pt x="246" y="332"/>
                  <a:pt x="249" y="332"/>
                  <a:pt x="250" y="332"/>
                </a:cubicBezTo>
                <a:cubicBezTo>
                  <a:pt x="250" y="332"/>
                  <a:pt x="250" y="332"/>
                  <a:pt x="250" y="332"/>
                </a:cubicBezTo>
                <a:cubicBezTo>
                  <a:pt x="253" y="333"/>
                  <a:pt x="256" y="336"/>
                  <a:pt x="261" y="338"/>
                </a:cubicBezTo>
                <a:cubicBezTo>
                  <a:pt x="278" y="346"/>
                  <a:pt x="290" y="325"/>
                  <a:pt x="295" y="317"/>
                </a:cubicBezTo>
                <a:cubicBezTo>
                  <a:pt x="302" y="305"/>
                  <a:pt x="308" y="290"/>
                  <a:pt x="315" y="276"/>
                </a:cubicBezTo>
                <a:cubicBezTo>
                  <a:pt x="319" y="267"/>
                  <a:pt x="323" y="258"/>
                  <a:pt x="327" y="251"/>
                </a:cubicBezTo>
                <a:cubicBezTo>
                  <a:pt x="358" y="192"/>
                  <a:pt x="336" y="168"/>
                  <a:pt x="309" y="138"/>
                </a:cubicBezTo>
                <a:cubicBezTo>
                  <a:pt x="305" y="133"/>
                  <a:pt x="305" y="133"/>
                  <a:pt x="305" y="133"/>
                </a:cubicBezTo>
                <a:cubicBezTo>
                  <a:pt x="300" y="127"/>
                  <a:pt x="296" y="119"/>
                  <a:pt x="292" y="106"/>
                </a:cubicBezTo>
                <a:cubicBezTo>
                  <a:pt x="291" y="103"/>
                  <a:pt x="291" y="99"/>
                  <a:pt x="290" y="95"/>
                </a:cubicBezTo>
                <a:cubicBezTo>
                  <a:pt x="288" y="88"/>
                  <a:pt x="287" y="80"/>
                  <a:pt x="283" y="73"/>
                </a:cubicBezTo>
                <a:cubicBezTo>
                  <a:pt x="278" y="62"/>
                  <a:pt x="268" y="57"/>
                  <a:pt x="257" y="58"/>
                </a:cubicBezTo>
                <a:cubicBezTo>
                  <a:pt x="240" y="59"/>
                  <a:pt x="232" y="79"/>
                  <a:pt x="227" y="93"/>
                </a:cubicBezTo>
                <a:cubicBezTo>
                  <a:pt x="224" y="102"/>
                  <a:pt x="222" y="111"/>
                  <a:pt x="221" y="118"/>
                </a:cubicBezTo>
                <a:cubicBezTo>
                  <a:pt x="218" y="116"/>
                  <a:pt x="215" y="115"/>
                  <a:pt x="213" y="114"/>
                </a:cubicBezTo>
                <a:cubicBezTo>
                  <a:pt x="211" y="111"/>
                  <a:pt x="209" y="102"/>
                  <a:pt x="208" y="98"/>
                </a:cubicBezTo>
                <a:cubicBezTo>
                  <a:pt x="206" y="89"/>
                  <a:pt x="204" y="82"/>
                  <a:pt x="197" y="78"/>
                </a:cubicBezTo>
                <a:cubicBezTo>
                  <a:pt x="190" y="75"/>
                  <a:pt x="164" y="68"/>
                  <a:pt x="147" y="82"/>
                </a:cubicBezTo>
                <a:cubicBezTo>
                  <a:pt x="142" y="86"/>
                  <a:pt x="139" y="92"/>
                  <a:pt x="136" y="97"/>
                </a:cubicBezTo>
                <a:cubicBezTo>
                  <a:pt x="131" y="104"/>
                  <a:pt x="128" y="108"/>
                  <a:pt x="124" y="109"/>
                </a:cubicBezTo>
                <a:cubicBezTo>
                  <a:pt x="111" y="112"/>
                  <a:pt x="102" y="124"/>
                  <a:pt x="94" y="136"/>
                </a:cubicBezTo>
                <a:cubicBezTo>
                  <a:pt x="90" y="142"/>
                  <a:pt x="85" y="148"/>
                  <a:pt x="81" y="152"/>
                </a:cubicBezTo>
                <a:cubicBezTo>
                  <a:pt x="77" y="153"/>
                  <a:pt x="68" y="155"/>
                  <a:pt x="64" y="152"/>
                </a:cubicBezTo>
                <a:cubicBezTo>
                  <a:pt x="59" y="147"/>
                  <a:pt x="57" y="144"/>
                  <a:pt x="56" y="141"/>
                </a:cubicBezTo>
                <a:cubicBezTo>
                  <a:pt x="98" y="65"/>
                  <a:pt x="175" y="46"/>
                  <a:pt x="176" y="46"/>
                </a:cubicBezTo>
                <a:cubicBezTo>
                  <a:pt x="176" y="45"/>
                  <a:pt x="177" y="45"/>
                  <a:pt x="177" y="45"/>
                </a:cubicBezTo>
                <a:cubicBezTo>
                  <a:pt x="178" y="45"/>
                  <a:pt x="223" y="28"/>
                  <a:pt x="288" y="44"/>
                </a:cubicBezTo>
                <a:cubicBezTo>
                  <a:pt x="312" y="50"/>
                  <a:pt x="371" y="71"/>
                  <a:pt x="410" y="136"/>
                </a:cubicBezTo>
                <a:cubicBezTo>
                  <a:pt x="424" y="161"/>
                  <a:pt x="433" y="190"/>
                  <a:pt x="435" y="207"/>
                </a:cubicBezTo>
                <a:cubicBezTo>
                  <a:pt x="437" y="220"/>
                  <a:pt x="437" y="231"/>
                  <a:pt x="437" y="240"/>
                </a:cubicBezTo>
                <a:cubicBezTo>
                  <a:pt x="437" y="243"/>
                  <a:pt x="437" y="245"/>
                  <a:pt x="437" y="247"/>
                </a:cubicBezTo>
                <a:cubicBezTo>
                  <a:pt x="432" y="247"/>
                  <a:pt x="425" y="245"/>
                  <a:pt x="421" y="243"/>
                </a:cubicBezTo>
                <a:cubicBezTo>
                  <a:pt x="421" y="243"/>
                  <a:pt x="421" y="242"/>
                  <a:pt x="421" y="242"/>
                </a:cubicBezTo>
                <a:cubicBezTo>
                  <a:pt x="421" y="230"/>
                  <a:pt x="414" y="219"/>
                  <a:pt x="402" y="214"/>
                </a:cubicBezTo>
                <a:cubicBezTo>
                  <a:pt x="387" y="209"/>
                  <a:pt x="365" y="212"/>
                  <a:pt x="355" y="228"/>
                </a:cubicBezTo>
                <a:cubicBezTo>
                  <a:pt x="351" y="234"/>
                  <a:pt x="350" y="240"/>
                  <a:pt x="350" y="245"/>
                </a:cubicBezTo>
                <a:cubicBezTo>
                  <a:pt x="350" y="250"/>
                  <a:pt x="351" y="255"/>
                  <a:pt x="353" y="260"/>
                </a:cubicBezTo>
                <a:cubicBezTo>
                  <a:pt x="346" y="264"/>
                  <a:pt x="339" y="271"/>
                  <a:pt x="334" y="277"/>
                </a:cubicBezTo>
                <a:cubicBezTo>
                  <a:pt x="329" y="283"/>
                  <a:pt x="316" y="301"/>
                  <a:pt x="316" y="318"/>
                </a:cubicBezTo>
                <a:cubicBezTo>
                  <a:pt x="316" y="322"/>
                  <a:pt x="316" y="326"/>
                  <a:pt x="318" y="329"/>
                </a:cubicBezTo>
                <a:cubicBezTo>
                  <a:pt x="322" y="339"/>
                  <a:pt x="332" y="346"/>
                  <a:pt x="344" y="348"/>
                </a:cubicBezTo>
                <a:cubicBezTo>
                  <a:pt x="361" y="350"/>
                  <a:pt x="378" y="343"/>
                  <a:pt x="390" y="329"/>
                </a:cubicBezTo>
                <a:cubicBezTo>
                  <a:pt x="399" y="317"/>
                  <a:pt x="399" y="317"/>
                  <a:pt x="399" y="317"/>
                </a:cubicBezTo>
                <a:cubicBezTo>
                  <a:pt x="402" y="314"/>
                  <a:pt x="405" y="310"/>
                  <a:pt x="407" y="308"/>
                </a:cubicBezTo>
                <a:cubicBezTo>
                  <a:pt x="413" y="308"/>
                  <a:pt x="420" y="309"/>
                  <a:pt x="423" y="310"/>
                </a:cubicBezTo>
                <a:cubicBezTo>
                  <a:pt x="422" y="311"/>
                  <a:pt x="422" y="312"/>
                  <a:pt x="421" y="314"/>
                </a:cubicBezTo>
                <a:cubicBezTo>
                  <a:pt x="415" y="327"/>
                  <a:pt x="405" y="346"/>
                  <a:pt x="395" y="358"/>
                </a:cubicBezTo>
                <a:cubicBezTo>
                  <a:pt x="381" y="376"/>
                  <a:pt x="361" y="392"/>
                  <a:pt x="355" y="397"/>
                </a:cubicBezTo>
                <a:cubicBezTo>
                  <a:pt x="352" y="400"/>
                  <a:pt x="350" y="404"/>
                  <a:pt x="350" y="408"/>
                </a:cubicBezTo>
                <a:cubicBezTo>
                  <a:pt x="350" y="411"/>
                  <a:pt x="351" y="413"/>
                  <a:pt x="353" y="416"/>
                </a:cubicBezTo>
                <a:cubicBezTo>
                  <a:pt x="357" y="422"/>
                  <a:pt x="366" y="423"/>
                  <a:pt x="372" y="418"/>
                </a:cubicBezTo>
                <a:cubicBezTo>
                  <a:pt x="384" y="408"/>
                  <a:pt x="402" y="393"/>
                  <a:pt x="416" y="375"/>
                </a:cubicBezTo>
                <a:cubicBezTo>
                  <a:pt x="430" y="357"/>
                  <a:pt x="442" y="332"/>
                  <a:pt x="446" y="325"/>
                </a:cubicBezTo>
                <a:cubicBezTo>
                  <a:pt x="453" y="311"/>
                  <a:pt x="450" y="301"/>
                  <a:pt x="446" y="296"/>
                </a:cubicBezTo>
                <a:cubicBezTo>
                  <a:pt x="437" y="281"/>
                  <a:pt x="417" y="281"/>
                  <a:pt x="406" y="281"/>
                </a:cubicBezTo>
                <a:cubicBezTo>
                  <a:pt x="405" y="281"/>
                  <a:pt x="405" y="281"/>
                  <a:pt x="405" y="281"/>
                </a:cubicBezTo>
                <a:cubicBezTo>
                  <a:pt x="393" y="281"/>
                  <a:pt x="387" y="290"/>
                  <a:pt x="378" y="301"/>
                </a:cubicBezTo>
                <a:cubicBezTo>
                  <a:pt x="369" y="312"/>
                  <a:pt x="369" y="312"/>
                  <a:pt x="369" y="312"/>
                </a:cubicBezTo>
                <a:cubicBezTo>
                  <a:pt x="363" y="319"/>
                  <a:pt x="354" y="322"/>
                  <a:pt x="348" y="321"/>
                </a:cubicBezTo>
                <a:cubicBezTo>
                  <a:pt x="347" y="320"/>
                  <a:pt x="344" y="320"/>
                  <a:pt x="343" y="318"/>
                </a:cubicBezTo>
                <a:cubicBezTo>
                  <a:pt x="343" y="318"/>
                  <a:pt x="343" y="318"/>
                  <a:pt x="343" y="318"/>
                </a:cubicBezTo>
                <a:cubicBezTo>
                  <a:pt x="343" y="309"/>
                  <a:pt x="360" y="285"/>
                  <a:pt x="368" y="282"/>
                </a:cubicBezTo>
                <a:cubicBezTo>
                  <a:pt x="373" y="283"/>
                  <a:pt x="378" y="281"/>
                  <a:pt x="381" y="277"/>
                </a:cubicBezTo>
                <a:cubicBezTo>
                  <a:pt x="387" y="270"/>
                  <a:pt x="383" y="262"/>
                  <a:pt x="381" y="257"/>
                </a:cubicBezTo>
                <a:cubicBezTo>
                  <a:pt x="379" y="253"/>
                  <a:pt x="376" y="246"/>
                  <a:pt x="378" y="243"/>
                </a:cubicBezTo>
                <a:cubicBezTo>
                  <a:pt x="380" y="239"/>
                  <a:pt x="387" y="238"/>
                  <a:pt x="392" y="240"/>
                </a:cubicBezTo>
                <a:cubicBezTo>
                  <a:pt x="394" y="241"/>
                  <a:pt x="394" y="241"/>
                  <a:pt x="394" y="243"/>
                </a:cubicBezTo>
                <a:cubicBezTo>
                  <a:pt x="393" y="250"/>
                  <a:pt x="396" y="258"/>
                  <a:pt x="402" y="263"/>
                </a:cubicBezTo>
                <a:cubicBezTo>
                  <a:pt x="414" y="272"/>
                  <a:pt x="440" y="277"/>
                  <a:pt x="453" y="273"/>
                </a:cubicBezTo>
                <a:cubicBezTo>
                  <a:pt x="459" y="270"/>
                  <a:pt x="463" y="265"/>
                  <a:pt x="463" y="259"/>
                </a:cubicBezTo>
                <a:cubicBezTo>
                  <a:pt x="464" y="251"/>
                  <a:pt x="465" y="230"/>
                  <a:pt x="462" y="203"/>
                </a:cubicBezTo>
                <a:cubicBezTo>
                  <a:pt x="459" y="183"/>
                  <a:pt x="450" y="150"/>
                  <a:pt x="433" y="123"/>
                </a:cubicBezTo>
                <a:cubicBezTo>
                  <a:pt x="389" y="48"/>
                  <a:pt x="322" y="24"/>
                  <a:pt x="295" y="18"/>
                </a:cubicBezTo>
                <a:cubicBezTo>
                  <a:pt x="225" y="0"/>
                  <a:pt x="176" y="17"/>
                  <a:pt x="168" y="19"/>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8" name="Freeform 397"/>
          <p:cNvSpPr>
            <a:spLocks noEditPoints="1"/>
          </p:cNvSpPr>
          <p:nvPr userDrawn="1"/>
        </p:nvSpPr>
        <p:spPr bwMode="auto">
          <a:xfrm>
            <a:off x="5224202" y="3300031"/>
            <a:ext cx="288206" cy="391716"/>
          </a:xfrm>
          <a:custGeom>
            <a:avLst/>
            <a:gdLst/>
            <a:ahLst/>
            <a:cxnLst>
              <a:cxn ang="0">
                <a:pos x="58" y="26"/>
              </a:cxn>
              <a:cxn ang="0">
                <a:pos x="35" y="72"/>
              </a:cxn>
              <a:cxn ang="0">
                <a:pos x="39" y="96"/>
              </a:cxn>
              <a:cxn ang="0">
                <a:pos x="130" y="182"/>
              </a:cxn>
              <a:cxn ang="0">
                <a:pos x="15" y="202"/>
              </a:cxn>
              <a:cxn ang="0">
                <a:pos x="4" y="205"/>
              </a:cxn>
              <a:cxn ang="0">
                <a:pos x="0" y="215"/>
              </a:cxn>
              <a:cxn ang="0">
                <a:pos x="0" y="379"/>
              </a:cxn>
              <a:cxn ang="0">
                <a:pos x="8" y="392"/>
              </a:cxn>
              <a:cxn ang="0">
                <a:pos x="170" y="461"/>
              </a:cxn>
              <a:cxn ang="0">
                <a:pos x="183" y="460"/>
              </a:cxn>
              <a:cxn ang="0">
                <a:pos x="189" y="449"/>
              </a:cxn>
              <a:cxn ang="0">
                <a:pos x="189" y="286"/>
              </a:cxn>
              <a:cxn ang="0">
                <a:pos x="175" y="273"/>
              </a:cxn>
              <a:cxn ang="0">
                <a:pos x="162" y="286"/>
              </a:cxn>
              <a:cxn ang="0">
                <a:pos x="162" y="428"/>
              </a:cxn>
              <a:cxn ang="0">
                <a:pos x="27" y="371"/>
              </a:cxn>
              <a:cxn ang="0">
                <a:pos x="27" y="228"/>
              </a:cxn>
              <a:cxn ang="0">
                <a:pos x="163" y="201"/>
              </a:cxn>
              <a:cxn ang="0">
                <a:pos x="171" y="199"/>
              </a:cxn>
              <a:cxn ang="0">
                <a:pos x="312" y="220"/>
              </a:cxn>
              <a:cxn ang="0">
                <a:pos x="312" y="358"/>
              </a:cxn>
              <a:cxn ang="0">
                <a:pos x="218" y="413"/>
              </a:cxn>
              <a:cxn ang="0">
                <a:pos x="211" y="424"/>
              </a:cxn>
              <a:cxn ang="0">
                <a:pos x="213" y="431"/>
              </a:cxn>
              <a:cxn ang="0">
                <a:pos x="231" y="436"/>
              </a:cxn>
              <a:cxn ang="0">
                <a:pos x="332" y="378"/>
              </a:cxn>
              <a:cxn ang="0">
                <a:pos x="339" y="366"/>
              </a:cxn>
              <a:cxn ang="0">
                <a:pos x="339" y="206"/>
              </a:cxn>
              <a:cxn ang="0">
                <a:pos x="335" y="197"/>
              </a:cxn>
              <a:cxn ang="0">
                <a:pos x="325" y="193"/>
              </a:cxn>
              <a:cxn ang="0">
                <a:pos x="216" y="184"/>
              </a:cxn>
              <a:cxn ang="0">
                <a:pos x="304" y="121"/>
              </a:cxn>
              <a:cxn ang="0">
                <a:pos x="307" y="107"/>
              </a:cxn>
              <a:cxn ang="0">
                <a:pos x="285" y="69"/>
              </a:cxn>
              <a:cxn ang="0">
                <a:pos x="225" y="56"/>
              </a:cxn>
              <a:cxn ang="0">
                <a:pos x="187" y="103"/>
              </a:cxn>
              <a:cxn ang="0">
                <a:pos x="131" y="9"/>
              </a:cxn>
              <a:cxn ang="0">
                <a:pos x="58" y="26"/>
              </a:cxn>
              <a:cxn ang="0">
                <a:pos x="64" y="87"/>
              </a:cxn>
              <a:cxn ang="0">
                <a:pos x="61" y="72"/>
              </a:cxn>
              <a:cxn ang="0">
                <a:pos x="74" y="47"/>
              </a:cxn>
              <a:cxn ang="0">
                <a:pos x="120" y="34"/>
              </a:cxn>
              <a:cxn ang="0">
                <a:pos x="170" y="170"/>
              </a:cxn>
              <a:cxn ang="0">
                <a:pos x="64" y="87"/>
              </a:cxn>
              <a:cxn ang="0">
                <a:pos x="236" y="81"/>
              </a:cxn>
              <a:cxn ang="0">
                <a:pos x="268" y="90"/>
              </a:cxn>
              <a:cxn ang="0">
                <a:pos x="281" y="107"/>
              </a:cxn>
              <a:cxn ang="0">
                <a:pos x="280" y="112"/>
              </a:cxn>
              <a:cxn ang="0">
                <a:pos x="199" y="161"/>
              </a:cxn>
              <a:cxn ang="0">
                <a:pos x="236" y="81"/>
              </a:cxn>
            </a:cxnLst>
            <a:rect l="0" t="0" r="r" b="b"/>
            <a:pathLst>
              <a:path w="339" h="463">
                <a:moveTo>
                  <a:pt x="58" y="26"/>
                </a:moveTo>
                <a:cubicBezTo>
                  <a:pt x="43" y="38"/>
                  <a:pt x="35" y="54"/>
                  <a:pt x="35" y="72"/>
                </a:cubicBezTo>
                <a:cubicBezTo>
                  <a:pt x="35" y="79"/>
                  <a:pt x="36" y="88"/>
                  <a:pt x="39" y="96"/>
                </a:cubicBezTo>
                <a:cubicBezTo>
                  <a:pt x="50" y="127"/>
                  <a:pt x="82" y="159"/>
                  <a:pt x="130" y="182"/>
                </a:cubicBezTo>
                <a:cubicBezTo>
                  <a:pt x="77" y="196"/>
                  <a:pt x="29" y="203"/>
                  <a:pt x="15" y="202"/>
                </a:cubicBezTo>
                <a:cubicBezTo>
                  <a:pt x="11" y="201"/>
                  <a:pt x="7" y="203"/>
                  <a:pt x="4" y="205"/>
                </a:cubicBezTo>
                <a:cubicBezTo>
                  <a:pt x="2" y="208"/>
                  <a:pt x="0" y="211"/>
                  <a:pt x="0" y="215"/>
                </a:cubicBezTo>
                <a:cubicBezTo>
                  <a:pt x="0" y="379"/>
                  <a:pt x="0" y="379"/>
                  <a:pt x="0" y="379"/>
                </a:cubicBezTo>
                <a:cubicBezTo>
                  <a:pt x="0" y="385"/>
                  <a:pt x="3" y="390"/>
                  <a:pt x="8" y="392"/>
                </a:cubicBezTo>
                <a:cubicBezTo>
                  <a:pt x="170" y="461"/>
                  <a:pt x="170" y="461"/>
                  <a:pt x="170" y="461"/>
                </a:cubicBezTo>
                <a:cubicBezTo>
                  <a:pt x="174" y="463"/>
                  <a:pt x="179" y="462"/>
                  <a:pt x="183" y="460"/>
                </a:cubicBezTo>
                <a:cubicBezTo>
                  <a:pt x="187" y="457"/>
                  <a:pt x="189" y="453"/>
                  <a:pt x="189" y="449"/>
                </a:cubicBezTo>
                <a:cubicBezTo>
                  <a:pt x="189" y="286"/>
                  <a:pt x="189" y="286"/>
                  <a:pt x="189" y="286"/>
                </a:cubicBezTo>
                <a:cubicBezTo>
                  <a:pt x="189" y="279"/>
                  <a:pt x="183" y="273"/>
                  <a:pt x="175" y="273"/>
                </a:cubicBezTo>
                <a:cubicBezTo>
                  <a:pt x="168" y="273"/>
                  <a:pt x="162" y="279"/>
                  <a:pt x="162" y="286"/>
                </a:cubicBezTo>
                <a:cubicBezTo>
                  <a:pt x="162" y="286"/>
                  <a:pt x="162" y="397"/>
                  <a:pt x="162" y="428"/>
                </a:cubicBezTo>
                <a:cubicBezTo>
                  <a:pt x="135" y="417"/>
                  <a:pt x="40" y="376"/>
                  <a:pt x="27" y="371"/>
                </a:cubicBezTo>
                <a:cubicBezTo>
                  <a:pt x="27" y="356"/>
                  <a:pt x="27" y="249"/>
                  <a:pt x="27" y="228"/>
                </a:cubicBezTo>
                <a:cubicBezTo>
                  <a:pt x="57" y="227"/>
                  <a:pt x="113" y="216"/>
                  <a:pt x="163" y="201"/>
                </a:cubicBezTo>
                <a:cubicBezTo>
                  <a:pt x="166" y="200"/>
                  <a:pt x="168" y="200"/>
                  <a:pt x="171" y="199"/>
                </a:cubicBezTo>
                <a:cubicBezTo>
                  <a:pt x="211" y="212"/>
                  <a:pt x="258" y="220"/>
                  <a:pt x="312" y="220"/>
                </a:cubicBezTo>
                <a:cubicBezTo>
                  <a:pt x="312" y="241"/>
                  <a:pt x="312" y="346"/>
                  <a:pt x="312" y="358"/>
                </a:cubicBezTo>
                <a:cubicBezTo>
                  <a:pt x="300" y="365"/>
                  <a:pt x="218" y="413"/>
                  <a:pt x="218" y="413"/>
                </a:cubicBezTo>
                <a:cubicBezTo>
                  <a:pt x="214" y="415"/>
                  <a:pt x="211" y="420"/>
                  <a:pt x="211" y="424"/>
                </a:cubicBezTo>
                <a:cubicBezTo>
                  <a:pt x="211" y="426"/>
                  <a:pt x="212" y="429"/>
                  <a:pt x="213" y="431"/>
                </a:cubicBezTo>
                <a:cubicBezTo>
                  <a:pt x="217" y="437"/>
                  <a:pt x="225" y="439"/>
                  <a:pt x="231" y="436"/>
                </a:cubicBezTo>
                <a:cubicBezTo>
                  <a:pt x="332" y="378"/>
                  <a:pt x="332" y="378"/>
                  <a:pt x="332" y="378"/>
                </a:cubicBezTo>
                <a:cubicBezTo>
                  <a:pt x="336" y="375"/>
                  <a:pt x="339" y="371"/>
                  <a:pt x="339" y="366"/>
                </a:cubicBezTo>
                <a:cubicBezTo>
                  <a:pt x="339" y="206"/>
                  <a:pt x="339" y="206"/>
                  <a:pt x="339" y="206"/>
                </a:cubicBezTo>
                <a:cubicBezTo>
                  <a:pt x="339" y="203"/>
                  <a:pt x="337" y="199"/>
                  <a:pt x="335" y="197"/>
                </a:cubicBezTo>
                <a:cubicBezTo>
                  <a:pt x="332" y="194"/>
                  <a:pt x="328" y="193"/>
                  <a:pt x="325" y="193"/>
                </a:cubicBezTo>
                <a:cubicBezTo>
                  <a:pt x="284" y="194"/>
                  <a:pt x="247" y="191"/>
                  <a:pt x="216" y="184"/>
                </a:cubicBezTo>
                <a:cubicBezTo>
                  <a:pt x="266" y="164"/>
                  <a:pt x="296" y="143"/>
                  <a:pt x="304" y="121"/>
                </a:cubicBezTo>
                <a:cubicBezTo>
                  <a:pt x="306" y="118"/>
                  <a:pt x="307" y="113"/>
                  <a:pt x="307" y="107"/>
                </a:cubicBezTo>
                <a:cubicBezTo>
                  <a:pt x="307" y="97"/>
                  <a:pt x="302" y="83"/>
                  <a:pt x="285" y="69"/>
                </a:cubicBezTo>
                <a:cubicBezTo>
                  <a:pt x="263" y="53"/>
                  <a:pt x="243" y="48"/>
                  <a:pt x="225" y="56"/>
                </a:cubicBezTo>
                <a:cubicBezTo>
                  <a:pt x="207" y="64"/>
                  <a:pt x="195" y="83"/>
                  <a:pt x="187" y="103"/>
                </a:cubicBezTo>
                <a:cubicBezTo>
                  <a:pt x="177" y="63"/>
                  <a:pt x="161" y="22"/>
                  <a:pt x="131" y="9"/>
                </a:cubicBezTo>
                <a:cubicBezTo>
                  <a:pt x="109" y="0"/>
                  <a:pt x="85" y="5"/>
                  <a:pt x="58" y="26"/>
                </a:cubicBezTo>
                <a:close/>
                <a:moveTo>
                  <a:pt x="64" y="87"/>
                </a:moveTo>
                <a:cubicBezTo>
                  <a:pt x="62" y="81"/>
                  <a:pt x="61" y="76"/>
                  <a:pt x="61" y="72"/>
                </a:cubicBezTo>
                <a:cubicBezTo>
                  <a:pt x="61" y="62"/>
                  <a:pt x="66" y="53"/>
                  <a:pt x="74" y="47"/>
                </a:cubicBezTo>
                <a:cubicBezTo>
                  <a:pt x="93" y="33"/>
                  <a:pt x="108" y="28"/>
                  <a:pt x="120" y="34"/>
                </a:cubicBezTo>
                <a:cubicBezTo>
                  <a:pt x="144" y="45"/>
                  <a:pt x="163" y="97"/>
                  <a:pt x="170" y="170"/>
                </a:cubicBezTo>
                <a:cubicBezTo>
                  <a:pt x="111" y="148"/>
                  <a:pt x="74" y="115"/>
                  <a:pt x="64" y="87"/>
                </a:cubicBezTo>
                <a:close/>
                <a:moveTo>
                  <a:pt x="236" y="81"/>
                </a:moveTo>
                <a:cubicBezTo>
                  <a:pt x="244" y="77"/>
                  <a:pt x="255" y="80"/>
                  <a:pt x="268" y="90"/>
                </a:cubicBezTo>
                <a:cubicBezTo>
                  <a:pt x="278" y="98"/>
                  <a:pt x="281" y="104"/>
                  <a:pt x="281" y="107"/>
                </a:cubicBezTo>
                <a:cubicBezTo>
                  <a:pt x="281" y="109"/>
                  <a:pt x="280" y="111"/>
                  <a:pt x="280" y="112"/>
                </a:cubicBezTo>
                <a:cubicBezTo>
                  <a:pt x="275" y="124"/>
                  <a:pt x="251" y="142"/>
                  <a:pt x="199" y="161"/>
                </a:cubicBezTo>
                <a:cubicBezTo>
                  <a:pt x="204" y="130"/>
                  <a:pt x="216" y="89"/>
                  <a:pt x="236" y="8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79" name="Freeform 449"/>
          <p:cNvSpPr>
            <a:spLocks/>
          </p:cNvSpPr>
          <p:nvPr userDrawn="1"/>
        </p:nvSpPr>
        <p:spPr bwMode="auto">
          <a:xfrm>
            <a:off x="5267075" y="1789672"/>
            <a:ext cx="202459" cy="383381"/>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0" name="Freeform 469"/>
          <p:cNvSpPr>
            <a:spLocks/>
          </p:cNvSpPr>
          <p:nvPr userDrawn="1"/>
        </p:nvSpPr>
        <p:spPr bwMode="auto">
          <a:xfrm>
            <a:off x="5175373" y="1379863"/>
            <a:ext cx="385863" cy="246460"/>
          </a:xfrm>
          <a:custGeom>
            <a:avLst/>
            <a:gdLst/>
            <a:ahLst/>
            <a:cxnLst>
              <a:cxn ang="0">
                <a:pos x="210" y="6"/>
              </a:cxn>
              <a:cxn ang="0">
                <a:pos x="198" y="20"/>
              </a:cxn>
              <a:cxn ang="0">
                <a:pos x="212" y="32"/>
              </a:cxn>
              <a:cxn ang="0">
                <a:pos x="372" y="100"/>
              </a:cxn>
              <a:cxn ang="0">
                <a:pos x="421" y="165"/>
              </a:cxn>
              <a:cxn ang="0">
                <a:pos x="337" y="212"/>
              </a:cxn>
              <a:cxn ang="0">
                <a:pos x="222" y="258"/>
              </a:cxn>
              <a:cxn ang="0">
                <a:pos x="66" y="217"/>
              </a:cxn>
              <a:cxn ang="0">
                <a:pos x="29" y="173"/>
              </a:cxn>
              <a:cxn ang="0">
                <a:pos x="141" y="103"/>
              </a:cxn>
              <a:cxn ang="0">
                <a:pos x="129" y="149"/>
              </a:cxn>
              <a:cxn ang="0">
                <a:pos x="217" y="237"/>
              </a:cxn>
              <a:cxn ang="0">
                <a:pos x="306" y="149"/>
              </a:cxn>
              <a:cxn ang="0">
                <a:pos x="241" y="63"/>
              </a:cxn>
              <a:cxn ang="0">
                <a:pos x="225" y="73"/>
              </a:cxn>
              <a:cxn ang="0">
                <a:pos x="234" y="89"/>
              </a:cxn>
              <a:cxn ang="0">
                <a:pos x="279" y="149"/>
              </a:cxn>
              <a:cxn ang="0">
                <a:pos x="217" y="210"/>
              </a:cxn>
              <a:cxn ang="0">
                <a:pos x="155" y="149"/>
              </a:cxn>
              <a:cxn ang="0">
                <a:pos x="183" y="97"/>
              </a:cxn>
              <a:cxn ang="0">
                <a:pos x="188" y="83"/>
              </a:cxn>
              <a:cxn ang="0">
                <a:pos x="175" y="73"/>
              </a:cxn>
              <a:cxn ang="0">
                <a:pos x="108" y="84"/>
              </a:cxn>
              <a:cxn ang="0">
                <a:pos x="2" y="167"/>
              </a:cxn>
              <a:cxn ang="0">
                <a:pos x="1" y="178"/>
              </a:cxn>
              <a:cxn ang="0">
                <a:pos x="48" y="237"/>
              </a:cxn>
              <a:cxn ang="0">
                <a:pos x="224" y="285"/>
              </a:cxn>
              <a:cxn ang="0">
                <a:pos x="353" y="234"/>
              </a:cxn>
              <a:cxn ang="0">
                <a:pos x="444" y="186"/>
              </a:cxn>
              <a:cxn ang="0">
                <a:pos x="453" y="178"/>
              </a:cxn>
              <a:cxn ang="0">
                <a:pos x="453" y="167"/>
              </a:cxn>
              <a:cxn ang="0">
                <a:pos x="392" y="82"/>
              </a:cxn>
              <a:cxn ang="0">
                <a:pos x="210" y="6"/>
              </a:cxn>
            </a:cxnLst>
            <a:rect l="0" t="0" r="r" b="b"/>
            <a:pathLst>
              <a:path w="455" h="291">
                <a:moveTo>
                  <a:pt x="210" y="6"/>
                </a:moveTo>
                <a:cubicBezTo>
                  <a:pt x="202" y="7"/>
                  <a:pt x="197" y="13"/>
                  <a:pt x="198" y="20"/>
                </a:cubicBezTo>
                <a:cubicBezTo>
                  <a:pt x="198" y="28"/>
                  <a:pt x="205" y="33"/>
                  <a:pt x="212" y="32"/>
                </a:cubicBezTo>
                <a:cubicBezTo>
                  <a:pt x="270" y="27"/>
                  <a:pt x="324" y="50"/>
                  <a:pt x="372" y="100"/>
                </a:cubicBezTo>
                <a:cubicBezTo>
                  <a:pt x="396" y="124"/>
                  <a:pt x="413" y="150"/>
                  <a:pt x="421" y="165"/>
                </a:cubicBezTo>
                <a:cubicBezTo>
                  <a:pt x="383" y="178"/>
                  <a:pt x="359" y="196"/>
                  <a:pt x="337" y="212"/>
                </a:cubicBezTo>
                <a:cubicBezTo>
                  <a:pt x="308" y="235"/>
                  <a:pt x="282" y="254"/>
                  <a:pt x="222" y="258"/>
                </a:cubicBezTo>
                <a:cubicBezTo>
                  <a:pt x="158" y="263"/>
                  <a:pt x="105" y="249"/>
                  <a:pt x="66" y="217"/>
                </a:cubicBezTo>
                <a:cubicBezTo>
                  <a:pt x="45" y="200"/>
                  <a:pt x="34" y="182"/>
                  <a:pt x="29" y="173"/>
                </a:cubicBezTo>
                <a:cubicBezTo>
                  <a:pt x="56" y="126"/>
                  <a:pt x="108" y="109"/>
                  <a:pt x="141" y="103"/>
                </a:cubicBezTo>
                <a:cubicBezTo>
                  <a:pt x="133" y="117"/>
                  <a:pt x="129" y="132"/>
                  <a:pt x="129" y="149"/>
                </a:cubicBezTo>
                <a:cubicBezTo>
                  <a:pt x="129" y="197"/>
                  <a:pt x="168" y="237"/>
                  <a:pt x="217" y="237"/>
                </a:cubicBezTo>
                <a:cubicBezTo>
                  <a:pt x="266" y="237"/>
                  <a:pt x="306" y="197"/>
                  <a:pt x="306" y="149"/>
                </a:cubicBezTo>
                <a:cubicBezTo>
                  <a:pt x="306" y="109"/>
                  <a:pt x="279" y="74"/>
                  <a:pt x="241" y="63"/>
                </a:cubicBezTo>
                <a:cubicBezTo>
                  <a:pt x="234" y="61"/>
                  <a:pt x="226" y="66"/>
                  <a:pt x="225" y="73"/>
                </a:cubicBezTo>
                <a:cubicBezTo>
                  <a:pt x="223" y="80"/>
                  <a:pt x="227" y="87"/>
                  <a:pt x="234" y="89"/>
                </a:cubicBezTo>
                <a:cubicBezTo>
                  <a:pt x="260" y="97"/>
                  <a:pt x="279" y="121"/>
                  <a:pt x="279" y="149"/>
                </a:cubicBezTo>
                <a:cubicBezTo>
                  <a:pt x="279" y="183"/>
                  <a:pt x="251" y="210"/>
                  <a:pt x="217" y="210"/>
                </a:cubicBezTo>
                <a:cubicBezTo>
                  <a:pt x="183" y="210"/>
                  <a:pt x="155" y="183"/>
                  <a:pt x="155" y="149"/>
                </a:cubicBezTo>
                <a:cubicBezTo>
                  <a:pt x="155" y="128"/>
                  <a:pt x="166" y="109"/>
                  <a:pt x="183" y="97"/>
                </a:cubicBezTo>
                <a:cubicBezTo>
                  <a:pt x="188" y="94"/>
                  <a:pt x="190" y="88"/>
                  <a:pt x="188" y="83"/>
                </a:cubicBezTo>
                <a:cubicBezTo>
                  <a:pt x="186" y="77"/>
                  <a:pt x="181" y="73"/>
                  <a:pt x="175" y="73"/>
                </a:cubicBezTo>
                <a:cubicBezTo>
                  <a:pt x="174" y="73"/>
                  <a:pt x="144" y="73"/>
                  <a:pt x="108" y="84"/>
                </a:cubicBezTo>
                <a:cubicBezTo>
                  <a:pt x="59" y="99"/>
                  <a:pt x="22" y="127"/>
                  <a:pt x="2" y="167"/>
                </a:cubicBezTo>
                <a:cubicBezTo>
                  <a:pt x="0" y="170"/>
                  <a:pt x="0" y="174"/>
                  <a:pt x="1" y="178"/>
                </a:cubicBezTo>
                <a:cubicBezTo>
                  <a:pt x="2" y="179"/>
                  <a:pt x="14" y="209"/>
                  <a:pt x="48" y="237"/>
                </a:cubicBezTo>
                <a:cubicBezTo>
                  <a:pt x="79" y="262"/>
                  <a:pt x="134" y="291"/>
                  <a:pt x="224" y="285"/>
                </a:cubicBezTo>
                <a:cubicBezTo>
                  <a:pt x="292" y="280"/>
                  <a:pt x="322" y="258"/>
                  <a:pt x="353" y="234"/>
                </a:cubicBezTo>
                <a:cubicBezTo>
                  <a:pt x="377" y="216"/>
                  <a:pt x="401" y="198"/>
                  <a:pt x="444" y="186"/>
                </a:cubicBezTo>
                <a:cubicBezTo>
                  <a:pt x="448" y="185"/>
                  <a:pt x="451" y="182"/>
                  <a:pt x="453" y="178"/>
                </a:cubicBezTo>
                <a:cubicBezTo>
                  <a:pt x="455" y="175"/>
                  <a:pt x="455" y="171"/>
                  <a:pt x="453" y="167"/>
                </a:cubicBezTo>
                <a:cubicBezTo>
                  <a:pt x="452" y="165"/>
                  <a:pt x="432" y="123"/>
                  <a:pt x="392" y="82"/>
                </a:cubicBezTo>
                <a:cubicBezTo>
                  <a:pt x="338" y="26"/>
                  <a:pt x="275" y="0"/>
                  <a:pt x="210" y="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81" name="Freeform 477"/>
          <p:cNvSpPr>
            <a:spLocks noEditPoints="1"/>
          </p:cNvSpPr>
          <p:nvPr userDrawn="1"/>
        </p:nvSpPr>
        <p:spPr bwMode="auto">
          <a:xfrm>
            <a:off x="5171800" y="2334302"/>
            <a:ext cx="393009" cy="203597"/>
          </a:xfrm>
          <a:custGeom>
            <a:avLst/>
            <a:gdLst/>
            <a:ahLst/>
            <a:cxnLst>
              <a:cxn ang="0">
                <a:pos x="31" y="177"/>
              </a:cxn>
              <a:cxn ang="0">
                <a:pos x="0" y="134"/>
              </a:cxn>
              <a:cxn ang="0">
                <a:pos x="32" y="91"/>
              </a:cxn>
              <a:cxn ang="0">
                <a:pos x="45" y="31"/>
              </a:cxn>
              <a:cxn ang="0">
                <a:pos x="120" y="43"/>
              </a:cxn>
              <a:cxn ang="0">
                <a:pos x="121" y="50"/>
              </a:cxn>
              <a:cxn ang="0">
                <a:pos x="148" y="61"/>
              </a:cxn>
              <a:cxn ang="0">
                <a:pos x="158" y="44"/>
              </a:cxn>
              <a:cxn ang="0">
                <a:pos x="193" y="31"/>
              </a:cxn>
              <a:cxn ang="0">
                <a:pos x="182" y="58"/>
              </a:cxn>
              <a:cxn ang="0">
                <a:pos x="140" y="89"/>
              </a:cxn>
              <a:cxn ang="0">
                <a:pos x="100" y="67"/>
              </a:cxn>
              <a:cxn ang="0">
                <a:pos x="58" y="101"/>
              </a:cxn>
              <a:cxn ang="0">
                <a:pos x="44" y="115"/>
              </a:cxn>
              <a:cxn ang="0">
                <a:pos x="27" y="134"/>
              </a:cxn>
              <a:cxn ang="0">
                <a:pos x="45" y="153"/>
              </a:cxn>
              <a:cxn ang="0">
                <a:pos x="46" y="153"/>
              </a:cxn>
              <a:cxn ang="0">
                <a:pos x="96" y="213"/>
              </a:cxn>
              <a:cxn ang="0">
                <a:pos x="139" y="181"/>
              </a:cxn>
              <a:cxn ang="0">
                <a:pos x="178" y="204"/>
              </a:cxn>
              <a:cxn ang="0">
                <a:pos x="219" y="166"/>
              </a:cxn>
              <a:cxn ang="0">
                <a:pos x="247" y="144"/>
              </a:cxn>
              <a:cxn ang="0">
                <a:pos x="250" y="134"/>
              </a:cxn>
              <a:cxn ang="0">
                <a:pos x="242" y="119"/>
              </a:cxn>
              <a:cxn ang="0">
                <a:pos x="219" y="44"/>
              </a:cxn>
              <a:cxn ang="0">
                <a:pos x="287" y="19"/>
              </a:cxn>
              <a:cxn ang="0">
                <a:pos x="325" y="0"/>
              </a:cxn>
              <a:cxn ang="0">
                <a:pos x="367" y="31"/>
              </a:cxn>
              <a:cxn ang="0">
                <a:pos x="431" y="91"/>
              </a:cxn>
              <a:cxn ang="0">
                <a:pos x="463" y="134"/>
              </a:cxn>
              <a:cxn ang="0">
                <a:pos x="439" y="173"/>
              </a:cxn>
              <a:cxn ang="0">
                <a:pos x="427" y="235"/>
              </a:cxn>
              <a:cxn ang="0">
                <a:pos x="343" y="227"/>
              </a:cxn>
              <a:cxn ang="0">
                <a:pos x="325" y="208"/>
              </a:cxn>
              <a:cxn ang="0">
                <a:pos x="323" y="208"/>
              </a:cxn>
              <a:cxn ang="0">
                <a:pos x="306" y="227"/>
              </a:cxn>
              <a:cxn ang="0">
                <a:pos x="257" y="226"/>
              </a:cxn>
              <a:cxn ang="0">
                <a:pos x="288" y="200"/>
              </a:cxn>
              <a:cxn ang="0">
                <a:pos x="324" y="181"/>
              </a:cxn>
              <a:cxn ang="0">
                <a:pos x="325" y="181"/>
              </a:cxn>
              <a:cxn ang="0">
                <a:pos x="367" y="212"/>
              </a:cxn>
              <a:cxn ang="0">
                <a:pos x="417" y="153"/>
              </a:cxn>
              <a:cxn ang="0">
                <a:pos x="423" y="152"/>
              </a:cxn>
              <a:cxn ang="0">
                <a:pos x="434" y="125"/>
              </a:cxn>
              <a:cxn ang="0">
                <a:pos x="416" y="114"/>
              </a:cxn>
              <a:cxn ang="0">
                <a:pos x="356" y="58"/>
              </a:cxn>
              <a:cxn ang="0">
                <a:pos x="329" y="27"/>
              </a:cxn>
              <a:cxn ang="0">
                <a:pos x="318" y="27"/>
              </a:cxn>
              <a:cxn ang="0">
                <a:pos x="292" y="58"/>
              </a:cxn>
              <a:cxn ang="0">
                <a:pos x="257" y="97"/>
              </a:cxn>
              <a:cxn ang="0">
                <a:pos x="277" y="134"/>
              </a:cxn>
              <a:cxn ang="0">
                <a:pos x="245" y="177"/>
              </a:cxn>
              <a:cxn ang="0">
                <a:pos x="232" y="239"/>
              </a:cxn>
              <a:cxn ang="0">
                <a:pos x="157" y="226"/>
              </a:cxn>
              <a:cxn ang="0">
                <a:pos x="157" y="225"/>
              </a:cxn>
              <a:cxn ang="0">
                <a:pos x="139" y="207"/>
              </a:cxn>
              <a:cxn ang="0">
                <a:pos x="120" y="226"/>
              </a:cxn>
              <a:cxn ang="0">
                <a:pos x="106" y="239"/>
              </a:cxn>
              <a:cxn ang="0">
                <a:pos x="329" y="207"/>
              </a:cxn>
              <a:cxn ang="0">
                <a:pos x="335" y="202"/>
              </a:cxn>
              <a:cxn ang="0">
                <a:pos x="336" y="200"/>
              </a:cxn>
              <a:cxn ang="0">
                <a:pos x="336" y="200"/>
              </a:cxn>
            </a:cxnLst>
            <a:rect l="0" t="0" r="r" b="b"/>
            <a:pathLst>
              <a:path w="463" h="239">
                <a:moveTo>
                  <a:pt x="32" y="226"/>
                </a:moveTo>
                <a:cubicBezTo>
                  <a:pt x="32" y="177"/>
                  <a:pt x="32" y="177"/>
                  <a:pt x="32" y="177"/>
                </a:cubicBezTo>
                <a:cubicBezTo>
                  <a:pt x="32" y="177"/>
                  <a:pt x="32" y="177"/>
                  <a:pt x="31" y="177"/>
                </a:cubicBezTo>
                <a:cubicBezTo>
                  <a:pt x="24" y="174"/>
                  <a:pt x="15" y="170"/>
                  <a:pt x="8" y="160"/>
                </a:cubicBezTo>
                <a:cubicBezTo>
                  <a:pt x="4" y="153"/>
                  <a:pt x="1" y="145"/>
                  <a:pt x="0" y="135"/>
                </a:cubicBezTo>
                <a:cubicBezTo>
                  <a:pt x="0" y="134"/>
                  <a:pt x="0" y="134"/>
                  <a:pt x="0" y="134"/>
                </a:cubicBezTo>
                <a:cubicBezTo>
                  <a:pt x="1" y="124"/>
                  <a:pt x="3" y="115"/>
                  <a:pt x="8" y="108"/>
                </a:cubicBezTo>
                <a:cubicBezTo>
                  <a:pt x="12" y="102"/>
                  <a:pt x="18" y="97"/>
                  <a:pt x="23" y="94"/>
                </a:cubicBezTo>
                <a:cubicBezTo>
                  <a:pt x="26" y="93"/>
                  <a:pt x="29" y="91"/>
                  <a:pt x="32" y="91"/>
                </a:cubicBezTo>
                <a:cubicBezTo>
                  <a:pt x="32" y="44"/>
                  <a:pt x="32" y="44"/>
                  <a:pt x="32" y="44"/>
                </a:cubicBezTo>
                <a:cubicBezTo>
                  <a:pt x="32" y="41"/>
                  <a:pt x="33" y="38"/>
                  <a:pt x="36" y="35"/>
                </a:cubicBezTo>
                <a:cubicBezTo>
                  <a:pt x="38" y="33"/>
                  <a:pt x="42" y="31"/>
                  <a:pt x="45" y="31"/>
                </a:cubicBezTo>
                <a:cubicBezTo>
                  <a:pt x="106" y="31"/>
                  <a:pt x="106" y="31"/>
                  <a:pt x="106" y="31"/>
                </a:cubicBezTo>
                <a:cubicBezTo>
                  <a:pt x="113" y="31"/>
                  <a:pt x="119" y="37"/>
                  <a:pt x="119" y="43"/>
                </a:cubicBezTo>
                <a:cubicBezTo>
                  <a:pt x="120" y="43"/>
                  <a:pt x="120" y="43"/>
                  <a:pt x="120" y="43"/>
                </a:cubicBezTo>
                <a:cubicBezTo>
                  <a:pt x="120" y="43"/>
                  <a:pt x="120" y="44"/>
                  <a:pt x="120" y="44"/>
                </a:cubicBezTo>
                <a:cubicBezTo>
                  <a:pt x="120" y="44"/>
                  <a:pt x="120" y="44"/>
                  <a:pt x="120" y="45"/>
                </a:cubicBezTo>
                <a:cubicBezTo>
                  <a:pt x="120" y="46"/>
                  <a:pt x="120" y="48"/>
                  <a:pt x="121" y="50"/>
                </a:cubicBezTo>
                <a:cubicBezTo>
                  <a:pt x="123" y="54"/>
                  <a:pt x="125" y="58"/>
                  <a:pt x="128" y="60"/>
                </a:cubicBezTo>
                <a:cubicBezTo>
                  <a:pt x="131" y="62"/>
                  <a:pt x="134" y="63"/>
                  <a:pt x="139" y="63"/>
                </a:cubicBezTo>
                <a:cubicBezTo>
                  <a:pt x="143" y="63"/>
                  <a:pt x="146" y="62"/>
                  <a:pt x="148" y="61"/>
                </a:cubicBezTo>
                <a:cubicBezTo>
                  <a:pt x="151" y="59"/>
                  <a:pt x="152" y="58"/>
                  <a:pt x="154" y="56"/>
                </a:cubicBezTo>
                <a:cubicBezTo>
                  <a:pt x="156" y="52"/>
                  <a:pt x="158" y="47"/>
                  <a:pt x="158" y="45"/>
                </a:cubicBezTo>
                <a:cubicBezTo>
                  <a:pt x="158" y="44"/>
                  <a:pt x="158" y="44"/>
                  <a:pt x="158" y="44"/>
                </a:cubicBezTo>
                <a:cubicBezTo>
                  <a:pt x="158" y="37"/>
                  <a:pt x="164" y="31"/>
                  <a:pt x="171" y="31"/>
                </a:cubicBezTo>
                <a:cubicBezTo>
                  <a:pt x="193" y="31"/>
                  <a:pt x="193" y="31"/>
                  <a:pt x="193" y="31"/>
                </a:cubicBezTo>
                <a:cubicBezTo>
                  <a:pt x="193" y="31"/>
                  <a:pt x="193" y="31"/>
                  <a:pt x="193" y="31"/>
                </a:cubicBezTo>
                <a:cubicBezTo>
                  <a:pt x="200" y="31"/>
                  <a:pt x="206" y="37"/>
                  <a:pt x="206" y="45"/>
                </a:cubicBezTo>
                <a:cubicBezTo>
                  <a:pt x="206" y="52"/>
                  <a:pt x="200" y="58"/>
                  <a:pt x="193" y="58"/>
                </a:cubicBezTo>
                <a:cubicBezTo>
                  <a:pt x="182" y="58"/>
                  <a:pt x="182" y="58"/>
                  <a:pt x="182" y="58"/>
                </a:cubicBezTo>
                <a:cubicBezTo>
                  <a:pt x="182" y="58"/>
                  <a:pt x="182" y="58"/>
                  <a:pt x="182" y="59"/>
                </a:cubicBezTo>
                <a:cubicBezTo>
                  <a:pt x="179" y="66"/>
                  <a:pt x="174" y="75"/>
                  <a:pt x="164" y="82"/>
                </a:cubicBezTo>
                <a:cubicBezTo>
                  <a:pt x="158" y="86"/>
                  <a:pt x="149" y="89"/>
                  <a:pt x="140" y="89"/>
                </a:cubicBezTo>
                <a:cubicBezTo>
                  <a:pt x="139" y="89"/>
                  <a:pt x="139" y="89"/>
                  <a:pt x="139" y="89"/>
                </a:cubicBezTo>
                <a:cubicBezTo>
                  <a:pt x="129" y="89"/>
                  <a:pt x="120" y="87"/>
                  <a:pt x="114" y="82"/>
                </a:cubicBezTo>
                <a:cubicBezTo>
                  <a:pt x="107" y="78"/>
                  <a:pt x="103" y="72"/>
                  <a:pt x="100" y="67"/>
                </a:cubicBezTo>
                <a:cubicBezTo>
                  <a:pt x="98" y="64"/>
                  <a:pt x="97" y="61"/>
                  <a:pt x="96" y="58"/>
                </a:cubicBezTo>
                <a:cubicBezTo>
                  <a:pt x="58" y="58"/>
                  <a:pt x="58" y="58"/>
                  <a:pt x="58" y="58"/>
                </a:cubicBezTo>
                <a:cubicBezTo>
                  <a:pt x="58" y="101"/>
                  <a:pt x="58" y="101"/>
                  <a:pt x="58" y="101"/>
                </a:cubicBezTo>
                <a:cubicBezTo>
                  <a:pt x="58" y="108"/>
                  <a:pt x="53" y="114"/>
                  <a:pt x="46" y="115"/>
                </a:cubicBezTo>
                <a:cubicBezTo>
                  <a:pt x="46" y="115"/>
                  <a:pt x="46" y="115"/>
                  <a:pt x="46" y="115"/>
                </a:cubicBezTo>
                <a:cubicBezTo>
                  <a:pt x="45" y="115"/>
                  <a:pt x="45" y="115"/>
                  <a:pt x="44" y="115"/>
                </a:cubicBezTo>
                <a:cubicBezTo>
                  <a:pt x="43" y="115"/>
                  <a:pt x="42" y="115"/>
                  <a:pt x="40" y="116"/>
                </a:cubicBezTo>
                <a:cubicBezTo>
                  <a:pt x="36" y="117"/>
                  <a:pt x="32" y="119"/>
                  <a:pt x="30" y="123"/>
                </a:cubicBezTo>
                <a:cubicBezTo>
                  <a:pt x="28" y="125"/>
                  <a:pt x="27" y="129"/>
                  <a:pt x="27" y="134"/>
                </a:cubicBezTo>
                <a:cubicBezTo>
                  <a:pt x="27" y="139"/>
                  <a:pt x="28" y="141"/>
                  <a:pt x="29" y="144"/>
                </a:cubicBezTo>
                <a:cubicBezTo>
                  <a:pt x="30" y="146"/>
                  <a:pt x="32" y="147"/>
                  <a:pt x="34" y="149"/>
                </a:cubicBezTo>
                <a:cubicBezTo>
                  <a:pt x="38" y="151"/>
                  <a:pt x="43" y="152"/>
                  <a:pt x="45" y="153"/>
                </a:cubicBezTo>
                <a:cubicBezTo>
                  <a:pt x="45" y="153"/>
                  <a:pt x="46" y="153"/>
                  <a:pt x="46" y="153"/>
                </a:cubicBezTo>
                <a:cubicBezTo>
                  <a:pt x="46" y="153"/>
                  <a:pt x="46" y="153"/>
                  <a:pt x="46" y="153"/>
                </a:cubicBezTo>
                <a:cubicBezTo>
                  <a:pt x="46" y="153"/>
                  <a:pt x="46" y="153"/>
                  <a:pt x="46" y="153"/>
                </a:cubicBezTo>
                <a:cubicBezTo>
                  <a:pt x="53" y="153"/>
                  <a:pt x="59" y="159"/>
                  <a:pt x="59" y="166"/>
                </a:cubicBezTo>
                <a:cubicBezTo>
                  <a:pt x="59" y="213"/>
                  <a:pt x="59" y="213"/>
                  <a:pt x="59" y="213"/>
                </a:cubicBezTo>
                <a:cubicBezTo>
                  <a:pt x="96" y="213"/>
                  <a:pt x="96" y="213"/>
                  <a:pt x="96" y="213"/>
                </a:cubicBezTo>
                <a:cubicBezTo>
                  <a:pt x="96" y="212"/>
                  <a:pt x="96" y="212"/>
                  <a:pt x="96" y="211"/>
                </a:cubicBezTo>
                <a:cubicBezTo>
                  <a:pt x="99" y="204"/>
                  <a:pt x="104" y="195"/>
                  <a:pt x="114" y="188"/>
                </a:cubicBezTo>
                <a:cubicBezTo>
                  <a:pt x="120" y="184"/>
                  <a:pt x="129" y="181"/>
                  <a:pt x="139" y="181"/>
                </a:cubicBezTo>
                <a:cubicBezTo>
                  <a:pt x="140" y="181"/>
                  <a:pt x="140" y="181"/>
                  <a:pt x="140" y="181"/>
                </a:cubicBezTo>
                <a:cubicBezTo>
                  <a:pt x="149" y="181"/>
                  <a:pt x="158" y="184"/>
                  <a:pt x="165" y="189"/>
                </a:cubicBezTo>
                <a:cubicBezTo>
                  <a:pt x="171" y="193"/>
                  <a:pt x="175" y="199"/>
                  <a:pt x="178" y="204"/>
                </a:cubicBezTo>
                <a:cubicBezTo>
                  <a:pt x="180" y="207"/>
                  <a:pt x="181" y="210"/>
                  <a:pt x="182" y="213"/>
                </a:cubicBezTo>
                <a:cubicBezTo>
                  <a:pt x="219" y="213"/>
                  <a:pt x="219" y="213"/>
                  <a:pt x="219" y="213"/>
                </a:cubicBezTo>
                <a:cubicBezTo>
                  <a:pt x="219" y="166"/>
                  <a:pt x="219" y="166"/>
                  <a:pt x="219" y="166"/>
                </a:cubicBezTo>
                <a:cubicBezTo>
                  <a:pt x="219" y="159"/>
                  <a:pt x="224" y="153"/>
                  <a:pt x="231" y="153"/>
                </a:cubicBezTo>
                <a:cubicBezTo>
                  <a:pt x="236" y="152"/>
                  <a:pt x="240" y="151"/>
                  <a:pt x="242" y="150"/>
                </a:cubicBezTo>
                <a:cubicBezTo>
                  <a:pt x="245" y="148"/>
                  <a:pt x="246" y="146"/>
                  <a:pt x="247" y="144"/>
                </a:cubicBezTo>
                <a:cubicBezTo>
                  <a:pt x="250" y="140"/>
                  <a:pt x="250" y="135"/>
                  <a:pt x="250" y="134"/>
                </a:cubicBezTo>
                <a:cubicBezTo>
                  <a:pt x="250" y="134"/>
                  <a:pt x="250" y="134"/>
                  <a:pt x="250" y="134"/>
                </a:cubicBezTo>
                <a:cubicBezTo>
                  <a:pt x="250" y="134"/>
                  <a:pt x="250" y="134"/>
                  <a:pt x="250" y="134"/>
                </a:cubicBezTo>
                <a:cubicBezTo>
                  <a:pt x="250" y="134"/>
                  <a:pt x="250" y="134"/>
                  <a:pt x="250" y="134"/>
                </a:cubicBezTo>
                <a:cubicBezTo>
                  <a:pt x="250" y="134"/>
                  <a:pt x="250" y="131"/>
                  <a:pt x="249" y="128"/>
                </a:cubicBezTo>
                <a:cubicBezTo>
                  <a:pt x="248" y="125"/>
                  <a:pt x="246" y="122"/>
                  <a:pt x="242" y="119"/>
                </a:cubicBezTo>
                <a:cubicBezTo>
                  <a:pt x="240" y="117"/>
                  <a:pt x="236" y="115"/>
                  <a:pt x="230" y="114"/>
                </a:cubicBezTo>
                <a:cubicBezTo>
                  <a:pt x="223" y="113"/>
                  <a:pt x="219" y="108"/>
                  <a:pt x="219" y="101"/>
                </a:cubicBezTo>
                <a:cubicBezTo>
                  <a:pt x="219" y="44"/>
                  <a:pt x="219" y="44"/>
                  <a:pt x="219" y="44"/>
                </a:cubicBezTo>
                <a:cubicBezTo>
                  <a:pt x="219" y="37"/>
                  <a:pt x="225" y="31"/>
                  <a:pt x="232" y="31"/>
                </a:cubicBezTo>
                <a:cubicBezTo>
                  <a:pt x="281" y="31"/>
                  <a:pt x="281" y="31"/>
                  <a:pt x="281" y="31"/>
                </a:cubicBezTo>
                <a:cubicBezTo>
                  <a:pt x="283" y="27"/>
                  <a:pt x="285" y="23"/>
                  <a:pt x="287" y="19"/>
                </a:cubicBezTo>
                <a:cubicBezTo>
                  <a:pt x="291" y="13"/>
                  <a:pt x="297" y="8"/>
                  <a:pt x="302" y="5"/>
                </a:cubicBezTo>
                <a:cubicBezTo>
                  <a:pt x="312" y="0"/>
                  <a:pt x="322" y="0"/>
                  <a:pt x="324" y="0"/>
                </a:cubicBezTo>
                <a:cubicBezTo>
                  <a:pt x="324" y="0"/>
                  <a:pt x="324" y="0"/>
                  <a:pt x="325" y="0"/>
                </a:cubicBezTo>
                <a:cubicBezTo>
                  <a:pt x="330" y="0"/>
                  <a:pt x="336" y="1"/>
                  <a:pt x="343" y="4"/>
                </a:cubicBezTo>
                <a:cubicBezTo>
                  <a:pt x="350" y="7"/>
                  <a:pt x="358" y="13"/>
                  <a:pt x="363" y="22"/>
                </a:cubicBezTo>
                <a:cubicBezTo>
                  <a:pt x="365" y="25"/>
                  <a:pt x="366" y="28"/>
                  <a:pt x="367" y="31"/>
                </a:cubicBezTo>
                <a:cubicBezTo>
                  <a:pt x="385" y="31"/>
                  <a:pt x="418" y="31"/>
                  <a:pt x="418" y="31"/>
                </a:cubicBezTo>
                <a:cubicBezTo>
                  <a:pt x="425" y="31"/>
                  <a:pt x="431" y="37"/>
                  <a:pt x="431" y="45"/>
                </a:cubicBezTo>
                <a:cubicBezTo>
                  <a:pt x="431" y="91"/>
                  <a:pt x="431" y="91"/>
                  <a:pt x="431" y="91"/>
                </a:cubicBezTo>
                <a:cubicBezTo>
                  <a:pt x="431" y="91"/>
                  <a:pt x="432" y="91"/>
                  <a:pt x="432" y="92"/>
                </a:cubicBezTo>
                <a:cubicBezTo>
                  <a:pt x="439" y="94"/>
                  <a:pt x="449" y="99"/>
                  <a:pt x="455" y="109"/>
                </a:cubicBezTo>
                <a:cubicBezTo>
                  <a:pt x="460" y="116"/>
                  <a:pt x="462" y="124"/>
                  <a:pt x="463" y="134"/>
                </a:cubicBezTo>
                <a:cubicBezTo>
                  <a:pt x="463" y="135"/>
                  <a:pt x="463" y="135"/>
                  <a:pt x="463" y="135"/>
                </a:cubicBezTo>
                <a:cubicBezTo>
                  <a:pt x="462" y="145"/>
                  <a:pt x="459" y="153"/>
                  <a:pt x="455" y="160"/>
                </a:cubicBezTo>
                <a:cubicBezTo>
                  <a:pt x="450" y="166"/>
                  <a:pt x="445" y="171"/>
                  <a:pt x="439" y="173"/>
                </a:cubicBezTo>
                <a:cubicBezTo>
                  <a:pt x="436" y="175"/>
                  <a:pt x="434" y="176"/>
                  <a:pt x="431" y="177"/>
                </a:cubicBezTo>
                <a:cubicBezTo>
                  <a:pt x="431" y="226"/>
                  <a:pt x="431" y="226"/>
                  <a:pt x="431" y="226"/>
                </a:cubicBezTo>
                <a:cubicBezTo>
                  <a:pt x="431" y="229"/>
                  <a:pt x="430" y="233"/>
                  <a:pt x="427" y="235"/>
                </a:cubicBezTo>
                <a:cubicBezTo>
                  <a:pt x="425" y="238"/>
                  <a:pt x="421" y="239"/>
                  <a:pt x="418" y="239"/>
                </a:cubicBezTo>
                <a:cubicBezTo>
                  <a:pt x="357" y="239"/>
                  <a:pt x="357" y="239"/>
                  <a:pt x="357" y="239"/>
                </a:cubicBezTo>
                <a:cubicBezTo>
                  <a:pt x="350" y="239"/>
                  <a:pt x="344" y="234"/>
                  <a:pt x="343" y="227"/>
                </a:cubicBezTo>
                <a:cubicBezTo>
                  <a:pt x="343" y="221"/>
                  <a:pt x="341" y="218"/>
                  <a:pt x="340" y="216"/>
                </a:cubicBezTo>
                <a:cubicBezTo>
                  <a:pt x="338" y="213"/>
                  <a:pt x="336" y="212"/>
                  <a:pt x="334" y="210"/>
                </a:cubicBezTo>
                <a:cubicBezTo>
                  <a:pt x="331" y="208"/>
                  <a:pt x="326" y="208"/>
                  <a:pt x="325" y="208"/>
                </a:cubicBezTo>
                <a:cubicBezTo>
                  <a:pt x="325" y="208"/>
                  <a:pt x="324" y="208"/>
                  <a:pt x="324" y="208"/>
                </a:cubicBezTo>
                <a:cubicBezTo>
                  <a:pt x="324" y="208"/>
                  <a:pt x="324" y="208"/>
                  <a:pt x="324" y="208"/>
                </a:cubicBezTo>
                <a:cubicBezTo>
                  <a:pt x="324" y="208"/>
                  <a:pt x="324" y="208"/>
                  <a:pt x="323" y="208"/>
                </a:cubicBezTo>
                <a:cubicBezTo>
                  <a:pt x="322" y="208"/>
                  <a:pt x="321" y="208"/>
                  <a:pt x="319" y="209"/>
                </a:cubicBezTo>
                <a:cubicBezTo>
                  <a:pt x="316" y="210"/>
                  <a:pt x="312" y="212"/>
                  <a:pt x="310" y="215"/>
                </a:cubicBezTo>
                <a:cubicBezTo>
                  <a:pt x="308" y="218"/>
                  <a:pt x="306" y="222"/>
                  <a:pt x="306" y="227"/>
                </a:cubicBezTo>
                <a:cubicBezTo>
                  <a:pt x="305" y="234"/>
                  <a:pt x="299" y="239"/>
                  <a:pt x="292" y="239"/>
                </a:cubicBezTo>
                <a:cubicBezTo>
                  <a:pt x="271" y="239"/>
                  <a:pt x="271" y="239"/>
                  <a:pt x="271" y="239"/>
                </a:cubicBezTo>
                <a:cubicBezTo>
                  <a:pt x="263" y="239"/>
                  <a:pt x="257" y="233"/>
                  <a:pt x="257" y="226"/>
                </a:cubicBezTo>
                <a:cubicBezTo>
                  <a:pt x="257" y="219"/>
                  <a:pt x="263" y="213"/>
                  <a:pt x="271" y="213"/>
                </a:cubicBezTo>
                <a:cubicBezTo>
                  <a:pt x="282" y="213"/>
                  <a:pt x="282" y="213"/>
                  <a:pt x="282" y="213"/>
                </a:cubicBezTo>
                <a:cubicBezTo>
                  <a:pt x="283" y="208"/>
                  <a:pt x="285" y="204"/>
                  <a:pt x="288" y="200"/>
                </a:cubicBezTo>
                <a:cubicBezTo>
                  <a:pt x="292" y="194"/>
                  <a:pt x="298" y="190"/>
                  <a:pt x="303" y="187"/>
                </a:cubicBezTo>
                <a:cubicBezTo>
                  <a:pt x="314" y="181"/>
                  <a:pt x="323" y="181"/>
                  <a:pt x="324" y="181"/>
                </a:cubicBezTo>
                <a:cubicBezTo>
                  <a:pt x="324" y="181"/>
                  <a:pt x="324" y="181"/>
                  <a:pt x="324" y="181"/>
                </a:cubicBezTo>
                <a:cubicBezTo>
                  <a:pt x="324" y="181"/>
                  <a:pt x="324" y="181"/>
                  <a:pt x="324" y="181"/>
                </a:cubicBezTo>
                <a:cubicBezTo>
                  <a:pt x="324" y="181"/>
                  <a:pt x="324" y="181"/>
                  <a:pt x="324" y="181"/>
                </a:cubicBezTo>
                <a:cubicBezTo>
                  <a:pt x="325" y="181"/>
                  <a:pt x="325" y="181"/>
                  <a:pt x="325" y="181"/>
                </a:cubicBezTo>
                <a:cubicBezTo>
                  <a:pt x="327" y="181"/>
                  <a:pt x="331" y="181"/>
                  <a:pt x="338" y="183"/>
                </a:cubicBezTo>
                <a:cubicBezTo>
                  <a:pt x="345" y="186"/>
                  <a:pt x="354" y="190"/>
                  <a:pt x="361" y="200"/>
                </a:cubicBezTo>
                <a:cubicBezTo>
                  <a:pt x="364" y="204"/>
                  <a:pt x="366" y="208"/>
                  <a:pt x="367" y="212"/>
                </a:cubicBezTo>
                <a:cubicBezTo>
                  <a:pt x="405" y="213"/>
                  <a:pt x="405" y="213"/>
                  <a:pt x="405" y="213"/>
                </a:cubicBezTo>
                <a:cubicBezTo>
                  <a:pt x="405" y="166"/>
                  <a:pt x="405" y="166"/>
                  <a:pt x="405" y="166"/>
                </a:cubicBezTo>
                <a:cubicBezTo>
                  <a:pt x="405" y="159"/>
                  <a:pt x="410" y="153"/>
                  <a:pt x="417" y="153"/>
                </a:cubicBezTo>
                <a:cubicBezTo>
                  <a:pt x="417" y="153"/>
                  <a:pt x="417" y="153"/>
                  <a:pt x="417" y="153"/>
                </a:cubicBezTo>
                <a:cubicBezTo>
                  <a:pt x="418" y="153"/>
                  <a:pt x="418" y="153"/>
                  <a:pt x="419" y="153"/>
                </a:cubicBezTo>
                <a:cubicBezTo>
                  <a:pt x="420" y="153"/>
                  <a:pt x="421" y="152"/>
                  <a:pt x="423" y="152"/>
                </a:cubicBezTo>
                <a:cubicBezTo>
                  <a:pt x="427" y="150"/>
                  <a:pt x="431" y="148"/>
                  <a:pt x="433" y="145"/>
                </a:cubicBezTo>
                <a:cubicBezTo>
                  <a:pt x="434" y="142"/>
                  <a:pt x="436" y="139"/>
                  <a:pt x="436" y="134"/>
                </a:cubicBezTo>
                <a:cubicBezTo>
                  <a:pt x="436" y="130"/>
                  <a:pt x="435" y="127"/>
                  <a:pt x="434" y="125"/>
                </a:cubicBezTo>
                <a:cubicBezTo>
                  <a:pt x="433" y="123"/>
                  <a:pt x="431" y="121"/>
                  <a:pt x="429" y="120"/>
                </a:cubicBezTo>
                <a:cubicBezTo>
                  <a:pt x="425" y="117"/>
                  <a:pt x="419" y="115"/>
                  <a:pt x="417" y="115"/>
                </a:cubicBezTo>
                <a:cubicBezTo>
                  <a:pt x="417" y="114"/>
                  <a:pt x="416" y="114"/>
                  <a:pt x="416" y="114"/>
                </a:cubicBezTo>
                <a:cubicBezTo>
                  <a:pt x="410" y="114"/>
                  <a:pt x="404" y="108"/>
                  <a:pt x="404" y="101"/>
                </a:cubicBezTo>
                <a:cubicBezTo>
                  <a:pt x="404" y="58"/>
                  <a:pt x="404" y="58"/>
                  <a:pt x="404" y="58"/>
                </a:cubicBezTo>
                <a:cubicBezTo>
                  <a:pt x="386" y="58"/>
                  <a:pt x="356" y="58"/>
                  <a:pt x="356" y="58"/>
                </a:cubicBezTo>
                <a:cubicBezTo>
                  <a:pt x="349" y="58"/>
                  <a:pt x="343" y="52"/>
                  <a:pt x="343" y="45"/>
                </a:cubicBezTo>
                <a:cubicBezTo>
                  <a:pt x="342" y="38"/>
                  <a:pt x="340" y="35"/>
                  <a:pt x="338" y="32"/>
                </a:cubicBezTo>
                <a:cubicBezTo>
                  <a:pt x="335" y="29"/>
                  <a:pt x="332" y="28"/>
                  <a:pt x="329" y="27"/>
                </a:cubicBezTo>
                <a:cubicBezTo>
                  <a:pt x="327" y="26"/>
                  <a:pt x="325" y="26"/>
                  <a:pt x="325" y="26"/>
                </a:cubicBezTo>
                <a:cubicBezTo>
                  <a:pt x="325" y="26"/>
                  <a:pt x="325" y="26"/>
                  <a:pt x="325" y="26"/>
                </a:cubicBezTo>
                <a:cubicBezTo>
                  <a:pt x="324" y="26"/>
                  <a:pt x="321" y="26"/>
                  <a:pt x="318" y="27"/>
                </a:cubicBezTo>
                <a:cubicBezTo>
                  <a:pt x="315" y="28"/>
                  <a:pt x="312" y="30"/>
                  <a:pt x="309" y="34"/>
                </a:cubicBezTo>
                <a:cubicBezTo>
                  <a:pt x="307" y="36"/>
                  <a:pt x="306" y="40"/>
                  <a:pt x="305" y="46"/>
                </a:cubicBezTo>
                <a:cubicBezTo>
                  <a:pt x="304" y="53"/>
                  <a:pt x="299" y="58"/>
                  <a:pt x="292" y="58"/>
                </a:cubicBezTo>
                <a:cubicBezTo>
                  <a:pt x="245" y="58"/>
                  <a:pt x="245" y="58"/>
                  <a:pt x="245" y="58"/>
                </a:cubicBezTo>
                <a:cubicBezTo>
                  <a:pt x="245" y="91"/>
                  <a:pt x="245" y="91"/>
                  <a:pt x="245" y="91"/>
                </a:cubicBezTo>
                <a:cubicBezTo>
                  <a:pt x="250" y="93"/>
                  <a:pt x="254" y="95"/>
                  <a:pt x="257" y="97"/>
                </a:cubicBezTo>
                <a:cubicBezTo>
                  <a:pt x="263" y="101"/>
                  <a:pt x="268" y="107"/>
                  <a:pt x="271" y="112"/>
                </a:cubicBezTo>
                <a:cubicBezTo>
                  <a:pt x="276" y="122"/>
                  <a:pt x="277" y="131"/>
                  <a:pt x="277" y="134"/>
                </a:cubicBezTo>
                <a:cubicBezTo>
                  <a:pt x="277" y="134"/>
                  <a:pt x="277" y="134"/>
                  <a:pt x="277" y="134"/>
                </a:cubicBezTo>
                <a:cubicBezTo>
                  <a:pt x="277" y="136"/>
                  <a:pt x="277" y="142"/>
                  <a:pt x="274" y="149"/>
                </a:cubicBezTo>
                <a:cubicBezTo>
                  <a:pt x="272" y="156"/>
                  <a:pt x="267" y="165"/>
                  <a:pt x="257" y="171"/>
                </a:cubicBezTo>
                <a:cubicBezTo>
                  <a:pt x="254" y="174"/>
                  <a:pt x="250" y="176"/>
                  <a:pt x="245" y="177"/>
                </a:cubicBezTo>
                <a:cubicBezTo>
                  <a:pt x="245" y="226"/>
                  <a:pt x="245" y="226"/>
                  <a:pt x="245" y="226"/>
                </a:cubicBezTo>
                <a:cubicBezTo>
                  <a:pt x="245" y="229"/>
                  <a:pt x="244" y="233"/>
                  <a:pt x="241" y="235"/>
                </a:cubicBezTo>
                <a:cubicBezTo>
                  <a:pt x="239" y="238"/>
                  <a:pt x="235" y="239"/>
                  <a:pt x="232" y="239"/>
                </a:cubicBezTo>
                <a:cubicBezTo>
                  <a:pt x="171" y="239"/>
                  <a:pt x="171" y="239"/>
                  <a:pt x="171" y="239"/>
                </a:cubicBezTo>
                <a:cubicBezTo>
                  <a:pt x="163" y="239"/>
                  <a:pt x="158" y="233"/>
                  <a:pt x="157" y="226"/>
                </a:cubicBezTo>
                <a:cubicBezTo>
                  <a:pt x="157" y="226"/>
                  <a:pt x="157" y="226"/>
                  <a:pt x="157" y="226"/>
                </a:cubicBezTo>
                <a:cubicBezTo>
                  <a:pt x="157" y="226"/>
                  <a:pt x="157" y="226"/>
                  <a:pt x="157" y="226"/>
                </a:cubicBezTo>
                <a:cubicBezTo>
                  <a:pt x="157" y="226"/>
                  <a:pt x="157" y="226"/>
                  <a:pt x="157" y="226"/>
                </a:cubicBezTo>
                <a:cubicBezTo>
                  <a:pt x="157" y="226"/>
                  <a:pt x="157" y="225"/>
                  <a:pt x="157" y="225"/>
                </a:cubicBezTo>
                <a:cubicBezTo>
                  <a:pt x="157" y="224"/>
                  <a:pt x="157" y="222"/>
                  <a:pt x="156" y="220"/>
                </a:cubicBezTo>
                <a:cubicBezTo>
                  <a:pt x="155" y="217"/>
                  <a:pt x="153" y="213"/>
                  <a:pt x="150" y="211"/>
                </a:cubicBezTo>
                <a:cubicBezTo>
                  <a:pt x="147" y="209"/>
                  <a:pt x="144" y="208"/>
                  <a:pt x="139" y="207"/>
                </a:cubicBezTo>
                <a:cubicBezTo>
                  <a:pt x="135" y="208"/>
                  <a:pt x="132" y="208"/>
                  <a:pt x="130" y="210"/>
                </a:cubicBezTo>
                <a:cubicBezTo>
                  <a:pt x="128" y="211"/>
                  <a:pt x="126" y="213"/>
                  <a:pt x="125" y="215"/>
                </a:cubicBezTo>
                <a:cubicBezTo>
                  <a:pt x="122" y="218"/>
                  <a:pt x="120" y="224"/>
                  <a:pt x="120" y="226"/>
                </a:cubicBezTo>
                <a:cubicBezTo>
                  <a:pt x="120" y="227"/>
                  <a:pt x="120" y="227"/>
                  <a:pt x="120" y="227"/>
                </a:cubicBezTo>
                <a:cubicBezTo>
                  <a:pt x="120" y="227"/>
                  <a:pt x="120" y="227"/>
                  <a:pt x="120" y="227"/>
                </a:cubicBezTo>
                <a:cubicBezTo>
                  <a:pt x="119" y="234"/>
                  <a:pt x="113" y="239"/>
                  <a:pt x="106" y="239"/>
                </a:cubicBezTo>
                <a:cubicBezTo>
                  <a:pt x="45" y="239"/>
                  <a:pt x="45" y="239"/>
                  <a:pt x="45" y="239"/>
                </a:cubicBezTo>
                <a:cubicBezTo>
                  <a:pt x="38" y="239"/>
                  <a:pt x="32" y="233"/>
                  <a:pt x="32" y="226"/>
                </a:cubicBezTo>
                <a:moveTo>
                  <a:pt x="329" y="207"/>
                </a:moveTo>
                <a:cubicBezTo>
                  <a:pt x="330" y="206"/>
                  <a:pt x="330" y="206"/>
                  <a:pt x="330" y="206"/>
                </a:cubicBezTo>
                <a:cubicBezTo>
                  <a:pt x="330" y="206"/>
                  <a:pt x="330" y="206"/>
                  <a:pt x="329" y="207"/>
                </a:cubicBezTo>
                <a:close/>
                <a:moveTo>
                  <a:pt x="335" y="202"/>
                </a:moveTo>
                <a:cubicBezTo>
                  <a:pt x="335" y="202"/>
                  <a:pt x="335" y="202"/>
                  <a:pt x="336" y="202"/>
                </a:cubicBezTo>
                <a:cubicBezTo>
                  <a:pt x="335" y="202"/>
                  <a:pt x="335" y="202"/>
                  <a:pt x="335" y="202"/>
                </a:cubicBezTo>
                <a:close/>
                <a:moveTo>
                  <a:pt x="336" y="200"/>
                </a:moveTo>
                <a:cubicBezTo>
                  <a:pt x="336" y="200"/>
                  <a:pt x="336" y="200"/>
                  <a:pt x="336" y="201"/>
                </a:cubicBezTo>
                <a:cubicBezTo>
                  <a:pt x="336" y="200"/>
                  <a:pt x="336" y="200"/>
                  <a:pt x="337" y="200"/>
                </a:cubicBezTo>
                <a:cubicBezTo>
                  <a:pt x="337" y="200"/>
                  <a:pt x="337" y="200"/>
                  <a:pt x="336" y="20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1" name="Freeform 552"/>
          <p:cNvSpPr>
            <a:spLocks/>
          </p:cNvSpPr>
          <p:nvPr userDrawn="1"/>
        </p:nvSpPr>
        <p:spPr bwMode="auto">
          <a:xfrm>
            <a:off x="5239683" y="3807176"/>
            <a:ext cx="257242" cy="370285"/>
          </a:xfrm>
          <a:custGeom>
            <a:avLst/>
            <a:gdLst/>
            <a:ahLst/>
            <a:cxnLst>
              <a:cxn ang="0">
                <a:pos x="30" y="424"/>
              </a:cxn>
              <a:cxn ang="0">
                <a:pos x="0" y="372"/>
              </a:cxn>
              <a:cxn ang="0">
                <a:pos x="73" y="220"/>
              </a:cxn>
              <a:cxn ang="0">
                <a:pos x="95" y="235"/>
              </a:cxn>
              <a:cxn ang="0">
                <a:pos x="82" y="287"/>
              </a:cxn>
              <a:cxn ang="0">
                <a:pos x="86" y="290"/>
              </a:cxn>
              <a:cxn ang="0">
                <a:pos x="128" y="263"/>
              </a:cxn>
              <a:cxn ang="0">
                <a:pos x="164" y="198"/>
              </a:cxn>
              <a:cxn ang="0">
                <a:pos x="114" y="153"/>
              </a:cxn>
              <a:cxn ang="0">
                <a:pos x="88" y="157"/>
              </a:cxn>
              <a:cxn ang="0">
                <a:pos x="80" y="149"/>
              </a:cxn>
              <a:cxn ang="0">
                <a:pos x="75" y="122"/>
              </a:cxn>
              <a:cxn ang="0">
                <a:pos x="121" y="64"/>
              </a:cxn>
              <a:cxn ang="0">
                <a:pos x="208" y="69"/>
              </a:cxn>
              <a:cxn ang="0">
                <a:pos x="245" y="162"/>
              </a:cxn>
              <a:cxn ang="0">
                <a:pos x="176" y="318"/>
              </a:cxn>
              <a:cxn ang="0">
                <a:pos x="159" y="298"/>
              </a:cxn>
              <a:cxn ang="0">
                <a:pos x="218" y="162"/>
              </a:cxn>
              <a:cxn ang="0">
                <a:pos x="193" y="91"/>
              </a:cxn>
              <a:cxn ang="0">
                <a:pos x="131" y="89"/>
              </a:cxn>
              <a:cxn ang="0">
                <a:pos x="102" y="122"/>
              </a:cxn>
              <a:cxn ang="0">
                <a:pos x="114" y="127"/>
              </a:cxn>
              <a:cxn ang="0">
                <a:pos x="191" y="198"/>
              </a:cxn>
              <a:cxn ang="0">
                <a:pos x="146" y="282"/>
              </a:cxn>
              <a:cxn ang="0">
                <a:pos x="86" y="317"/>
              </a:cxn>
              <a:cxn ang="0">
                <a:pos x="60" y="304"/>
              </a:cxn>
              <a:cxn ang="0">
                <a:pos x="43" y="320"/>
              </a:cxn>
              <a:cxn ang="0">
                <a:pos x="30" y="389"/>
              </a:cxn>
              <a:cxn ang="0">
                <a:pos x="81" y="410"/>
              </a:cxn>
              <a:cxn ang="0">
                <a:pos x="247" y="254"/>
              </a:cxn>
              <a:cxn ang="0">
                <a:pos x="244" y="68"/>
              </a:cxn>
              <a:cxn ang="0">
                <a:pos x="151" y="26"/>
              </a:cxn>
              <a:cxn ang="0">
                <a:pos x="73" y="64"/>
              </a:cxn>
              <a:cxn ang="0">
                <a:pos x="46" y="145"/>
              </a:cxn>
              <a:cxn ang="0">
                <a:pos x="20" y="148"/>
              </a:cxn>
              <a:cxn ang="0">
                <a:pos x="38" y="69"/>
              </a:cxn>
              <a:cxn ang="0">
                <a:pos x="151" y="0"/>
              </a:cxn>
              <a:cxn ang="0">
                <a:pos x="264" y="50"/>
              </a:cxn>
              <a:cxn ang="0">
                <a:pos x="271" y="266"/>
              </a:cxn>
              <a:cxn ang="0">
                <a:pos x="82" y="437"/>
              </a:cxn>
            </a:cxnLst>
            <a:rect l="0" t="0" r="r" b="b"/>
            <a:pathLst>
              <a:path w="303" h="437">
                <a:moveTo>
                  <a:pt x="81" y="437"/>
                </a:moveTo>
                <a:cubicBezTo>
                  <a:pt x="61" y="437"/>
                  <a:pt x="43" y="431"/>
                  <a:pt x="30" y="424"/>
                </a:cubicBezTo>
                <a:cubicBezTo>
                  <a:pt x="20" y="418"/>
                  <a:pt x="12" y="411"/>
                  <a:pt x="7" y="402"/>
                </a:cubicBezTo>
                <a:cubicBezTo>
                  <a:pt x="2" y="393"/>
                  <a:pt x="0" y="383"/>
                  <a:pt x="0" y="372"/>
                </a:cubicBezTo>
                <a:cubicBezTo>
                  <a:pt x="0" y="353"/>
                  <a:pt x="6" y="333"/>
                  <a:pt x="19" y="308"/>
                </a:cubicBezTo>
                <a:cubicBezTo>
                  <a:pt x="31" y="283"/>
                  <a:pt x="49" y="254"/>
                  <a:pt x="73" y="220"/>
                </a:cubicBezTo>
                <a:cubicBezTo>
                  <a:pt x="77" y="215"/>
                  <a:pt x="85" y="213"/>
                  <a:pt x="91" y="217"/>
                </a:cubicBezTo>
                <a:cubicBezTo>
                  <a:pt x="97" y="221"/>
                  <a:pt x="99" y="229"/>
                  <a:pt x="95" y="235"/>
                </a:cubicBezTo>
                <a:cubicBezTo>
                  <a:pt x="85" y="250"/>
                  <a:pt x="80" y="267"/>
                  <a:pt x="80" y="278"/>
                </a:cubicBezTo>
                <a:cubicBezTo>
                  <a:pt x="80" y="282"/>
                  <a:pt x="81" y="285"/>
                  <a:pt x="82" y="287"/>
                </a:cubicBezTo>
                <a:cubicBezTo>
                  <a:pt x="83" y="289"/>
                  <a:pt x="83" y="289"/>
                  <a:pt x="84" y="290"/>
                </a:cubicBezTo>
                <a:cubicBezTo>
                  <a:pt x="84" y="290"/>
                  <a:pt x="84" y="290"/>
                  <a:pt x="86" y="290"/>
                </a:cubicBezTo>
                <a:cubicBezTo>
                  <a:pt x="88" y="290"/>
                  <a:pt x="93" y="289"/>
                  <a:pt x="100" y="285"/>
                </a:cubicBezTo>
                <a:cubicBezTo>
                  <a:pt x="108" y="281"/>
                  <a:pt x="117" y="274"/>
                  <a:pt x="128" y="263"/>
                </a:cubicBezTo>
                <a:cubicBezTo>
                  <a:pt x="141" y="249"/>
                  <a:pt x="151" y="237"/>
                  <a:pt x="156" y="226"/>
                </a:cubicBezTo>
                <a:cubicBezTo>
                  <a:pt x="162" y="215"/>
                  <a:pt x="164" y="206"/>
                  <a:pt x="164" y="198"/>
                </a:cubicBezTo>
                <a:cubicBezTo>
                  <a:pt x="164" y="184"/>
                  <a:pt x="158" y="174"/>
                  <a:pt x="148" y="166"/>
                </a:cubicBezTo>
                <a:cubicBezTo>
                  <a:pt x="139" y="158"/>
                  <a:pt x="126" y="153"/>
                  <a:pt x="114" y="153"/>
                </a:cubicBezTo>
                <a:cubicBezTo>
                  <a:pt x="108" y="153"/>
                  <a:pt x="103" y="154"/>
                  <a:pt x="98" y="157"/>
                </a:cubicBezTo>
                <a:cubicBezTo>
                  <a:pt x="95" y="158"/>
                  <a:pt x="91" y="158"/>
                  <a:pt x="88" y="157"/>
                </a:cubicBezTo>
                <a:cubicBezTo>
                  <a:pt x="84" y="155"/>
                  <a:pt x="82" y="153"/>
                  <a:pt x="80" y="149"/>
                </a:cubicBezTo>
                <a:cubicBezTo>
                  <a:pt x="80" y="149"/>
                  <a:pt x="80" y="149"/>
                  <a:pt x="80" y="149"/>
                </a:cubicBezTo>
                <a:cubicBezTo>
                  <a:pt x="80" y="149"/>
                  <a:pt x="80" y="149"/>
                  <a:pt x="80" y="149"/>
                </a:cubicBezTo>
                <a:cubicBezTo>
                  <a:pt x="77" y="140"/>
                  <a:pt x="75" y="132"/>
                  <a:pt x="75" y="122"/>
                </a:cubicBezTo>
                <a:cubicBezTo>
                  <a:pt x="75" y="111"/>
                  <a:pt x="78" y="99"/>
                  <a:pt x="86" y="88"/>
                </a:cubicBezTo>
                <a:cubicBezTo>
                  <a:pt x="94" y="78"/>
                  <a:pt x="106" y="70"/>
                  <a:pt x="121" y="64"/>
                </a:cubicBezTo>
                <a:cubicBezTo>
                  <a:pt x="134" y="59"/>
                  <a:pt x="148" y="56"/>
                  <a:pt x="162" y="56"/>
                </a:cubicBezTo>
                <a:cubicBezTo>
                  <a:pt x="178" y="56"/>
                  <a:pt x="194" y="60"/>
                  <a:pt x="208" y="69"/>
                </a:cubicBezTo>
                <a:cubicBezTo>
                  <a:pt x="222" y="79"/>
                  <a:pt x="233" y="93"/>
                  <a:pt x="238" y="113"/>
                </a:cubicBezTo>
                <a:cubicBezTo>
                  <a:pt x="242" y="126"/>
                  <a:pt x="245" y="143"/>
                  <a:pt x="245" y="162"/>
                </a:cubicBezTo>
                <a:cubicBezTo>
                  <a:pt x="245" y="186"/>
                  <a:pt x="240" y="214"/>
                  <a:pt x="230" y="242"/>
                </a:cubicBezTo>
                <a:cubicBezTo>
                  <a:pt x="219" y="269"/>
                  <a:pt x="202" y="296"/>
                  <a:pt x="176" y="318"/>
                </a:cubicBezTo>
                <a:cubicBezTo>
                  <a:pt x="170" y="323"/>
                  <a:pt x="161" y="322"/>
                  <a:pt x="157" y="317"/>
                </a:cubicBezTo>
                <a:cubicBezTo>
                  <a:pt x="152" y="311"/>
                  <a:pt x="153" y="303"/>
                  <a:pt x="159" y="298"/>
                </a:cubicBezTo>
                <a:cubicBezTo>
                  <a:pt x="181" y="279"/>
                  <a:pt x="196" y="256"/>
                  <a:pt x="205" y="232"/>
                </a:cubicBezTo>
                <a:cubicBezTo>
                  <a:pt x="214" y="208"/>
                  <a:pt x="218" y="183"/>
                  <a:pt x="218" y="162"/>
                </a:cubicBezTo>
                <a:cubicBezTo>
                  <a:pt x="218" y="145"/>
                  <a:pt x="216" y="130"/>
                  <a:pt x="213" y="120"/>
                </a:cubicBezTo>
                <a:cubicBezTo>
                  <a:pt x="208" y="106"/>
                  <a:pt x="201" y="97"/>
                  <a:pt x="193" y="91"/>
                </a:cubicBezTo>
                <a:cubicBezTo>
                  <a:pt x="184" y="85"/>
                  <a:pt x="174" y="82"/>
                  <a:pt x="162" y="82"/>
                </a:cubicBezTo>
                <a:cubicBezTo>
                  <a:pt x="152" y="82"/>
                  <a:pt x="141" y="85"/>
                  <a:pt x="131" y="89"/>
                </a:cubicBezTo>
                <a:cubicBezTo>
                  <a:pt x="119" y="93"/>
                  <a:pt x="112" y="99"/>
                  <a:pt x="108" y="104"/>
                </a:cubicBezTo>
                <a:cubicBezTo>
                  <a:pt x="104" y="110"/>
                  <a:pt x="102" y="116"/>
                  <a:pt x="102" y="122"/>
                </a:cubicBezTo>
                <a:cubicBezTo>
                  <a:pt x="102" y="124"/>
                  <a:pt x="102" y="126"/>
                  <a:pt x="102" y="128"/>
                </a:cubicBezTo>
                <a:cubicBezTo>
                  <a:pt x="106" y="127"/>
                  <a:pt x="110" y="127"/>
                  <a:pt x="114" y="127"/>
                </a:cubicBezTo>
                <a:cubicBezTo>
                  <a:pt x="132" y="127"/>
                  <a:pt x="151" y="133"/>
                  <a:pt x="165" y="145"/>
                </a:cubicBezTo>
                <a:cubicBezTo>
                  <a:pt x="180" y="157"/>
                  <a:pt x="191" y="176"/>
                  <a:pt x="191" y="198"/>
                </a:cubicBezTo>
                <a:cubicBezTo>
                  <a:pt x="191" y="211"/>
                  <a:pt x="187" y="224"/>
                  <a:pt x="180" y="238"/>
                </a:cubicBezTo>
                <a:cubicBezTo>
                  <a:pt x="173" y="252"/>
                  <a:pt x="162" y="267"/>
                  <a:pt x="146" y="282"/>
                </a:cubicBezTo>
                <a:cubicBezTo>
                  <a:pt x="134" y="294"/>
                  <a:pt x="124" y="302"/>
                  <a:pt x="114" y="308"/>
                </a:cubicBezTo>
                <a:cubicBezTo>
                  <a:pt x="104" y="313"/>
                  <a:pt x="95" y="317"/>
                  <a:pt x="86" y="317"/>
                </a:cubicBezTo>
                <a:cubicBezTo>
                  <a:pt x="81" y="317"/>
                  <a:pt x="76" y="316"/>
                  <a:pt x="71" y="313"/>
                </a:cubicBezTo>
                <a:cubicBezTo>
                  <a:pt x="67" y="311"/>
                  <a:pt x="63" y="307"/>
                  <a:pt x="60" y="304"/>
                </a:cubicBezTo>
                <a:cubicBezTo>
                  <a:pt x="59" y="301"/>
                  <a:pt x="57" y="298"/>
                  <a:pt x="56" y="295"/>
                </a:cubicBezTo>
                <a:cubicBezTo>
                  <a:pt x="51" y="304"/>
                  <a:pt x="46" y="312"/>
                  <a:pt x="43" y="320"/>
                </a:cubicBezTo>
                <a:cubicBezTo>
                  <a:pt x="31" y="343"/>
                  <a:pt x="26" y="360"/>
                  <a:pt x="26" y="372"/>
                </a:cubicBezTo>
                <a:cubicBezTo>
                  <a:pt x="26" y="379"/>
                  <a:pt x="28" y="384"/>
                  <a:pt x="30" y="389"/>
                </a:cubicBezTo>
                <a:cubicBezTo>
                  <a:pt x="33" y="393"/>
                  <a:pt x="37" y="397"/>
                  <a:pt x="43" y="401"/>
                </a:cubicBezTo>
                <a:cubicBezTo>
                  <a:pt x="52" y="406"/>
                  <a:pt x="66" y="411"/>
                  <a:pt x="81" y="410"/>
                </a:cubicBezTo>
                <a:cubicBezTo>
                  <a:pt x="100" y="410"/>
                  <a:pt x="121" y="404"/>
                  <a:pt x="142" y="385"/>
                </a:cubicBezTo>
                <a:cubicBezTo>
                  <a:pt x="192" y="336"/>
                  <a:pt x="226" y="292"/>
                  <a:pt x="247" y="254"/>
                </a:cubicBezTo>
                <a:cubicBezTo>
                  <a:pt x="268" y="215"/>
                  <a:pt x="276" y="181"/>
                  <a:pt x="276" y="153"/>
                </a:cubicBezTo>
                <a:cubicBezTo>
                  <a:pt x="276" y="117"/>
                  <a:pt x="263" y="89"/>
                  <a:pt x="244" y="68"/>
                </a:cubicBezTo>
                <a:cubicBezTo>
                  <a:pt x="225" y="47"/>
                  <a:pt x="199" y="34"/>
                  <a:pt x="174" y="29"/>
                </a:cubicBezTo>
                <a:cubicBezTo>
                  <a:pt x="166" y="27"/>
                  <a:pt x="158" y="26"/>
                  <a:pt x="151" y="26"/>
                </a:cubicBezTo>
                <a:cubicBezTo>
                  <a:pt x="134" y="26"/>
                  <a:pt x="119" y="30"/>
                  <a:pt x="106" y="37"/>
                </a:cubicBezTo>
                <a:cubicBezTo>
                  <a:pt x="94" y="44"/>
                  <a:pt x="82" y="53"/>
                  <a:pt x="73" y="64"/>
                </a:cubicBezTo>
                <a:cubicBezTo>
                  <a:pt x="55" y="86"/>
                  <a:pt x="45" y="115"/>
                  <a:pt x="46" y="136"/>
                </a:cubicBezTo>
                <a:cubicBezTo>
                  <a:pt x="46" y="139"/>
                  <a:pt x="46" y="142"/>
                  <a:pt x="46" y="145"/>
                </a:cubicBezTo>
                <a:cubicBezTo>
                  <a:pt x="47" y="152"/>
                  <a:pt x="42" y="159"/>
                  <a:pt x="35" y="160"/>
                </a:cubicBezTo>
                <a:cubicBezTo>
                  <a:pt x="27" y="160"/>
                  <a:pt x="21" y="155"/>
                  <a:pt x="20" y="148"/>
                </a:cubicBezTo>
                <a:cubicBezTo>
                  <a:pt x="19" y="144"/>
                  <a:pt x="19" y="140"/>
                  <a:pt x="19" y="136"/>
                </a:cubicBezTo>
                <a:cubicBezTo>
                  <a:pt x="19" y="115"/>
                  <a:pt x="26" y="91"/>
                  <a:pt x="38" y="69"/>
                </a:cubicBezTo>
                <a:cubicBezTo>
                  <a:pt x="51" y="47"/>
                  <a:pt x="69" y="26"/>
                  <a:pt x="94" y="13"/>
                </a:cubicBezTo>
                <a:cubicBezTo>
                  <a:pt x="110" y="5"/>
                  <a:pt x="130" y="0"/>
                  <a:pt x="151" y="0"/>
                </a:cubicBezTo>
                <a:cubicBezTo>
                  <a:pt x="160" y="0"/>
                  <a:pt x="170" y="1"/>
                  <a:pt x="180" y="3"/>
                </a:cubicBezTo>
                <a:cubicBezTo>
                  <a:pt x="210" y="9"/>
                  <a:pt x="240" y="25"/>
                  <a:pt x="264" y="50"/>
                </a:cubicBezTo>
                <a:cubicBezTo>
                  <a:pt x="287" y="75"/>
                  <a:pt x="303" y="110"/>
                  <a:pt x="303" y="153"/>
                </a:cubicBezTo>
                <a:cubicBezTo>
                  <a:pt x="303" y="187"/>
                  <a:pt x="293" y="224"/>
                  <a:pt x="271" y="266"/>
                </a:cubicBezTo>
                <a:cubicBezTo>
                  <a:pt x="248" y="308"/>
                  <a:pt x="212" y="354"/>
                  <a:pt x="160" y="404"/>
                </a:cubicBezTo>
                <a:cubicBezTo>
                  <a:pt x="135" y="428"/>
                  <a:pt x="107" y="437"/>
                  <a:pt x="82" y="437"/>
                </a:cubicBezTo>
                <a:cubicBezTo>
                  <a:pt x="82" y="437"/>
                  <a:pt x="82" y="437"/>
                  <a:pt x="81" y="437"/>
                </a:cubicBezTo>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grpSp>
        <p:nvGrpSpPr>
          <p:cNvPr id="34" name="Group 319"/>
          <p:cNvGrpSpPr>
            <a:grpSpLocks noChangeAspect="1"/>
          </p:cNvGrpSpPr>
          <p:nvPr userDrawn="1"/>
        </p:nvGrpSpPr>
        <p:grpSpPr bwMode="auto">
          <a:xfrm>
            <a:off x="5724957" y="876600"/>
            <a:ext cx="200077" cy="379810"/>
            <a:chOff x="2579" y="548"/>
            <a:chExt cx="168" cy="319"/>
          </a:xfrm>
          <a:noFill/>
        </p:grpSpPr>
        <p:sp>
          <p:nvSpPr>
            <p:cNvPr id="93"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95" name="Freeform 389"/>
          <p:cNvSpPr>
            <a:spLocks/>
          </p:cNvSpPr>
          <p:nvPr userDrawn="1"/>
        </p:nvSpPr>
        <p:spPr bwMode="auto">
          <a:xfrm>
            <a:off x="5663624" y="3383970"/>
            <a:ext cx="322744" cy="223838"/>
          </a:xfrm>
          <a:custGeom>
            <a:avLst/>
            <a:gdLst/>
            <a:ahLst/>
            <a:cxnLst>
              <a:cxn ang="0">
                <a:pos x="274" y="19"/>
              </a:cxn>
              <a:cxn ang="0">
                <a:pos x="255" y="64"/>
              </a:cxn>
              <a:cxn ang="0">
                <a:pos x="256" y="75"/>
              </a:cxn>
              <a:cxn ang="0">
                <a:pos x="151" y="181"/>
              </a:cxn>
              <a:cxn ang="0">
                <a:pos x="142" y="202"/>
              </a:cxn>
              <a:cxn ang="0">
                <a:pos x="142" y="202"/>
              </a:cxn>
              <a:cxn ang="0">
                <a:pos x="147" y="220"/>
              </a:cxn>
              <a:cxn ang="0">
                <a:pos x="123" y="235"/>
              </a:cxn>
              <a:cxn ang="0">
                <a:pos x="104" y="233"/>
              </a:cxn>
              <a:cxn ang="0">
                <a:pos x="100" y="213"/>
              </a:cxn>
              <a:cxn ang="0">
                <a:pos x="81" y="170"/>
              </a:cxn>
              <a:cxn ang="0">
                <a:pos x="32" y="182"/>
              </a:cxn>
              <a:cxn ang="0">
                <a:pos x="7" y="218"/>
              </a:cxn>
              <a:cxn ang="0">
                <a:pos x="5" y="221"/>
              </a:cxn>
              <a:cxn ang="0">
                <a:pos x="6" y="221"/>
              </a:cxn>
              <a:cxn ang="0">
                <a:pos x="5" y="239"/>
              </a:cxn>
              <a:cxn ang="0">
                <a:pos x="23" y="241"/>
              </a:cxn>
              <a:cxn ang="0">
                <a:pos x="30" y="231"/>
              </a:cxn>
              <a:cxn ang="0">
                <a:pos x="31" y="231"/>
              </a:cxn>
              <a:cxn ang="0">
                <a:pos x="70" y="194"/>
              </a:cxn>
              <a:cxn ang="0">
                <a:pos x="73" y="211"/>
              </a:cxn>
              <a:cxn ang="0">
                <a:pos x="89" y="255"/>
              </a:cxn>
              <a:cxn ang="0">
                <a:pos x="129" y="261"/>
              </a:cxn>
              <a:cxn ang="0">
                <a:pos x="176" y="225"/>
              </a:cxn>
              <a:cxn ang="0">
                <a:pos x="178" y="219"/>
              </a:cxn>
              <a:cxn ang="0">
                <a:pos x="174" y="209"/>
              </a:cxn>
              <a:cxn ang="0">
                <a:pos x="170" y="205"/>
              </a:cxn>
              <a:cxn ang="0">
                <a:pos x="168" y="202"/>
              </a:cxn>
              <a:cxn ang="0">
                <a:pos x="170" y="200"/>
              </a:cxn>
              <a:cxn ang="0">
                <a:pos x="280" y="89"/>
              </a:cxn>
              <a:cxn ang="0">
                <a:pos x="284" y="76"/>
              </a:cxn>
              <a:cxn ang="0">
                <a:pos x="293" y="38"/>
              </a:cxn>
              <a:cxn ang="0">
                <a:pos x="319" y="27"/>
              </a:cxn>
              <a:cxn ang="0">
                <a:pos x="346" y="38"/>
              </a:cxn>
              <a:cxn ang="0">
                <a:pos x="357" y="65"/>
              </a:cxn>
              <a:cxn ang="0">
                <a:pos x="346" y="91"/>
              </a:cxn>
              <a:cxn ang="0">
                <a:pos x="308" y="100"/>
              </a:cxn>
              <a:cxn ang="0">
                <a:pos x="295" y="104"/>
              </a:cxn>
              <a:cxn ang="0">
                <a:pos x="193" y="206"/>
              </a:cxn>
              <a:cxn ang="0">
                <a:pos x="193" y="225"/>
              </a:cxn>
              <a:cxn ang="0">
                <a:pos x="212" y="225"/>
              </a:cxn>
              <a:cxn ang="0">
                <a:pos x="308" y="128"/>
              </a:cxn>
              <a:cxn ang="0">
                <a:pos x="365" y="110"/>
              </a:cxn>
              <a:cxn ang="0">
                <a:pos x="383" y="65"/>
              </a:cxn>
              <a:cxn ang="0">
                <a:pos x="365" y="19"/>
              </a:cxn>
              <a:cxn ang="0">
                <a:pos x="319" y="0"/>
              </a:cxn>
              <a:cxn ang="0">
                <a:pos x="274" y="19"/>
              </a:cxn>
            </a:cxnLst>
            <a:rect l="0" t="0" r="r" b="b"/>
            <a:pathLst>
              <a:path w="383" h="264">
                <a:moveTo>
                  <a:pt x="274" y="19"/>
                </a:moveTo>
                <a:cubicBezTo>
                  <a:pt x="262" y="31"/>
                  <a:pt x="255" y="48"/>
                  <a:pt x="255" y="64"/>
                </a:cubicBezTo>
                <a:cubicBezTo>
                  <a:pt x="255" y="68"/>
                  <a:pt x="256" y="72"/>
                  <a:pt x="256" y="75"/>
                </a:cubicBezTo>
                <a:cubicBezTo>
                  <a:pt x="247" y="85"/>
                  <a:pt x="151" y="181"/>
                  <a:pt x="151" y="181"/>
                </a:cubicBezTo>
                <a:cubicBezTo>
                  <a:pt x="145" y="187"/>
                  <a:pt x="142" y="194"/>
                  <a:pt x="142" y="202"/>
                </a:cubicBezTo>
                <a:cubicBezTo>
                  <a:pt x="142" y="202"/>
                  <a:pt x="142" y="202"/>
                  <a:pt x="142" y="202"/>
                </a:cubicBezTo>
                <a:cubicBezTo>
                  <a:pt x="142" y="209"/>
                  <a:pt x="144" y="215"/>
                  <a:pt x="147" y="220"/>
                </a:cubicBezTo>
                <a:cubicBezTo>
                  <a:pt x="141" y="227"/>
                  <a:pt x="132" y="232"/>
                  <a:pt x="123" y="235"/>
                </a:cubicBezTo>
                <a:cubicBezTo>
                  <a:pt x="117" y="236"/>
                  <a:pt x="110" y="237"/>
                  <a:pt x="104" y="233"/>
                </a:cubicBezTo>
                <a:cubicBezTo>
                  <a:pt x="99" y="229"/>
                  <a:pt x="99" y="225"/>
                  <a:pt x="100" y="213"/>
                </a:cubicBezTo>
                <a:cubicBezTo>
                  <a:pt x="101" y="201"/>
                  <a:pt x="103" y="180"/>
                  <a:pt x="81" y="170"/>
                </a:cubicBezTo>
                <a:cubicBezTo>
                  <a:pt x="71" y="165"/>
                  <a:pt x="52" y="161"/>
                  <a:pt x="32" y="182"/>
                </a:cubicBezTo>
                <a:cubicBezTo>
                  <a:pt x="21" y="193"/>
                  <a:pt x="13" y="208"/>
                  <a:pt x="7" y="218"/>
                </a:cubicBezTo>
                <a:cubicBezTo>
                  <a:pt x="6" y="221"/>
                  <a:pt x="5" y="221"/>
                  <a:pt x="5" y="221"/>
                </a:cubicBezTo>
                <a:cubicBezTo>
                  <a:pt x="6" y="221"/>
                  <a:pt x="6" y="221"/>
                  <a:pt x="6" y="221"/>
                </a:cubicBezTo>
                <a:cubicBezTo>
                  <a:pt x="1" y="225"/>
                  <a:pt x="0" y="234"/>
                  <a:pt x="5" y="239"/>
                </a:cubicBezTo>
                <a:cubicBezTo>
                  <a:pt x="10" y="245"/>
                  <a:pt x="17" y="246"/>
                  <a:pt x="23" y="241"/>
                </a:cubicBezTo>
                <a:cubicBezTo>
                  <a:pt x="25" y="239"/>
                  <a:pt x="28" y="236"/>
                  <a:pt x="30" y="231"/>
                </a:cubicBezTo>
                <a:cubicBezTo>
                  <a:pt x="30" y="231"/>
                  <a:pt x="31" y="231"/>
                  <a:pt x="31" y="231"/>
                </a:cubicBezTo>
                <a:cubicBezTo>
                  <a:pt x="45" y="204"/>
                  <a:pt x="57" y="188"/>
                  <a:pt x="70" y="194"/>
                </a:cubicBezTo>
                <a:cubicBezTo>
                  <a:pt x="74" y="196"/>
                  <a:pt x="75" y="197"/>
                  <a:pt x="73" y="211"/>
                </a:cubicBezTo>
                <a:cubicBezTo>
                  <a:pt x="72" y="223"/>
                  <a:pt x="71" y="242"/>
                  <a:pt x="89" y="255"/>
                </a:cubicBezTo>
                <a:cubicBezTo>
                  <a:pt x="100" y="262"/>
                  <a:pt x="114" y="264"/>
                  <a:pt x="129" y="261"/>
                </a:cubicBezTo>
                <a:cubicBezTo>
                  <a:pt x="148" y="256"/>
                  <a:pt x="167" y="242"/>
                  <a:pt x="176" y="225"/>
                </a:cubicBezTo>
                <a:cubicBezTo>
                  <a:pt x="176" y="225"/>
                  <a:pt x="178" y="219"/>
                  <a:pt x="178" y="219"/>
                </a:cubicBezTo>
                <a:cubicBezTo>
                  <a:pt x="179" y="215"/>
                  <a:pt x="177" y="213"/>
                  <a:pt x="174" y="209"/>
                </a:cubicBezTo>
                <a:cubicBezTo>
                  <a:pt x="170" y="205"/>
                  <a:pt x="170" y="205"/>
                  <a:pt x="170" y="205"/>
                </a:cubicBezTo>
                <a:cubicBezTo>
                  <a:pt x="169" y="204"/>
                  <a:pt x="168" y="203"/>
                  <a:pt x="168" y="202"/>
                </a:cubicBezTo>
                <a:cubicBezTo>
                  <a:pt x="168" y="202"/>
                  <a:pt x="169" y="201"/>
                  <a:pt x="170" y="200"/>
                </a:cubicBezTo>
                <a:cubicBezTo>
                  <a:pt x="280" y="89"/>
                  <a:pt x="280" y="89"/>
                  <a:pt x="280" y="89"/>
                </a:cubicBezTo>
                <a:cubicBezTo>
                  <a:pt x="284" y="86"/>
                  <a:pt x="285" y="80"/>
                  <a:pt x="284" y="76"/>
                </a:cubicBezTo>
                <a:cubicBezTo>
                  <a:pt x="279" y="62"/>
                  <a:pt x="283" y="48"/>
                  <a:pt x="293" y="38"/>
                </a:cubicBezTo>
                <a:cubicBezTo>
                  <a:pt x="300" y="31"/>
                  <a:pt x="309" y="27"/>
                  <a:pt x="319" y="27"/>
                </a:cubicBezTo>
                <a:cubicBezTo>
                  <a:pt x="329" y="27"/>
                  <a:pt x="339" y="31"/>
                  <a:pt x="346" y="38"/>
                </a:cubicBezTo>
                <a:cubicBezTo>
                  <a:pt x="353" y="45"/>
                  <a:pt x="357" y="55"/>
                  <a:pt x="357" y="65"/>
                </a:cubicBezTo>
                <a:cubicBezTo>
                  <a:pt x="357" y="75"/>
                  <a:pt x="353" y="84"/>
                  <a:pt x="346" y="91"/>
                </a:cubicBezTo>
                <a:cubicBezTo>
                  <a:pt x="336" y="101"/>
                  <a:pt x="322" y="104"/>
                  <a:pt x="308" y="100"/>
                </a:cubicBezTo>
                <a:cubicBezTo>
                  <a:pt x="304" y="99"/>
                  <a:pt x="298" y="100"/>
                  <a:pt x="295" y="104"/>
                </a:cubicBezTo>
                <a:cubicBezTo>
                  <a:pt x="193" y="206"/>
                  <a:pt x="193" y="206"/>
                  <a:pt x="193" y="206"/>
                </a:cubicBezTo>
                <a:cubicBezTo>
                  <a:pt x="188" y="211"/>
                  <a:pt x="188" y="219"/>
                  <a:pt x="193" y="225"/>
                </a:cubicBezTo>
                <a:cubicBezTo>
                  <a:pt x="198" y="230"/>
                  <a:pt x="206" y="230"/>
                  <a:pt x="212" y="225"/>
                </a:cubicBezTo>
                <a:cubicBezTo>
                  <a:pt x="212" y="225"/>
                  <a:pt x="299" y="137"/>
                  <a:pt x="308" y="128"/>
                </a:cubicBezTo>
                <a:cubicBezTo>
                  <a:pt x="329" y="131"/>
                  <a:pt x="350" y="125"/>
                  <a:pt x="365" y="110"/>
                </a:cubicBezTo>
                <a:cubicBezTo>
                  <a:pt x="377" y="98"/>
                  <a:pt x="383" y="82"/>
                  <a:pt x="383" y="65"/>
                </a:cubicBezTo>
                <a:cubicBezTo>
                  <a:pt x="383" y="47"/>
                  <a:pt x="377" y="31"/>
                  <a:pt x="365" y="19"/>
                </a:cubicBezTo>
                <a:cubicBezTo>
                  <a:pt x="353" y="7"/>
                  <a:pt x="336" y="0"/>
                  <a:pt x="319" y="0"/>
                </a:cubicBezTo>
                <a:cubicBezTo>
                  <a:pt x="302" y="0"/>
                  <a:pt x="286" y="7"/>
                  <a:pt x="274" y="19"/>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6" name="Freeform 457"/>
          <p:cNvSpPr>
            <a:spLocks noEditPoints="1"/>
          </p:cNvSpPr>
          <p:nvPr userDrawn="1"/>
        </p:nvSpPr>
        <p:spPr bwMode="auto">
          <a:xfrm>
            <a:off x="5698756" y="1803961"/>
            <a:ext cx="252478" cy="354806"/>
          </a:xfrm>
          <a:custGeom>
            <a:avLst/>
            <a:gdLst/>
            <a:ahLst/>
            <a:cxnLst>
              <a:cxn ang="0">
                <a:pos x="139" y="0"/>
              </a:cxn>
              <a:cxn ang="0">
                <a:pos x="60" y="45"/>
              </a:cxn>
              <a:cxn ang="0">
                <a:pos x="66" y="70"/>
              </a:cxn>
              <a:cxn ang="0">
                <a:pos x="200" y="115"/>
              </a:cxn>
              <a:cxn ang="0">
                <a:pos x="146" y="150"/>
              </a:cxn>
              <a:cxn ang="0">
                <a:pos x="141" y="194"/>
              </a:cxn>
              <a:cxn ang="0">
                <a:pos x="141" y="220"/>
              </a:cxn>
              <a:cxn ang="0">
                <a:pos x="146" y="259"/>
              </a:cxn>
              <a:cxn ang="0">
                <a:pos x="128" y="272"/>
              </a:cxn>
              <a:cxn ang="0">
                <a:pos x="146" y="286"/>
              </a:cxn>
              <a:cxn ang="0">
                <a:pos x="65" y="322"/>
              </a:cxn>
              <a:cxn ang="0">
                <a:pos x="26" y="322"/>
              </a:cxn>
              <a:cxn ang="0">
                <a:pos x="46" y="255"/>
              </a:cxn>
              <a:cxn ang="0">
                <a:pos x="78" y="248"/>
              </a:cxn>
              <a:cxn ang="0">
                <a:pos x="125" y="210"/>
              </a:cxn>
              <a:cxn ang="0">
                <a:pos x="68" y="223"/>
              </a:cxn>
              <a:cxn ang="0">
                <a:pos x="45" y="228"/>
              </a:cxn>
              <a:cxn ang="0">
                <a:pos x="26" y="158"/>
              </a:cxn>
              <a:cxn ang="0">
                <a:pos x="78" y="123"/>
              </a:cxn>
              <a:cxn ang="0">
                <a:pos x="65" y="84"/>
              </a:cxn>
              <a:cxn ang="0">
                <a:pos x="52" y="115"/>
              </a:cxn>
              <a:cxn ang="0">
                <a:pos x="0" y="150"/>
              </a:cxn>
              <a:cxn ang="0">
                <a:pos x="13" y="348"/>
              </a:cxn>
              <a:cxn ang="0">
                <a:pos x="52" y="406"/>
              </a:cxn>
              <a:cxn ang="0">
                <a:pos x="213" y="419"/>
              </a:cxn>
              <a:cxn ang="0">
                <a:pos x="226" y="309"/>
              </a:cxn>
              <a:cxn ang="0">
                <a:pos x="222" y="300"/>
              </a:cxn>
              <a:cxn ang="0">
                <a:pos x="221" y="298"/>
              </a:cxn>
              <a:cxn ang="0">
                <a:pos x="220" y="298"/>
              </a:cxn>
              <a:cxn ang="0">
                <a:pos x="219" y="297"/>
              </a:cxn>
              <a:cxn ang="0">
                <a:pos x="218" y="297"/>
              </a:cxn>
              <a:cxn ang="0">
                <a:pos x="216" y="296"/>
              </a:cxn>
              <a:cxn ang="0">
                <a:pos x="214" y="296"/>
              </a:cxn>
              <a:cxn ang="0">
                <a:pos x="212" y="296"/>
              </a:cxn>
              <a:cxn ang="0">
                <a:pos x="207" y="297"/>
              </a:cxn>
              <a:cxn ang="0">
                <a:pos x="207" y="297"/>
              </a:cxn>
              <a:cxn ang="0">
                <a:pos x="206" y="297"/>
              </a:cxn>
              <a:cxn ang="0">
                <a:pos x="173" y="158"/>
              </a:cxn>
              <a:cxn ang="0">
                <a:pos x="226" y="123"/>
              </a:cxn>
              <a:cxn ang="0">
                <a:pos x="213" y="43"/>
              </a:cxn>
              <a:cxn ang="0">
                <a:pos x="143" y="27"/>
              </a:cxn>
              <a:cxn ang="0">
                <a:pos x="272" y="357"/>
              </a:cxn>
              <a:cxn ang="0">
                <a:pos x="237" y="392"/>
              </a:cxn>
              <a:cxn ang="0">
                <a:pos x="292" y="377"/>
              </a:cxn>
              <a:cxn ang="0">
                <a:pos x="298" y="14"/>
              </a:cxn>
              <a:cxn ang="0">
                <a:pos x="78" y="348"/>
              </a:cxn>
              <a:cxn ang="0">
                <a:pos x="164" y="348"/>
              </a:cxn>
              <a:cxn ang="0">
                <a:pos x="200" y="331"/>
              </a:cxn>
              <a:cxn ang="0">
                <a:pos x="78" y="392"/>
              </a:cxn>
            </a:cxnLst>
            <a:rect l="0" t="0" r="r" b="b"/>
            <a:pathLst>
              <a:path w="298" h="419">
                <a:moveTo>
                  <a:pt x="285" y="0"/>
                </a:moveTo>
                <a:cubicBezTo>
                  <a:pt x="139" y="0"/>
                  <a:pt x="139" y="0"/>
                  <a:pt x="139" y="0"/>
                </a:cubicBezTo>
                <a:cubicBezTo>
                  <a:pt x="137" y="0"/>
                  <a:pt x="134" y="1"/>
                  <a:pt x="132" y="2"/>
                </a:cubicBezTo>
                <a:cubicBezTo>
                  <a:pt x="60" y="45"/>
                  <a:pt x="60" y="45"/>
                  <a:pt x="60" y="45"/>
                </a:cubicBezTo>
                <a:cubicBezTo>
                  <a:pt x="54" y="48"/>
                  <a:pt x="52" y="54"/>
                  <a:pt x="53" y="60"/>
                </a:cubicBezTo>
                <a:cubicBezTo>
                  <a:pt x="55" y="66"/>
                  <a:pt x="60" y="70"/>
                  <a:pt x="66" y="70"/>
                </a:cubicBezTo>
                <a:cubicBezTo>
                  <a:pt x="200" y="70"/>
                  <a:pt x="200" y="70"/>
                  <a:pt x="200" y="70"/>
                </a:cubicBezTo>
                <a:cubicBezTo>
                  <a:pt x="200" y="115"/>
                  <a:pt x="200" y="115"/>
                  <a:pt x="200" y="115"/>
                </a:cubicBezTo>
                <a:cubicBezTo>
                  <a:pt x="154" y="138"/>
                  <a:pt x="154" y="138"/>
                  <a:pt x="154" y="138"/>
                </a:cubicBezTo>
                <a:cubicBezTo>
                  <a:pt x="149" y="140"/>
                  <a:pt x="146" y="144"/>
                  <a:pt x="146" y="150"/>
                </a:cubicBezTo>
                <a:cubicBezTo>
                  <a:pt x="146" y="194"/>
                  <a:pt x="146" y="194"/>
                  <a:pt x="146" y="194"/>
                </a:cubicBezTo>
                <a:cubicBezTo>
                  <a:pt x="141" y="194"/>
                  <a:pt x="141" y="194"/>
                  <a:pt x="141" y="194"/>
                </a:cubicBezTo>
                <a:cubicBezTo>
                  <a:pt x="134" y="194"/>
                  <a:pt x="128" y="200"/>
                  <a:pt x="128" y="207"/>
                </a:cubicBezTo>
                <a:cubicBezTo>
                  <a:pt x="128" y="214"/>
                  <a:pt x="134" y="220"/>
                  <a:pt x="141" y="220"/>
                </a:cubicBezTo>
                <a:cubicBezTo>
                  <a:pt x="146" y="220"/>
                  <a:pt x="146" y="220"/>
                  <a:pt x="146" y="220"/>
                </a:cubicBezTo>
                <a:cubicBezTo>
                  <a:pt x="146" y="259"/>
                  <a:pt x="146" y="259"/>
                  <a:pt x="146" y="259"/>
                </a:cubicBezTo>
                <a:cubicBezTo>
                  <a:pt x="141" y="259"/>
                  <a:pt x="141" y="259"/>
                  <a:pt x="141" y="259"/>
                </a:cubicBezTo>
                <a:cubicBezTo>
                  <a:pt x="134" y="259"/>
                  <a:pt x="128" y="265"/>
                  <a:pt x="128" y="272"/>
                </a:cubicBezTo>
                <a:cubicBezTo>
                  <a:pt x="128" y="280"/>
                  <a:pt x="134" y="286"/>
                  <a:pt x="141" y="286"/>
                </a:cubicBezTo>
                <a:cubicBezTo>
                  <a:pt x="146" y="286"/>
                  <a:pt x="146" y="286"/>
                  <a:pt x="146" y="286"/>
                </a:cubicBezTo>
                <a:cubicBezTo>
                  <a:pt x="146" y="322"/>
                  <a:pt x="146" y="322"/>
                  <a:pt x="146" y="322"/>
                </a:cubicBezTo>
                <a:cubicBezTo>
                  <a:pt x="65" y="322"/>
                  <a:pt x="65" y="322"/>
                  <a:pt x="65" y="322"/>
                </a:cubicBezTo>
                <a:cubicBezTo>
                  <a:pt x="54" y="322"/>
                  <a:pt x="54" y="322"/>
                  <a:pt x="54" y="322"/>
                </a:cubicBezTo>
                <a:cubicBezTo>
                  <a:pt x="26" y="322"/>
                  <a:pt x="26" y="322"/>
                  <a:pt x="26" y="322"/>
                </a:cubicBezTo>
                <a:cubicBezTo>
                  <a:pt x="26" y="255"/>
                  <a:pt x="26" y="255"/>
                  <a:pt x="26" y="255"/>
                </a:cubicBezTo>
                <a:cubicBezTo>
                  <a:pt x="46" y="255"/>
                  <a:pt x="46" y="255"/>
                  <a:pt x="46" y="255"/>
                </a:cubicBezTo>
                <a:cubicBezTo>
                  <a:pt x="49" y="259"/>
                  <a:pt x="54" y="261"/>
                  <a:pt x="60" y="261"/>
                </a:cubicBezTo>
                <a:cubicBezTo>
                  <a:pt x="68" y="261"/>
                  <a:pt x="75" y="255"/>
                  <a:pt x="78" y="248"/>
                </a:cubicBezTo>
                <a:cubicBezTo>
                  <a:pt x="119" y="228"/>
                  <a:pt x="119" y="228"/>
                  <a:pt x="119" y="228"/>
                </a:cubicBezTo>
                <a:cubicBezTo>
                  <a:pt x="125" y="225"/>
                  <a:pt x="128" y="217"/>
                  <a:pt x="125" y="210"/>
                </a:cubicBezTo>
                <a:cubicBezTo>
                  <a:pt x="122" y="204"/>
                  <a:pt x="114" y="201"/>
                  <a:pt x="107" y="204"/>
                </a:cubicBezTo>
                <a:cubicBezTo>
                  <a:pt x="68" y="223"/>
                  <a:pt x="68" y="223"/>
                  <a:pt x="68" y="223"/>
                </a:cubicBezTo>
                <a:cubicBezTo>
                  <a:pt x="65" y="222"/>
                  <a:pt x="62" y="221"/>
                  <a:pt x="60" y="221"/>
                </a:cubicBezTo>
                <a:cubicBezTo>
                  <a:pt x="54" y="221"/>
                  <a:pt x="48" y="224"/>
                  <a:pt x="45" y="228"/>
                </a:cubicBezTo>
                <a:cubicBezTo>
                  <a:pt x="26" y="228"/>
                  <a:pt x="26" y="228"/>
                  <a:pt x="26" y="228"/>
                </a:cubicBezTo>
                <a:cubicBezTo>
                  <a:pt x="26" y="158"/>
                  <a:pt x="26" y="158"/>
                  <a:pt x="26" y="158"/>
                </a:cubicBezTo>
                <a:cubicBezTo>
                  <a:pt x="71" y="135"/>
                  <a:pt x="71" y="135"/>
                  <a:pt x="71" y="135"/>
                </a:cubicBezTo>
                <a:cubicBezTo>
                  <a:pt x="76" y="133"/>
                  <a:pt x="78" y="128"/>
                  <a:pt x="78" y="123"/>
                </a:cubicBezTo>
                <a:cubicBezTo>
                  <a:pt x="78" y="98"/>
                  <a:pt x="78" y="98"/>
                  <a:pt x="78" y="98"/>
                </a:cubicBezTo>
                <a:cubicBezTo>
                  <a:pt x="78" y="90"/>
                  <a:pt x="72" y="84"/>
                  <a:pt x="65" y="84"/>
                </a:cubicBezTo>
                <a:cubicBezTo>
                  <a:pt x="58" y="84"/>
                  <a:pt x="52" y="90"/>
                  <a:pt x="52" y="98"/>
                </a:cubicBezTo>
                <a:cubicBezTo>
                  <a:pt x="52" y="115"/>
                  <a:pt x="52" y="115"/>
                  <a:pt x="52" y="115"/>
                </a:cubicBezTo>
                <a:cubicBezTo>
                  <a:pt x="7" y="138"/>
                  <a:pt x="7" y="138"/>
                  <a:pt x="7" y="138"/>
                </a:cubicBezTo>
                <a:cubicBezTo>
                  <a:pt x="2" y="140"/>
                  <a:pt x="0" y="144"/>
                  <a:pt x="0" y="150"/>
                </a:cubicBezTo>
                <a:cubicBezTo>
                  <a:pt x="0" y="335"/>
                  <a:pt x="0" y="335"/>
                  <a:pt x="0" y="335"/>
                </a:cubicBezTo>
                <a:cubicBezTo>
                  <a:pt x="0" y="342"/>
                  <a:pt x="6" y="348"/>
                  <a:pt x="13" y="348"/>
                </a:cubicBezTo>
                <a:cubicBezTo>
                  <a:pt x="52" y="348"/>
                  <a:pt x="52" y="348"/>
                  <a:pt x="52" y="348"/>
                </a:cubicBezTo>
                <a:cubicBezTo>
                  <a:pt x="52" y="406"/>
                  <a:pt x="52" y="406"/>
                  <a:pt x="52" y="406"/>
                </a:cubicBezTo>
                <a:cubicBezTo>
                  <a:pt x="52" y="413"/>
                  <a:pt x="58" y="419"/>
                  <a:pt x="65" y="419"/>
                </a:cubicBezTo>
                <a:cubicBezTo>
                  <a:pt x="213" y="419"/>
                  <a:pt x="213" y="419"/>
                  <a:pt x="213" y="419"/>
                </a:cubicBezTo>
                <a:cubicBezTo>
                  <a:pt x="220" y="419"/>
                  <a:pt x="226" y="413"/>
                  <a:pt x="226" y="406"/>
                </a:cubicBezTo>
                <a:cubicBezTo>
                  <a:pt x="226" y="309"/>
                  <a:pt x="226" y="309"/>
                  <a:pt x="226" y="309"/>
                </a:cubicBezTo>
                <a:cubicBezTo>
                  <a:pt x="226" y="306"/>
                  <a:pt x="225" y="302"/>
                  <a:pt x="223" y="300"/>
                </a:cubicBezTo>
                <a:cubicBezTo>
                  <a:pt x="223" y="300"/>
                  <a:pt x="222" y="300"/>
                  <a:pt x="222" y="300"/>
                </a:cubicBezTo>
                <a:cubicBezTo>
                  <a:pt x="222" y="299"/>
                  <a:pt x="222" y="299"/>
                  <a:pt x="221" y="299"/>
                </a:cubicBezTo>
                <a:cubicBezTo>
                  <a:pt x="221" y="299"/>
                  <a:pt x="221" y="298"/>
                  <a:pt x="221" y="298"/>
                </a:cubicBezTo>
                <a:cubicBezTo>
                  <a:pt x="220" y="298"/>
                  <a:pt x="220" y="298"/>
                  <a:pt x="220" y="298"/>
                </a:cubicBezTo>
                <a:cubicBezTo>
                  <a:pt x="220" y="298"/>
                  <a:pt x="220" y="298"/>
                  <a:pt x="220" y="298"/>
                </a:cubicBezTo>
                <a:cubicBezTo>
                  <a:pt x="220" y="298"/>
                  <a:pt x="220" y="298"/>
                  <a:pt x="220" y="298"/>
                </a:cubicBezTo>
                <a:cubicBezTo>
                  <a:pt x="220" y="298"/>
                  <a:pt x="219" y="297"/>
                  <a:pt x="219" y="297"/>
                </a:cubicBezTo>
                <a:cubicBezTo>
                  <a:pt x="219" y="297"/>
                  <a:pt x="219" y="297"/>
                  <a:pt x="219" y="297"/>
                </a:cubicBezTo>
                <a:cubicBezTo>
                  <a:pt x="218" y="297"/>
                  <a:pt x="218" y="297"/>
                  <a:pt x="218" y="297"/>
                </a:cubicBezTo>
                <a:cubicBezTo>
                  <a:pt x="218" y="297"/>
                  <a:pt x="217" y="296"/>
                  <a:pt x="217" y="296"/>
                </a:cubicBezTo>
                <a:cubicBezTo>
                  <a:pt x="217" y="296"/>
                  <a:pt x="216" y="296"/>
                  <a:pt x="216" y="296"/>
                </a:cubicBezTo>
                <a:cubicBezTo>
                  <a:pt x="216" y="296"/>
                  <a:pt x="216" y="296"/>
                  <a:pt x="215" y="296"/>
                </a:cubicBezTo>
                <a:cubicBezTo>
                  <a:pt x="215" y="296"/>
                  <a:pt x="215" y="296"/>
                  <a:pt x="214" y="296"/>
                </a:cubicBezTo>
                <a:cubicBezTo>
                  <a:pt x="214" y="296"/>
                  <a:pt x="214" y="296"/>
                  <a:pt x="214" y="296"/>
                </a:cubicBezTo>
                <a:cubicBezTo>
                  <a:pt x="213" y="296"/>
                  <a:pt x="213" y="296"/>
                  <a:pt x="212" y="296"/>
                </a:cubicBezTo>
                <a:cubicBezTo>
                  <a:pt x="212" y="296"/>
                  <a:pt x="212" y="296"/>
                  <a:pt x="212" y="296"/>
                </a:cubicBezTo>
                <a:cubicBezTo>
                  <a:pt x="210" y="296"/>
                  <a:pt x="209" y="296"/>
                  <a:pt x="207" y="297"/>
                </a:cubicBezTo>
                <a:cubicBezTo>
                  <a:pt x="207" y="297"/>
                  <a:pt x="207" y="297"/>
                  <a:pt x="207" y="297"/>
                </a:cubicBezTo>
                <a:cubicBezTo>
                  <a:pt x="207" y="297"/>
                  <a:pt x="207" y="297"/>
                  <a:pt x="207" y="297"/>
                </a:cubicBezTo>
                <a:cubicBezTo>
                  <a:pt x="207" y="297"/>
                  <a:pt x="207" y="297"/>
                  <a:pt x="207" y="297"/>
                </a:cubicBezTo>
                <a:cubicBezTo>
                  <a:pt x="206" y="297"/>
                  <a:pt x="206" y="297"/>
                  <a:pt x="206" y="297"/>
                </a:cubicBezTo>
                <a:cubicBezTo>
                  <a:pt x="173" y="314"/>
                  <a:pt x="173" y="314"/>
                  <a:pt x="173" y="314"/>
                </a:cubicBezTo>
                <a:cubicBezTo>
                  <a:pt x="173" y="158"/>
                  <a:pt x="173" y="158"/>
                  <a:pt x="173" y="158"/>
                </a:cubicBezTo>
                <a:cubicBezTo>
                  <a:pt x="219" y="135"/>
                  <a:pt x="219" y="135"/>
                  <a:pt x="219" y="135"/>
                </a:cubicBezTo>
                <a:cubicBezTo>
                  <a:pt x="223" y="133"/>
                  <a:pt x="226" y="128"/>
                  <a:pt x="226" y="123"/>
                </a:cubicBezTo>
                <a:cubicBezTo>
                  <a:pt x="226" y="56"/>
                  <a:pt x="226" y="56"/>
                  <a:pt x="226" y="56"/>
                </a:cubicBezTo>
                <a:cubicBezTo>
                  <a:pt x="226" y="49"/>
                  <a:pt x="220" y="43"/>
                  <a:pt x="213" y="43"/>
                </a:cubicBezTo>
                <a:cubicBezTo>
                  <a:pt x="115" y="43"/>
                  <a:pt x="115" y="43"/>
                  <a:pt x="115" y="43"/>
                </a:cubicBezTo>
                <a:cubicBezTo>
                  <a:pt x="143" y="27"/>
                  <a:pt x="143" y="27"/>
                  <a:pt x="143" y="27"/>
                </a:cubicBezTo>
                <a:cubicBezTo>
                  <a:pt x="272" y="27"/>
                  <a:pt x="272" y="27"/>
                  <a:pt x="272" y="27"/>
                </a:cubicBezTo>
                <a:cubicBezTo>
                  <a:pt x="272" y="357"/>
                  <a:pt x="272" y="357"/>
                  <a:pt x="272" y="357"/>
                </a:cubicBezTo>
                <a:cubicBezTo>
                  <a:pt x="242" y="374"/>
                  <a:pt x="242" y="374"/>
                  <a:pt x="242" y="374"/>
                </a:cubicBezTo>
                <a:cubicBezTo>
                  <a:pt x="235" y="378"/>
                  <a:pt x="233" y="386"/>
                  <a:pt x="237" y="392"/>
                </a:cubicBezTo>
                <a:cubicBezTo>
                  <a:pt x="240" y="399"/>
                  <a:pt x="249" y="401"/>
                  <a:pt x="255" y="397"/>
                </a:cubicBezTo>
                <a:cubicBezTo>
                  <a:pt x="292" y="377"/>
                  <a:pt x="292" y="377"/>
                  <a:pt x="292" y="377"/>
                </a:cubicBezTo>
                <a:cubicBezTo>
                  <a:pt x="296" y="374"/>
                  <a:pt x="298" y="370"/>
                  <a:pt x="298" y="365"/>
                </a:cubicBezTo>
                <a:cubicBezTo>
                  <a:pt x="298" y="14"/>
                  <a:pt x="298" y="14"/>
                  <a:pt x="298" y="14"/>
                </a:cubicBezTo>
                <a:cubicBezTo>
                  <a:pt x="298" y="6"/>
                  <a:pt x="292" y="0"/>
                  <a:pt x="285" y="0"/>
                </a:cubicBezTo>
                <a:close/>
                <a:moveTo>
                  <a:pt x="78" y="348"/>
                </a:moveTo>
                <a:cubicBezTo>
                  <a:pt x="157" y="348"/>
                  <a:pt x="157" y="348"/>
                  <a:pt x="157" y="348"/>
                </a:cubicBezTo>
                <a:cubicBezTo>
                  <a:pt x="159" y="349"/>
                  <a:pt x="162" y="349"/>
                  <a:pt x="164" y="348"/>
                </a:cubicBezTo>
                <a:cubicBezTo>
                  <a:pt x="166" y="348"/>
                  <a:pt x="168" y="347"/>
                  <a:pt x="169" y="346"/>
                </a:cubicBezTo>
                <a:cubicBezTo>
                  <a:pt x="200" y="331"/>
                  <a:pt x="200" y="331"/>
                  <a:pt x="200" y="331"/>
                </a:cubicBezTo>
                <a:cubicBezTo>
                  <a:pt x="200" y="392"/>
                  <a:pt x="200" y="392"/>
                  <a:pt x="200" y="392"/>
                </a:cubicBezTo>
                <a:cubicBezTo>
                  <a:pt x="78" y="392"/>
                  <a:pt x="78" y="392"/>
                  <a:pt x="78" y="392"/>
                </a:cubicBezTo>
                <a:lnTo>
                  <a:pt x="78" y="348"/>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7" name="Freeform 465"/>
          <p:cNvSpPr>
            <a:spLocks/>
          </p:cNvSpPr>
          <p:nvPr userDrawn="1"/>
        </p:nvSpPr>
        <p:spPr bwMode="auto">
          <a:xfrm>
            <a:off x="5629682" y="1303068"/>
            <a:ext cx="390627" cy="400051"/>
          </a:xfrm>
          <a:custGeom>
            <a:avLst/>
            <a:gdLst/>
            <a:ahLst/>
            <a:cxnLst>
              <a:cxn ang="0">
                <a:pos x="28" y="296"/>
              </a:cxn>
              <a:cxn ang="0">
                <a:pos x="28" y="301"/>
              </a:cxn>
              <a:cxn ang="0">
                <a:pos x="16" y="330"/>
              </a:cxn>
              <a:cxn ang="0">
                <a:pos x="2" y="394"/>
              </a:cxn>
              <a:cxn ang="0">
                <a:pos x="160" y="426"/>
              </a:cxn>
              <a:cxn ang="0">
                <a:pos x="168" y="415"/>
              </a:cxn>
              <a:cxn ang="0">
                <a:pos x="271" y="373"/>
              </a:cxn>
              <a:cxn ang="0">
                <a:pos x="377" y="462"/>
              </a:cxn>
              <a:cxn ang="0">
                <a:pos x="274" y="346"/>
              </a:cxn>
              <a:cxn ang="0">
                <a:pos x="160" y="385"/>
              </a:cxn>
              <a:cxn ang="0">
                <a:pos x="148" y="398"/>
              </a:cxn>
              <a:cxn ang="0">
                <a:pos x="138" y="409"/>
              </a:cxn>
              <a:cxn ang="0">
                <a:pos x="28" y="389"/>
              </a:cxn>
              <a:cxn ang="0">
                <a:pos x="38" y="345"/>
              </a:cxn>
              <a:cxn ang="0">
                <a:pos x="61" y="319"/>
              </a:cxn>
              <a:cxn ang="0">
                <a:pos x="54" y="296"/>
              </a:cxn>
              <a:cxn ang="0">
                <a:pos x="375" y="34"/>
              </a:cxn>
              <a:cxn ang="0">
                <a:pos x="430" y="73"/>
              </a:cxn>
              <a:cxn ang="0">
                <a:pos x="331" y="150"/>
              </a:cxn>
              <a:cxn ang="0">
                <a:pos x="305" y="101"/>
              </a:cxn>
              <a:cxn ang="0">
                <a:pos x="300" y="99"/>
              </a:cxn>
              <a:cxn ang="0">
                <a:pos x="134" y="235"/>
              </a:cxn>
              <a:cxn ang="0">
                <a:pos x="135" y="242"/>
              </a:cxn>
              <a:cxn ang="0">
                <a:pos x="141" y="249"/>
              </a:cxn>
              <a:cxn ang="0">
                <a:pos x="177" y="278"/>
              </a:cxn>
              <a:cxn ang="0">
                <a:pos x="79" y="355"/>
              </a:cxn>
              <a:cxn ang="0">
                <a:pos x="58" y="345"/>
              </a:cxn>
              <a:cxn ang="0">
                <a:pos x="57" y="371"/>
              </a:cxn>
              <a:cxn ang="0">
                <a:pos x="59" y="374"/>
              </a:cxn>
              <a:cxn ang="0">
                <a:pos x="158" y="353"/>
              </a:cxn>
              <a:cxn ang="0">
                <a:pos x="201" y="263"/>
              </a:cxn>
              <a:cxn ang="0">
                <a:pos x="198" y="259"/>
              </a:cxn>
              <a:cxn ang="0">
                <a:pos x="161" y="231"/>
              </a:cxn>
              <a:cxn ang="0">
                <a:pos x="290" y="126"/>
              </a:cxn>
              <a:cxn ang="0">
                <a:pos x="311" y="167"/>
              </a:cxn>
              <a:cxn ang="0">
                <a:pos x="314" y="171"/>
              </a:cxn>
              <a:cxn ang="0">
                <a:pos x="453" y="58"/>
              </a:cxn>
              <a:cxn ang="0">
                <a:pos x="453" y="57"/>
              </a:cxn>
              <a:cxn ang="0">
                <a:pos x="385" y="9"/>
              </a:cxn>
              <a:cxn ang="0">
                <a:pos x="384" y="8"/>
              </a:cxn>
              <a:cxn ang="0">
                <a:pos x="158" y="95"/>
              </a:cxn>
            </a:cxnLst>
            <a:rect l="0" t="0" r="r" b="b"/>
            <a:pathLst>
              <a:path w="463" h="474">
                <a:moveTo>
                  <a:pt x="158" y="95"/>
                </a:moveTo>
                <a:cubicBezTo>
                  <a:pt x="83" y="157"/>
                  <a:pt x="33" y="233"/>
                  <a:pt x="28" y="296"/>
                </a:cubicBezTo>
                <a:cubicBezTo>
                  <a:pt x="28" y="296"/>
                  <a:pt x="27" y="296"/>
                  <a:pt x="27" y="297"/>
                </a:cubicBezTo>
                <a:cubicBezTo>
                  <a:pt x="27" y="298"/>
                  <a:pt x="28" y="299"/>
                  <a:pt x="28" y="301"/>
                </a:cubicBezTo>
                <a:cubicBezTo>
                  <a:pt x="28" y="301"/>
                  <a:pt x="30" y="307"/>
                  <a:pt x="32" y="314"/>
                </a:cubicBezTo>
                <a:cubicBezTo>
                  <a:pt x="25" y="320"/>
                  <a:pt x="18" y="328"/>
                  <a:pt x="16" y="330"/>
                </a:cubicBezTo>
                <a:cubicBezTo>
                  <a:pt x="6" y="345"/>
                  <a:pt x="0" y="362"/>
                  <a:pt x="0" y="379"/>
                </a:cubicBezTo>
                <a:cubicBezTo>
                  <a:pt x="0" y="384"/>
                  <a:pt x="1" y="389"/>
                  <a:pt x="2" y="394"/>
                </a:cubicBezTo>
                <a:cubicBezTo>
                  <a:pt x="6" y="416"/>
                  <a:pt x="18" y="435"/>
                  <a:pt x="36" y="448"/>
                </a:cubicBezTo>
                <a:cubicBezTo>
                  <a:pt x="74" y="474"/>
                  <a:pt x="131" y="464"/>
                  <a:pt x="160" y="426"/>
                </a:cubicBezTo>
                <a:cubicBezTo>
                  <a:pt x="160" y="426"/>
                  <a:pt x="160" y="426"/>
                  <a:pt x="159" y="426"/>
                </a:cubicBezTo>
                <a:cubicBezTo>
                  <a:pt x="159" y="426"/>
                  <a:pt x="168" y="415"/>
                  <a:pt x="168" y="415"/>
                </a:cubicBezTo>
                <a:cubicBezTo>
                  <a:pt x="169" y="415"/>
                  <a:pt x="179" y="403"/>
                  <a:pt x="180" y="403"/>
                </a:cubicBezTo>
                <a:cubicBezTo>
                  <a:pt x="201" y="380"/>
                  <a:pt x="236" y="369"/>
                  <a:pt x="271" y="373"/>
                </a:cubicBezTo>
                <a:cubicBezTo>
                  <a:pt x="319" y="379"/>
                  <a:pt x="358" y="411"/>
                  <a:pt x="362" y="450"/>
                </a:cubicBezTo>
                <a:cubicBezTo>
                  <a:pt x="363" y="457"/>
                  <a:pt x="370" y="463"/>
                  <a:pt x="377" y="462"/>
                </a:cubicBezTo>
                <a:cubicBezTo>
                  <a:pt x="385" y="461"/>
                  <a:pt x="390" y="454"/>
                  <a:pt x="389" y="447"/>
                </a:cubicBezTo>
                <a:cubicBezTo>
                  <a:pt x="383" y="396"/>
                  <a:pt x="334" y="353"/>
                  <a:pt x="274" y="346"/>
                </a:cubicBezTo>
                <a:cubicBezTo>
                  <a:pt x="230" y="341"/>
                  <a:pt x="187" y="355"/>
                  <a:pt x="160" y="384"/>
                </a:cubicBezTo>
                <a:cubicBezTo>
                  <a:pt x="160" y="385"/>
                  <a:pt x="160" y="385"/>
                  <a:pt x="160" y="385"/>
                </a:cubicBezTo>
                <a:cubicBezTo>
                  <a:pt x="148" y="397"/>
                  <a:pt x="148" y="397"/>
                  <a:pt x="148" y="397"/>
                </a:cubicBezTo>
                <a:cubicBezTo>
                  <a:pt x="148" y="398"/>
                  <a:pt x="148" y="398"/>
                  <a:pt x="148" y="398"/>
                </a:cubicBezTo>
                <a:cubicBezTo>
                  <a:pt x="139" y="409"/>
                  <a:pt x="139" y="409"/>
                  <a:pt x="139" y="409"/>
                </a:cubicBezTo>
                <a:cubicBezTo>
                  <a:pt x="139" y="409"/>
                  <a:pt x="139" y="409"/>
                  <a:pt x="138" y="409"/>
                </a:cubicBezTo>
                <a:cubicBezTo>
                  <a:pt x="116" y="439"/>
                  <a:pt x="75" y="442"/>
                  <a:pt x="52" y="426"/>
                </a:cubicBezTo>
                <a:cubicBezTo>
                  <a:pt x="39" y="417"/>
                  <a:pt x="31" y="404"/>
                  <a:pt x="28" y="389"/>
                </a:cubicBezTo>
                <a:cubicBezTo>
                  <a:pt x="27" y="386"/>
                  <a:pt x="27" y="383"/>
                  <a:pt x="27" y="379"/>
                </a:cubicBezTo>
                <a:cubicBezTo>
                  <a:pt x="27" y="367"/>
                  <a:pt x="31" y="356"/>
                  <a:pt x="38" y="345"/>
                </a:cubicBezTo>
                <a:cubicBezTo>
                  <a:pt x="40" y="343"/>
                  <a:pt x="49" y="334"/>
                  <a:pt x="54" y="331"/>
                </a:cubicBezTo>
                <a:cubicBezTo>
                  <a:pt x="58" y="329"/>
                  <a:pt x="61" y="324"/>
                  <a:pt x="61" y="319"/>
                </a:cubicBezTo>
                <a:cubicBezTo>
                  <a:pt x="61" y="318"/>
                  <a:pt x="61" y="317"/>
                  <a:pt x="60" y="315"/>
                </a:cubicBezTo>
                <a:cubicBezTo>
                  <a:pt x="60" y="315"/>
                  <a:pt x="56" y="300"/>
                  <a:pt x="54" y="296"/>
                </a:cubicBezTo>
                <a:cubicBezTo>
                  <a:pt x="60" y="241"/>
                  <a:pt x="107" y="171"/>
                  <a:pt x="175" y="116"/>
                </a:cubicBezTo>
                <a:cubicBezTo>
                  <a:pt x="243" y="61"/>
                  <a:pt x="321" y="29"/>
                  <a:pt x="375" y="34"/>
                </a:cubicBezTo>
                <a:cubicBezTo>
                  <a:pt x="395" y="43"/>
                  <a:pt x="413" y="55"/>
                  <a:pt x="429" y="70"/>
                </a:cubicBezTo>
                <a:cubicBezTo>
                  <a:pt x="429" y="71"/>
                  <a:pt x="430" y="72"/>
                  <a:pt x="430" y="73"/>
                </a:cubicBezTo>
                <a:cubicBezTo>
                  <a:pt x="430" y="85"/>
                  <a:pt x="419" y="106"/>
                  <a:pt x="394" y="127"/>
                </a:cubicBezTo>
                <a:cubicBezTo>
                  <a:pt x="367" y="148"/>
                  <a:pt x="342" y="154"/>
                  <a:pt x="331" y="150"/>
                </a:cubicBezTo>
                <a:cubicBezTo>
                  <a:pt x="324" y="137"/>
                  <a:pt x="318" y="123"/>
                  <a:pt x="313" y="109"/>
                </a:cubicBezTo>
                <a:cubicBezTo>
                  <a:pt x="312" y="105"/>
                  <a:pt x="308" y="102"/>
                  <a:pt x="305" y="101"/>
                </a:cubicBezTo>
                <a:cubicBezTo>
                  <a:pt x="303" y="100"/>
                  <a:pt x="303" y="100"/>
                  <a:pt x="303" y="100"/>
                </a:cubicBezTo>
                <a:cubicBezTo>
                  <a:pt x="302" y="100"/>
                  <a:pt x="301" y="100"/>
                  <a:pt x="300" y="99"/>
                </a:cubicBezTo>
                <a:cubicBezTo>
                  <a:pt x="268" y="96"/>
                  <a:pt x="226" y="111"/>
                  <a:pt x="193" y="138"/>
                </a:cubicBezTo>
                <a:cubicBezTo>
                  <a:pt x="160" y="165"/>
                  <a:pt x="136" y="203"/>
                  <a:pt x="134" y="235"/>
                </a:cubicBezTo>
                <a:cubicBezTo>
                  <a:pt x="134" y="235"/>
                  <a:pt x="134" y="236"/>
                  <a:pt x="134" y="236"/>
                </a:cubicBezTo>
                <a:cubicBezTo>
                  <a:pt x="134" y="238"/>
                  <a:pt x="134" y="240"/>
                  <a:pt x="135" y="242"/>
                </a:cubicBezTo>
                <a:cubicBezTo>
                  <a:pt x="136" y="243"/>
                  <a:pt x="136" y="243"/>
                  <a:pt x="136" y="243"/>
                </a:cubicBezTo>
                <a:cubicBezTo>
                  <a:pt x="137" y="246"/>
                  <a:pt x="139" y="248"/>
                  <a:pt x="141" y="249"/>
                </a:cubicBezTo>
                <a:cubicBezTo>
                  <a:pt x="154" y="257"/>
                  <a:pt x="166" y="266"/>
                  <a:pt x="177" y="276"/>
                </a:cubicBezTo>
                <a:cubicBezTo>
                  <a:pt x="177" y="276"/>
                  <a:pt x="177" y="277"/>
                  <a:pt x="177" y="278"/>
                </a:cubicBezTo>
                <a:cubicBezTo>
                  <a:pt x="177" y="290"/>
                  <a:pt x="166" y="312"/>
                  <a:pt x="141" y="332"/>
                </a:cubicBezTo>
                <a:cubicBezTo>
                  <a:pt x="114" y="354"/>
                  <a:pt x="89" y="359"/>
                  <a:pt x="79" y="355"/>
                </a:cubicBezTo>
                <a:cubicBezTo>
                  <a:pt x="77" y="353"/>
                  <a:pt x="76" y="351"/>
                  <a:pt x="76" y="351"/>
                </a:cubicBezTo>
                <a:cubicBezTo>
                  <a:pt x="72" y="344"/>
                  <a:pt x="64" y="342"/>
                  <a:pt x="58" y="345"/>
                </a:cubicBezTo>
                <a:cubicBezTo>
                  <a:pt x="51" y="349"/>
                  <a:pt x="49" y="357"/>
                  <a:pt x="53" y="363"/>
                </a:cubicBezTo>
                <a:cubicBezTo>
                  <a:pt x="57" y="371"/>
                  <a:pt x="57" y="371"/>
                  <a:pt x="57" y="371"/>
                </a:cubicBezTo>
                <a:cubicBezTo>
                  <a:pt x="57" y="372"/>
                  <a:pt x="58" y="372"/>
                  <a:pt x="58" y="373"/>
                </a:cubicBezTo>
                <a:cubicBezTo>
                  <a:pt x="59" y="374"/>
                  <a:pt x="59" y="374"/>
                  <a:pt x="59" y="374"/>
                </a:cubicBezTo>
                <a:cubicBezTo>
                  <a:pt x="60" y="375"/>
                  <a:pt x="61" y="376"/>
                  <a:pt x="62" y="376"/>
                </a:cubicBezTo>
                <a:cubicBezTo>
                  <a:pt x="83" y="391"/>
                  <a:pt x="123" y="381"/>
                  <a:pt x="158" y="353"/>
                </a:cubicBezTo>
                <a:cubicBezTo>
                  <a:pt x="187" y="330"/>
                  <a:pt x="203" y="301"/>
                  <a:pt x="203" y="278"/>
                </a:cubicBezTo>
                <a:cubicBezTo>
                  <a:pt x="203" y="273"/>
                  <a:pt x="203" y="268"/>
                  <a:pt x="201" y="263"/>
                </a:cubicBezTo>
                <a:cubicBezTo>
                  <a:pt x="200" y="262"/>
                  <a:pt x="200" y="261"/>
                  <a:pt x="199" y="260"/>
                </a:cubicBezTo>
                <a:cubicBezTo>
                  <a:pt x="198" y="259"/>
                  <a:pt x="198" y="259"/>
                  <a:pt x="198" y="259"/>
                </a:cubicBezTo>
                <a:cubicBezTo>
                  <a:pt x="198" y="259"/>
                  <a:pt x="197" y="258"/>
                  <a:pt x="197" y="258"/>
                </a:cubicBezTo>
                <a:cubicBezTo>
                  <a:pt x="186" y="248"/>
                  <a:pt x="174" y="239"/>
                  <a:pt x="161" y="231"/>
                </a:cubicBezTo>
                <a:cubicBezTo>
                  <a:pt x="165" y="210"/>
                  <a:pt x="181" y="182"/>
                  <a:pt x="210" y="159"/>
                </a:cubicBezTo>
                <a:cubicBezTo>
                  <a:pt x="239" y="135"/>
                  <a:pt x="270" y="126"/>
                  <a:pt x="290" y="126"/>
                </a:cubicBezTo>
                <a:cubicBezTo>
                  <a:pt x="296" y="140"/>
                  <a:pt x="302" y="153"/>
                  <a:pt x="310" y="166"/>
                </a:cubicBezTo>
                <a:cubicBezTo>
                  <a:pt x="310" y="166"/>
                  <a:pt x="311" y="167"/>
                  <a:pt x="311" y="167"/>
                </a:cubicBezTo>
                <a:cubicBezTo>
                  <a:pt x="312" y="168"/>
                  <a:pt x="312" y="168"/>
                  <a:pt x="312" y="168"/>
                </a:cubicBezTo>
                <a:cubicBezTo>
                  <a:pt x="312" y="169"/>
                  <a:pt x="313" y="170"/>
                  <a:pt x="314" y="171"/>
                </a:cubicBezTo>
                <a:cubicBezTo>
                  <a:pt x="336" y="185"/>
                  <a:pt x="376" y="176"/>
                  <a:pt x="411" y="147"/>
                </a:cubicBezTo>
                <a:cubicBezTo>
                  <a:pt x="446" y="119"/>
                  <a:pt x="463" y="82"/>
                  <a:pt x="453" y="58"/>
                </a:cubicBezTo>
                <a:cubicBezTo>
                  <a:pt x="453" y="58"/>
                  <a:pt x="453" y="58"/>
                  <a:pt x="453" y="58"/>
                </a:cubicBezTo>
                <a:cubicBezTo>
                  <a:pt x="453" y="57"/>
                  <a:pt x="453" y="57"/>
                  <a:pt x="453" y="57"/>
                </a:cubicBezTo>
                <a:cubicBezTo>
                  <a:pt x="452" y="55"/>
                  <a:pt x="451" y="53"/>
                  <a:pt x="450" y="52"/>
                </a:cubicBezTo>
                <a:cubicBezTo>
                  <a:pt x="430" y="34"/>
                  <a:pt x="409" y="20"/>
                  <a:pt x="385" y="9"/>
                </a:cubicBezTo>
                <a:cubicBezTo>
                  <a:pt x="385" y="9"/>
                  <a:pt x="385" y="9"/>
                  <a:pt x="384" y="9"/>
                </a:cubicBezTo>
                <a:cubicBezTo>
                  <a:pt x="384" y="8"/>
                  <a:pt x="384" y="8"/>
                  <a:pt x="384" y="8"/>
                </a:cubicBezTo>
                <a:cubicBezTo>
                  <a:pt x="383" y="8"/>
                  <a:pt x="382" y="8"/>
                  <a:pt x="380" y="8"/>
                </a:cubicBezTo>
                <a:cubicBezTo>
                  <a:pt x="319" y="0"/>
                  <a:pt x="234" y="34"/>
                  <a:pt x="158" y="9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8" name="Freeform 481"/>
          <p:cNvSpPr>
            <a:spLocks/>
          </p:cNvSpPr>
          <p:nvPr userDrawn="1"/>
        </p:nvSpPr>
        <p:spPr bwMode="auto">
          <a:xfrm>
            <a:off x="5645165" y="2249768"/>
            <a:ext cx="359662" cy="372665"/>
          </a:xfrm>
          <a:custGeom>
            <a:avLst/>
            <a:gdLst/>
            <a:ahLst/>
            <a:cxnLst>
              <a:cxn ang="0">
                <a:pos x="366" y="146"/>
              </a:cxn>
              <a:cxn ang="0">
                <a:pos x="276" y="107"/>
              </a:cxn>
              <a:cxn ang="0">
                <a:pos x="185" y="144"/>
              </a:cxn>
              <a:cxn ang="0">
                <a:pos x="153" y="218"/>
              </a:cxn>
              <a:cxn ang="0">
                <a:pos x="183" y="292"/>
              </a:cxn>
              <a:cxn ang="0">
                <a:pos x="244" y="318"/>
              </a:cxn>
              <a:cxn ang="0">
                <a:pos x="306" y="294"/>
              </a:cxn>
              <a:cxn ang="0">
                <a:pos x="307" y="192"/>
              </a:cxn>
              <a:cxn ang="0">
                <a:pos x="265" y="174"/>
              </a:cxn>
              <a:cxn ang="0">
                <a:pos x="222" y="191"/>
              </a:cxn>
              <a:cxn ang="0">
                <a:pos x="221" y="263"/>
              </a:cxn>
              <a:cxn ang="0">
                <a:pos x="240" y="263"/>
              </a:cxn>
              <a:cxn ang="0">
                <a:pos x="240" y="244"/>
              </a:cxn>
              <a:cxn ang="0">
                <a:pos x="241" y="210"/>
              </a:cxn>
              <a:cxn ang="0">
                <a:pos x="264" y="200"/>
              </a:cxn>
              <a:cxn ang="0">
                <a:pos x="288" y="210"/>
              </a:cxn>
              <a:cxn ang="0">
                <a:pos x="287" y="275"/>
              </a:cxn>
              <a:cxn ang="0">
                <a:pos x="245" y="292"/>
              </a:cxn>
              <a:cxn ang="0">
                <a:pos x="202" y="274"/>
              </a:cxn>
              <a:cxn ang="0">
                <a:pos x="180" y="218"/>
              </a:cxn>
              <a:cxn ang="0">
                <a:pos x="204" y="163"/>
              </a:cxn>
              <a:cxn ang="0">
                <a:pos x="276" y="134"/>
              </a:cxn>
              <a:cxn ang="0">
                <a:pos x="347" y="164"/>
              </a:cxn>
              <a:cxn ang="0">
                <a:pos x="345" y="348"/>
              </a:cxn>
              <a:cxn ang="0">
                <a:pos x="110" y="346"/>
              </a:cxn>
              <a:cxn ang="0">
                <a:pos x="112" y="49"/>
              </a:cxn>
              <a:cxn ang="0">
                <a:pos x="112" y="113"/>
              </a:cxn>
              <a:cxn ang="0">
                <a:pos x="125" y="127"/>
              </a:cxn>
              <a:cxn ang="0">
                <a:pos x="138" y="113"/>
              </a:cxn>
              <a:cxn ang="0">
                <a:pos x="138" y="14"/>
              </a:cxn>
              <a:cxn ang="0">
                <a:pos x="134" y="4"/>
              </a:cxn>
              <a:cxn ang="0">
                <a:pos x="125" y="0"/>
              </a:cxn>
              <a:cxn ang="0">
                <a:pos x="25" y="0"/>
              </a:cxn>
              <a:cxn ang="0">
                <a:pos x="12" y="14"/>
              </a:cxn>
              <a:cxn ang="0">
                <a:pos x="25" y="27"/>
              </a:cxn>
              <a:cxn ang="0">
                <a:pos x="97" y="27"/>
              </a:cxn>
              <a:cxn ang="0">
                <a:pos x="95" y="28"/>
              </a:cxn>
              <a:cxn ang="0">
                <a:pos x="91" y="364"/>
              </a:cxn>
              <a:cxn ang="0">
                <a:pos x="364" y="367"/>
              </a:cxn>
              <a:cxn ang="0">
                <a:pos x="366" y="146"/>
              </a:cxn>
            </a:cxnLst>
            <a:rect l="0" t="0" r="r" b="b"/>
            <a:pathLst>
              <a:path w="427" h="442">
                <a:moveTo>
                  <a:pt x="366" y="146"/>
                </a:moveTo>
                <a:cubicBezTo>
                  <a:pt x="342" y="121"/>
                  <a:pt x="310" y="107"/>
                  <a:pt x="276" y="107"/>
                </a:cubicBezTo>
                <a:cubicBezTo>
                  <a:pt x="242" y="107"/>
                  <a:pt x="209" y="120"/>
                  <a:pt x="185" y="144"/>
                </a:cubicBezTo>
                <a:cubicBezTo>
                  <a:pt x="165" y="163"/>
                  <a:pt x="154" y="189"/>
                  <a:pt x="153" y="218"/>
                </a:cubicBezTo>
                <a:cubicBezTo>
                  <a:pt x="153" y="246"/>
                  <a:pt x="164" y="272"/>
                  <a:pt x="183" y="292"/>
                </a:cubicBezTo>
                <a:cubicBezTo>
                  <a:pt x="200" y="309"/>
                  <a:pt x="221" y="318"/>
                  <a:pt x="244" y="318"/>
                </a:cubicBezTo>
                <a:cubicBezTo>
                  <a:pt x="268" y="319"/>
                  <a:pt x="289" y="310"/>
                  <a:pt x="306" y="294"/>
                </a:cubicBezTo>
                <a:cubicBezTo>
                  <a:pt x="335" y="266"/>
                  <a:pt x="335" y="220"/>
                  <a:pt x="307" y="192"/>
                </a:cubicBezTo>
                <a:cubicBezTo>
                  <a:pt x="296" y="180"/>
                  <a:pt x="281" y="174"/>
                  <a:pt x="265" y="174"/>
                </a:cubicBezTo>
                <a:cubicBezTo>
                  <a:pt x="249" y="173"/>
                  <a:pt x="233" y="179"/>
                  <a:pt x="222" y="191"/>
                </a:cubicBezTo>
                <a:cubicBezTo>
                  <a:pt x="202" y="210"/>
                  <a:pt x="201" y="243"/>
                  <a:pt x="221" y="263"/>
                </a:cubicBezTo>
                <a:cubicBezTo>
                  <a:pt x="226" y="268"/>
                  <a:pt x="235" y="268"/>
                  <a:pt x="240" y="263"/>
                </a:cubicBezTo>
                <a:cubicBezTo>
                  <a:pt x="245" y="258"/>
                  <a:pt x="245" y="249"/>
                  <a:pt x="240" y="244"/>
                </a:cubicBezTo>
                <a:cubicBezTo>
                  <a:pt x="231" y="235"/>
                  <a:pt x="231" y="219"/>
                  <a:pt x="241" y="210"/>
                </a:cubicBezTo>
                <a:cubicBezTo>
                  <a:pt x="247" y="203"/>
                  <a:pt x="255" y="200"/>
                  <a:pt x="264" y="200"/>
                </a:cubicBezTo>
                <a:cubicBezTo>
                  <a:pt x="273" y="200"/>
                  <a:pt x="282" y="204"/>
                  <a:pt x="288" y="210"/>
                </a:cubicBezTo>
                <a:cubicBezTo>
                  <a:pt x="306" y="228"/>
                  <a:pt x="305" y="257"/>
                  <a:pt x="287" y="275"/>
                </a:cubicBezTo>
                <a:cubicBezTo>
                  <a:pt x="276" y="286"/>
                  <a:pt x="261" y="292"/>
                  <a:pt x="245" y="292"/>
                </a:cubicBezTo>
                <a:cubicBezTo>
                  <a:pt x="229" y="292"/>
                  <a:pt x="214" y="285"/>
                  <a:pt x="202" y="274"/>
                </a:cubicBezTo>
                <a:cubicBezTo>
                  <a:pt x="188" y="259"/>
                  <a:pt x="180" y="239"/>
                  <a:pt x="180" y="218"/>
                </a:cubicBezTo>
                <a:cubicBezTo>
                  <a:pt x="180" y="197"/>
                  <a:pt x="189" y="177"/>
                  <a:pt x="204" y="163"/>
                </a:cubicBezTo>
                <a:cubicBezTo>
                  <a:pt x="223" y="144"/>
                  <a:pt x="249" y="133"/>
                  <a:pt x="276" y="134"/>
                </a:cubicBezTo>
                <a:cubicBezTo>
                  <a:pt x="303" y="134"/>
                  <a:pt x="328" y="145"/>
                  <a:pt x="347" y="164"/>
                </a:cubicBezTo>
                <a:cubicBezTo>
                  <a:pt x="397" y="216"/>
                  <a:pt x="396" y="298"/>
                  <a:pt x="345" y="348"/>
                </a:cubicBezTo>
                <a:cubicBezTo>
                  <a:pt x="280" y="412"/>
                  <a:pt x="174" y="411"/>
                  <a:pt x="110" y="346"/>
                </a:cubicBezTo>
                <a:cubicBezTo>
                  <a:pt x="30" y="263"/>
                  <a:pt x="30" y="131"/>
                  <a:pt x="112" y="49"/>
                </a:cubicBezTo>
                <a:cubicBezTo>
                  <a:pt x="112" y="77"/>
                  <a:pt x="112" y="113"/>
                  <a:pt x="112" y="113"/>
                </a:cubicBezTo>
                <a:cubicBezTo>
                  <a:pt x="112" y="121"/>
                  <a:pt x="117" y="127"/>
                  <a:pt x="125" y="127"/>
                </a:cubicBezTo>
                <a:cubicBezTo>
                  <a:pt x="132" y="127"/>
                  <a:pt x="138" y="121"/>
                  <a:pt x="138" y="113"/>
                </a:cubicBezTo>
                <a:cubicBezTo>
                  <a:pt x="138" y="14"/>
                  <a:pt x="138" y="14"/>
                  <a:pt x="138" y="14"/>
                </a:cubicBezTo>
                <a:cubicBezTo>
                  <a:pt x="138" y="10"/>
                  <a:pt x="137" y="7"/>
                  <a:pt x="134" y="4"/>
                </a:cubicBezTo>
                <a:cubicBezTo>
                  <a:pt x="132" y="2"/>
                  <a:pt x="128" y="0"/>
                  <a:pt x="125" y="0"/>
                </a:cubicBezTo>
                <a:cubicBezTo>
                  <a:pt x="25" y="0"/>
                  <a:pt x="25" y="0"/>
                  <a:pt x="25" y="0"/>
                </a:cubicBezTo>
                <a:cubicBezTo>
                  <a:pt x="18" y="0"/>
                  <a:pt x="12" y="6"/>
                  <a:pt x="12" y="14"/>
                </a:cubicBezTo>
                <a:cubicBezTo>
                  <a:pt x="12" y="21"/>
                  <a:pt x="18" y="27"/>
                  <a:pt x="25" y="27"/>
                </a:cubicBezTo>
                <a:cubicBezTo>
                  <a:pt x="25" y="27"/>
                  <a:pt x="69" y="27"/>
                  <a:pt x="97" y="27"/>
                </a:cubicBezTo>
                <a:cubicBezTo>
                  <a:pt x="96" y="27"/>
                  <a:pt x="95" y="28"/>
                  <a:pt x="95" y="28"/>
                </a:cubicBezTo>
                <a:cubicBezTo>
                  <a:pt x="1" y="120"/>
                  <a:pt x="0" y="271"/>
                  <a:pt x="91" y="364"/>
                </a:cubicBezTo>
                <a:cubicBezTo>
                  <a:pt x="165" y="440"/>
                  <a:pt x="288" y="442"/>
                  <a:pt x="364" y="367"/>
                </a:cubicBezTo>
                <a:cubicBezTo>
                  <a:pt x="426" y="307"/>
                  <a:pt x="427" y="207"/>
                  <a:pt x="366" y="14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99" name="Freeform 537"/>
          <p:cNvSpPr>
            <a:spLocks noEditPoints="1"/>
          </p:cNvSpPr>
          <p:nvPr userDrawn="1"/>
        </p:nvSpPr>
        <p:spPr bwMode="auto">
          <a:xfrm>
            <a:off x="5688633" y="2761401"/>
            <a:ext cx="272725" cy="382190"/>
          </a:xfrm>
          <a:custGeom>
            <a:avLst/>
            <a:gdLst/>
            <a:ahLst/>
            <a:cxnLst>
              <a:cxn ang="0">
                <a:pos x="299" y="124"/>
              </a:cxn>
              <a:cxn ang="0">
                <a:pos x="262" y="196"/>
              </a:cxn>
              <a:cxn ang="0">
                <a:pos x="230" y="147"/>
              </a:cxn>
              <a:cxn ang="0">
                <a:pos x="162" y="84"/>
              </a:cxn>
              <a:cxn ang="0">
                <a:pos x="95" y="147"/>
              </a:cxn>
              <a:cxn ang="0">
                <a:pos x="34" y="211"/>
              </a:cxn>
              <a:cxn ang="0">
                <a:pos x="28" y="82"/>
              </a:cxn>
              <a:cxn ang="0">
                <a:pos x="163" y="27"/>
              </a:cxn>
              <a:cxn ang="0">
                <a:pos x="284" y="72"/>
              </a:cxn>
              <a:cxn ang="0">
                <a:pos x="318" y="83"/>
              </a:cxn>
              <a:cxn ang="0">
                <a:pos x="311" y="58"/>
              </a:cxn>
              <a:cxn ang="0">
                <a:pos x="163" y="0"/>
              </a:cxn>
              <a:cxn ang="0">
                <a:pos x="14" y="58"/>
              </a:cxn>
              <a:cxn ang="0">
                <a:pos x="2" y="76"/>
              </a:cxn>
              <a:cxn ang="0">
                <a:pos x="97" y="425"/>
              </a:cxn>
              <a:cxn ang="0">
                <a:pos x="163" y="453"/>
              </a:cxn>
              <a:cxn ang="0">
                <a:pos x="228" y="425"/>
              </a:cxn>
              <a:cxn ang="0">
                <a:pos x="315" y="117"/>
              </a:cxn>
              <a:cxn ang="0">
                <a:pos x="149" y="264"/>
              </a:cxn>
              <a:cxn ang="0">
                <a:pos x="95" y="227"/>
              </a:cxn>
              <a:cxn ang="0">
                <a:pos x="185" y="227"/>
              </a:cxn>
              <a:cxn ang="0">
                <a:pos x="176" y="227"/>
              </a:cxn>
              <a:cxn ang="0">
                <a:pos x="181" y="195"/>
              </a:cxn>
              <a:cxn ang="0">
                <a:pos x="149" y="200"/>
              </a:cxn>
              <a:cxn ang="0">
                <a:pos x="149" y="191"/>
              </a:cxn>
              <a:cxn ang="0">
                <a:pos x="149" y="235"/>
              </a:cxn>
              <a:cxn ang="0">
                <a:pos x="149" y="227"/>
              </a:cxn>
              <a:cxn ang="0">
                <a:pos x="214" y="227"/>
              </a:cxn>
              <a:cxn ang="0">
                <a:pos x="176" y="279"/>
              </a:cxn>
              <a:cxn ang="0">
                <a:pos x="230" y="200"/>
              </a:cxn>
              <a:cxn ang="0">
                <a:pos x="176" y="163"/>
              </a:cxn>
              <a:cxn ang="0">
                <a:pos x="113" y="167"/>
              </a:cxn>
              <a:cxn ang="0">
                <a:pos x="125" y="176"/>
              </a:cxn>
              <a:cxn ang="0">
                <a:pos x="113" y="167"/>
              </a:cxn>
              <a:cxn ang="0">
                <a:pos x="183" y="423"/>
              </a:cxn>
              <a:cxn ang="0">
                <a:pos x="162" y="427"/>
              </a:cxn>
              <a:cxn ang="0">
                <a:pos x="39" y="257"/>
              </a:cxn>
              <a:cxn ang="0">
                <a:pos x="67" y="227"/>
              </a:cxn>
              <a:cxn ang="0">
                <a:pos x="149" y="329"/>
              </a:cxn>
              <a:cxn ang="0">
                <a:pos x="176" y="306"/>
              </a:cxn>
              <a:cxn ang="0">
                <a:pos x="266" y="227"/>
              </a:cxn>
              <a:cxn ang="0">
                <a:pos x="291" y="198"/>
              </a:cxn>
            </a:cxnLst>
            <a:rect l="0" t="0" r="r" b="b"/>
            <a:pathLst>
              <a:path w="324" h="454">
                <a:moveTo>
                  <a:pt x="315" y="117"/>
                </a:moveTo>
                <a:cubicBezTo>
                  <a:pt x="315" y="117"/>
                  <a:pt x="315" y="117"/>
                  <a:pt x="315" y="117"/>
                </a:cubicBezTo>
                <a:cubicBezTo>
                  <a:pt x="309" y="115"/>
                  <a:pt x="302" y="118"/>
                  <a:pt x="299" y="124"/>
                </a:cubicBezTo>
                <a:cubicBezTo>
                  <a:pt x="299" y="124"/>
                  <a:pt x="297" y="129"/>
                  <a:pt x="293" y="136"/>
                </a:cubicBezTo>
                <a:cubicBezTo>
                  <a:pt x="288" y="147"/>
                  <a:pt x="280" y="163"/>
                  <a:pt x="272" y="177"/>
                </a:cubicBezTo>
                <a:cubicBezTo>
                  <a:pt x="268" y="184"/>
                  <a:pt x="265" y="191"/>
                  <a:pt x="262" y="196"/>
                </a:cubicBezTo>
                <a:cubicBezTo>
                  <a:pt x="261" y="197"/>
                  <a:pt x="260" y="199"/>
                  <a:pt x="259" y="200"/>
                </a:cubicBezTo>
                <a:cubicBezTo>
                  <a:pt x="257" y="200"/>
                  <a:pt x="257" y="200"/>
                  <a:pt x="257" y="200"/>
                </a:cubicBezTo>
                <a:cubicBezTo>
                  <a:pt x="254" y="180"/>
                  <a:pt x="244" y="161"/>
                  <a:pt x="230" y="147"/>
                </a:cubicBezTo>
                <a:cubicBezTo>
                  <a:pt x="215" y="134"/>
                  <a:pt x="197" y="124"/>
                  <a:pt x="176" y="121"/>
                </a:cubicBezTo>
                <a:cubicBezTo>
                  <a:pt x="176" y="98"/>
                  <a:pt x="176" y="98"/>
                  <a:pt x="176" y="98"/>
                </a:cubicBezTo>
                <a:cubicBezTo>
                  <a:pt x="176" y="90"/>
                  <a:pt x="170" y="84"/>
                  <a:pt x="162" y="84"/>
                </a:cubicBezTo>
                <a:cubicBezTo>
                  <a:pt x="155" y="84"/>
                  <a:pt x="149" y="90"/>
                  <a:pt x="149" y="98"/>
                </a:cubicBezTo>
                <a:cubicBezTo>
                  <a:pt x="149" y="121"/>
                  <a:pt x="149" y="121"/>
                  <a:pt x="149" y="121"/>
                </a:cubicBezTo>
                <a:cubicBezTo>
                  <a:pt x="128" y="124"/>
                  <a:pt x="109" y="134"/>
                  <a:pt x="95" y="147"/>
                </a:cubicBezTo>
                <a:cubicBezTo>
                  <a:pt x="80" y="161"/>
                  <a:pt x="71" y="180"/>
                  <a:pt x="67" y="200"/>
                </a:cubicBezTo>
                <a:cubicBezTo>
                  <a:pt x="47" y="200"/>
                  <a:pt x="47" y="200"/>
                  <a:pt x="47" y="200"/>
                </a:cubicBezTo>
                <a:cubicBezTo>
                  <a:pt x="40" y="200"/>
                  <a:pt x="35" y="205"/>
                  <a:pt x="34" y="211"/>
                </a:cubicBezTo>
                <a:cubicBezTo>
                  <a:pt x="30" y="174"/>
                  <a:pt x="27" y="128"/>
                  <a:pt x="27" y="100"/>
                </a:cubicBezTo>
                <a:cubicBezTo>
                  <a:pt x="27" y="93"/>
                  <a:pt x="27" y="88"/>
                  <a:pt x="27" y="84"/>
                </a:cubicBezTo>
                <a:cubicBezTo>
                  <a:pt x="28" y="83"/>
                  <a:pt x="28" y="82"/>
                  <a:pt x="28" y="82"/>
                </a:cubicBezTo>
                <a:cubicBezTo>
                  <a:pt x="28" y="81"/>
                  <a:pt x="29" y="80"/>
                  <a:pt x="30" y="79"/>
                </a:cubicBezTo>
                <a:cubicBezTo>
                  <a:pt x="40" y="72"/>
                  <a:pt x="60" y="59"/>
                  <a:pt x="84" y="47"/>
                </a:cubicBezTo>
                <a:cubicBezTo>
                  <a:pt x="109" y="36"/>
                  <a:pt x="137" y="27"/>
                  <a:pt x="163" y="27"/>
                </a:cubicBezTo>
                <a:cubicBezTo>
                  <a:pt x="163" y="27"/>
                  <a:pt x="163" y="27"/>
                  <a:pt x="163" y="27"/>
                </a:cubicBezTo>
                <a:cubicBezTo>
                  <a:pt x="192" y="27"/>
                  <a:pt x="225" y="39"/>
                  <a:pt x="251" y="52"/>
                </a:cubicBezTo>
                <a:cubicBezTo>
                  <a:pt x="264" y="59"/>
                  <a:pt x="276" y="66"/>
                  <a:pt x="284" y="72"/>
                </a:cubicBezTo>
                <a:cubicBezTo>
                  <a:pt x="289" y="75"/>
                  <a:pt x="292" y="77"/>
                  <a:pt x="295" y="79"/>
                </a:cubicBezTo>
                <a:cubicBezTo>
                  <a:pt x="297" y="81"/>
                  <a:pt x="299" y="83"/>
                  <a:pt x="299" y="83"/>
                </a:cubicBezTo>
                <a:cubicBezTo>
                  <a:pt x="305" y="88"/>
                  <a:pt x="313" y="88"/>
                  <a:pt x="318" y="83"/>
                </a:cubicBezTo>
                <a:cubicBezTo>
                  <a:pt x="323" y="78"/>
                  <a:pt x="323" y="70"/>
                  <a:pt x="318" y="64"/>
                </a:cubicBezTo>
                <a:cubicBezTo>
                  <a:pt x="318" y="64"/>
                  <a:pt x="318" y="64"/>
                  <a:pt x="318" y="64"/>
                </a:cubicBezTo>
                <a:cubicBezTo>
                  <a:pt x="316" y="62"/>
                  <a:pt x="314" y="61"/>
                  <a:pt x="311" y="58"/>
                </a:cubicBezTo>
                <a:cubicBezTo>
                  <a:pt x="300" y="50"/>
                  <a:pt x="279" y="36"/>
                  <a:pt x="252" y="23"/>
                </a:cubicBezTo>
                <a:cubicBezTo>
                  <a:pt x="226" y="11"/>
                  <a:pt x="194" y="0"/>
                  <a:pt x="163" y="0"/>
                </a:cubicBezTo>
                <a:cubicBezTo>
                  <a:pt x="163" y="0"/>
                  <a:pt x="163" y="0"/>
                  <a:pt x="163" y="0"/>
                </a:cubicBezTo>
                <a:cubicBezTo>
                  <a:pt x="126" y="0"/>
                  <a:pt x="91" y="14"/>
                  <a:pt x="62" y="29"/>
                </a:cubicBezTo>
                <a:cubicBezTo>
                  <a:pt x="48" y="36"/>
                  <a:pt x="36" y="44"/>
                  <a:pt x="26" y="50"/>
                </a:cubicBezTo>
                <a:cubicBezTo>
                  <a:pt x="21" y="53"/>
                  <a:pt x="17" y="56"/>
                  <a:pt x="14" y="58"/>
                </a:cubicBezTo>
                <a:cubicBezTo>
                  <a:pt x="11" y="61"/>
                  <a:pt x="9" y="62"/>
                  <a:pt x="7" y="64"/>
                </a:cubicBezTo>
                <a:cubicBezTo>
                  <a:pt x="5" y="66"/>
                  <a:pt x="4" y="68"/>
                  <a:pt x="3" y="70"/>
                </a:cubicBezTo>
                <a:cubicBezTo>
                  <a:pt x="2" y="72"/>
                  <a:pt x="2" y="74"/>
                  <a:pt x="2" y="76"/>
                </a:cubicBezTo>
                <a:cubicBezTo>
                  <a:pt x="1" y="83"/>
                  <a:pt x="0" y="90"/>
                  <a:pt x="0" y="100"/>
                </a:cubicBezTo>
                <a:cubicBezTo>
                  <a:pt x="0" y="145"/>
                  <a:pt x="8" y="228"/>
                  <a:pt x="12" y="261"/>
                </a:cubicBezTo>
                <a:cubicBezTo>
                  <a:pt x="25" y="347"/>
                  <a:pt x="66" y="398"/>
                  <a:pt x="97" y="425"/>
                </a:cubicBezTo>
                <a:cubicBezTo>
                  <a:pt x="110" y="436"/>
                  <a:pt x="122" y="443"/>
                  <a:pt x="133" y="448"/>
                </a:cubicBezTo>
                <a:cubicBezTo>
                  <a:pt x="143" y="452"/>
                  <a:pt x="153" y="453"/>
                  <a:pt x="162" y="453"/>
                </a:cubicBezTo>
                <a:cubicBezTo>
                  <a:pt x="162" y="453"/>
                  <a:pt x="162" y="453"/>
                  <a:pt x="163" y="453"/>
                </a:cubicBezTo>
                <a:cubicBezTo>
                  <a:pt x="163" y="453"/>
                  <a:pt x="163" y="453"/>
                  <a:pt x="163" y="453"/>
                </a:cubicBezTo>
                <a:cubicBezTo>
                  <a:pt x="172" y="454"/>
                  <a:pt x="182" y="452"/>
                  <a:pt x="193" y="448"/>
                </a:cubicBezTo>
                <a:cubicBezTo>
                  <a:pt x="204" y="443"/>
                  <a:pt x="215" y="436"/>
                  <a:pt x="228" y="425"/>
                </a:cubicBezTo>
                <a:cubicBezTo>
                  <a:pt x="259" y="398"/>
                  <a:pt x="300" y="347"/>
                  <a:pt x="313" y="261"/>
                </a:cubicBezTo>
                <a:cubicBezTo>
                  <a:pt x="317" y="235"/>
                  <a:pt x="322" y="176"/>
                  <a:pt x="324" y="131"/>
                </a:cubicBezTo>
                <a:cubicBezTo>
                  <a:pt x="324" y="125"/>
                  <a:pt x="321" y="119"/>
                  <a:pt x="315" y="117"/>
                </a:cubicBezTo>
                <a:close/>
                <a:moveTo>
                  <a:pt x="111" y="227"/>
                </a:moveTo>
                <a:cubicBezTo>
                  <a:pt x="113" y="236"/>
                  <a:pt x="118" y="244"/>
                  <a:pt x="125" y="250"/>
                </a:cubicBezTo>
                <a:cubicBezTo>
                  <a:pt x="131" y="257"/>
                  <a:pt x="140" y="262"/>
                  <a:pt x="149" y="264"/>
                </a:cubicBezTo>
                <a:cubicBezTo>
                  <a:pt x="149" y="279"/>
                  <a:pt x="149" y="279"/>
                  <a:pt x="149" y="279"/>
                </a:cubicBezTo>
                <a:cubicBezTo>
                  <a:pt x="135" y="276"/>
                  <a:pt x="123" y="269"/>
                  <a:pt x="113" y="260"/>
                </a:cubicBezTo>
                <a:cubicBezTo>
                  <a:pt x="104" y="251"/>
                  <a:pt x="97" y="240"/>
                  <a:pt x="95" y="227"/>
                </a:cubicBezTo>
                <a:lnTo>
                  <a:pt x="111" y="227"/>
                </a:lnTo>
                <a:close/>
                <a:moveTo>
                  <a:pt x="176" y="227"/>
                </a:moveTo>
                <a:cubicBezTo>
                  <a:pt x="185" y="227"/>
                  <a:pt x="185" y="227"/>
                  <a:pt x="185" y="227"/>
                </a:cubicBezTo>
                <a:cubicBezTo>
                  <a:pt x="184" y="228"/>
                  <a:pt x="183" y="230"/>
                  <a:pt x="181" y="231"/>
                </a:cubicBezTo>
                <a:cubicBezTo>
                  <a:pt x="180" y="233"/>
                  <a:pt x="178" y="234"/>
                  <a:pt x="176" y="235"/>
                </a:cubicBezTo>
                <a:lnTo>
                  <a:pt x="176" y="227"/>
                </a:lnTo>
                <a:close/>
                <a:moveTo>
                  <a:pt x="176" y="200"/>
                </a:moveTo>
                <a:cubicBezTo>
                  <a:pt x="176" y="191"/>
                  <a:pt x="176" y="191"/>
                  <a:pt x="176" y="191"/>
                </a:cubicBezTo>
                <a:cubicBezTo>
                  <a:pt x="178" y="192"/>
                  <a:pt x="180" y="194"/>
                  <a:pt x="181" y="195"/>
                </a:cubicBezTo>
                <a:cubicBezTo>
                  <a:pt x="183" y="197"/>
                  <a:pt x="184" y="198"/>
                  <a:pt x="185" y="200"/>
                </a:cubicBezTo>
                <a:lnTo>
                  <a:pt x="176" y="200"/>
                </a:lnTo>
                <a:close/>
                <a:moveTo>
                  <a:pt x="149" y="200"/>
                </a:moveTo>
                <a:cubicBezTo>
                  <a:pt x="139" y="200"/>
                  <a:pt x="139" y="200"/>
                  <a:pt x="139" y="200"/>
                </a:cubicBezTo>
                <a:cubicBezTo>
                  <a:pt x="140" y="198"/>
                  <a:pt x="142" y="197"/>
                  <a:pt x="143" y="195"/>
                </a:cubicBezTo>
                <a:cubicBezTo>
                  <a:pt x="145" y="194"/>
                  <a:pt x="147" y="192"/>
                  <a:pt x="149" y="191"/>
                </a:cubicBezTo>
                <a:lnTo>
                  <a:pt x="149" y="200"/>
                </a:lnTo>
                <a:close/>
                <a:moveTo>
                  <a:pt x="149" y="227"/>
                </a:moveTo>
                <a:cubicBezTo>
                  <a:pt x="149" y="235"/>
                  <a:pt x="149" y="235"/>
                  <a:pt x="149" y="235"/>
                </a:cubicBezTo>
                <a:cubicBezTo>
                  <a:pt x="147" y="234"/>
                  <a:pt x="145" y="233"/>
                  <a:pt x="143" y="231"/>
                </a:cubicBezTo>
                <a:cubicBezTo>
                  <a:pt x="142" y="230"/>
                  <a:pt x="140" y="228"/>
                  <a:pt x="139" y="227"/>
                </a:cubicBezTo>
                <a:lnTo>
                  <a:pt x="149" y="227"/>
                </a:lnTo>
                <a:close/>
                <a:moveTo>
                  <a:pt x="176" y="264"/>
                </a:moveTo>
                <a:cubicBezTo>
                  <a:pt x="185" y="262"/>
                  <a:pt x="193" y="257"/>
                  <a:pt x="200" y="250"/>
                </a:cubicBezTo>
                <a:cubicBezTo>
                  <a:pt x="207" y="244"/>
                  <a:pt x="211" y="236"/>
                  <a:pt x="214" y="227"/>
                </a:cubicBezTo>
                <a:cubicBezTo>
                  <a:pt x="230" y="227"/>
                  <a:pt x="230" y="227"/>
                  <a:pt x="230" y="227"/>
                </a:cubicBezTo>
                <a:cubicBezTo>
                  <a:pt x="227" y="240"/>
                  <a:pt x="221" y="251"/>
                  <a:pt x="211" y="260"/>
                </a:cubicBezTo>
                <a:cubicBezTo>
                  <a:pt x="202" y="269"/>
                  <a:pt x="189" y="276"/>
                  <a:pt x="176" y="279"/>
                </a:cubicBezTo>
                <a:lnTo>
                  <a:pt x="176" y="264"/>
                </a:lnTo>
                <a:close/>
                <a:moveTo>
                  <a:pt x="211" y="167"/>
                </a:moveTo>
                <a:cubicBezTo>
                  <a:pt x="221" y="176"/>
                  <a:pt x="227" y="187"/>
                  <a:pt x="230" y="200"/>
                </a:cubicBezTo>
                <a:cubicBezTo>
                  <a:pt x="214" y="200"/>
                  <a:pt x="214" y="200"/>
                  <a:pt x="214" y="200"/>
                </a:cubicBezTo>
                <a:cubicBezTo>
                  <a:pt x="211" y="191"/>
                  <a:pt x="207" y="183"/>
                  <a:pt x="200" y="176"/>
                </a:cubicBezTo>
                <a:cubicBezTo>
                  <a:pt x="193" y="170"/>
                  <a:pt x="185" y="165"/>
                  <a:pt x="176" y="163"/>
                </a:cubicBezTo>
                <a:cubicBezTo>
                  <a:pt x="176" y="148"/>
                  <a:pt x="176" y="148"/>
                  <a:pt x="176" y="148"/>
                </a:cubicBezTo>
                <a:cubicBezTo>
                  <a:pt x="189" y="151"/>
                  <a:pt x="202" y="157"/>
                  <a:pt x="211" y="167"/>
                </a:cubicBezTo>
                <a:close/>
                <a:moveTo>
                  <a:pt x="113" y="167"/>
                </a:moveTo>
                <a:cubicBezTo>
                  <a:pt x="123" y="157"/>
                  <a:pt x="135" y="151"/>
                  <a:pt x="149" y="148"/>
                </a:cubicBezTo>
                <a:cubicBezTo>
                  <a:pt x="149" y="163"/>
                  <a:pt x="149" y="163"/>
                  <a:pt x="149" y="163"/>
                </a:cubicBezTo>
                <a:cubicBezTo>
                  <a:pt x="140" y="165"/>
                  <a:pt x="131" y="170"/>
                  <a:pt x="125" y="176"/>
                </a:cubicBezTo>
                <a:cubicBezTo>
                  <a:pt x="118" y="183"/>
                  <a:pt x="113" y="191"/>
                  <a:pt x="111" y="200"/>
                </a:cubicBezTo>
                <a:cubicBezTo>
                  <a:pt x="95" y="200"/>
                  <a:pt x="95" y="200"/>
                  <a:pt x="95" y="200"/>
                </a:cubicBezTo>
                <a:cubicBezTo>
                  <a:pt x="97" y="187"/>
                  <a:pt x="104" y="176"/>
                  <a:pt x="113" y="167"/>
                </a:cubicBezTo>
                <a:close/>
                <a:moveTo>
                  <a:pt x="286" y="257"/>
                </a:moveTo>
                <a:cubicBezTo>
                  <a:pt x="274" y="337"/>
                  <a:pt x="238" y="381"/>
                  <a:pt x="211" y="405"/>
                </a:cubicBezTo>
                <a:cubicBezTo>
                  <a:pt x="200" y="414"/>
                  <a:pt x="190" y="420"/>
                  <a:pt x="183" y="423"/>
                </a:cubicBezTo>
                <a:cubicBezTo>
                  <a:pt x="175" y="426"/>
                  <a:pt x="169" y="427"/>
                  <a:pt x="163" y="427"/>
                </a:cubicBezTo>
                <a:cubicBezTo>
                  <a:pt x="163" y="427"/>
                  <a:pt x="163" y="427"/>
                  <a:pt x="163" y="427"/>
                </a:cubicBezTo>
                <a:cubicBezTo>
                  <a:pt x="162" y="427"/>
                  <a:pt x="162" y="427"/>
                  <a:pt x="162" y="427"/>
                </a:cubicBezTo>
                <a:cubicBezTo>
                  <a:pt x="156" y="427"/>
                  <a:pt x="150" y="426"/>
                  <a:pt x="143" y="423"/>
                </a:cubicBezTo>
                <a:cubicBezTo>
                  <a:pt x="135" y="420"/>
                  <a:pt x="126" y="414"/>
                  <a:pt x="114" y="405"/>
                </a:cubicBezTo>
                <a:cubicBezTo>
                  <a:pt x="88" y="381"/>
                  <a:pt x="51" y="337"/>
                  <a:pt x="39" y="257"/>
                </a:cubicBezTo>
                <a:cubicBezTo>
                  <a:pt x="38" y="248"/>
                  <a:pt x="36" y="235"/>
                  <a:pt x="34" y="219"/>
                </a:cubicBezTo>
                <a:cubicBezTo>
                  <a:pt x="36" y="223"/>
                  <a:pt x="41" y="227"/>
                  <a:pt x="47" y="227"/>
                </a:cubicBezTo>
                <a:cubicBezTo>
                  <a:pt x="67" y="227"/>
                  <a:pt x="67" y="227"/>
                  <a:pt x="67" y="227"/>
                </a:cubicBezTo>
                <a:cubicBezTo>
                  <a:pt x="71" y="247"/>
                  <a:pt x="80" y="266"/>
                  <a:pt x="95" y="279"/>
                </a:cubicBezTo>
                <a:cubicBezTo>
                  <a:pt x="109" y="293"/>
                  <a:pt x="128" y="303"/>
                  <a:pt x="149" y="306"/>
                </a:cubicBezTo>
                <a:cubicBezTo>
                  <a:pt x="149" y="329"/>
                  <a:pt x="149" y="329"/>
                  <a:pt x="149" y="329"/>
                </a:cubicBezTo>
                <a:cubicBezTo>
                  <a:pt x="149" y="336"/>
                  <a:pt x="155" y="342"/>
                  <a:pt x="162" y="342"/>
                </a:cubicBezTo>
                <a:cubicBezTo>
                  <a:pt x="170" y="342"/>
                  <a:pt x="176" y="336"/>
                  <a:pt x="176" y="329"/>
                </a:cubicBezTo>
                <a:cubicBezTo>
                  <a:pt x="176" y="306"/>
                  <a:pt x="176" y="306"/>
                  <a:pt x="176" y="306"/>
                </a:cubicBezTo>
                <a:cubicBezTo>
                  <a:pt x="197" y="303"/>
                  <a:pt x="215" y="293"/>
                  <a:pt x="230" y="279"/>
                </a:cubicBezTo>
                <a:cubicBezTo>
                  <a:pt x="244" y="266"/>
                  <a:pt x="254" y="247"/>
                  <a:pt x="257" y="227"/>
                </a:cubicBezTo>
                <a:cubicBezTo>
                  <a:pt x="266" y="227"/>
                  <a:pt x="266" y="227"/>
                  <a:pt x="266" y="227"/>
                </a:cubicBezTo>
                <a:cubicBezTo>
                  <a:pt x="270" y="227"/>
                  <a:pt x="273" y="225"/>
                  <a:pt x="275" y="223"/>
                </a:cubicBezTo>
                <a:cubicBezTo>
                  <a:pt x="277" y="221"/>
                  <a:pt x="278" y="220"/>
                  <a:pt x="279" y="219"/>
                </a:cubicBezTo>
                <a:cubicBezTo>
                  <a:pt x="282" y="214"/>
                  <a:pt x="286" y="207"/>
                  <a:pt x="291" y="198"/>
                </a:cubicBezTo>
                <a:cubicBezTo>
                  <a:pt x="292" y="197"/>
                  <a:pt x="292" y="196"/>
                  <a:pt x="293" y="194"/>
                </a:cubicBezTo>
                <a:cubicBezTo>
                  <a:pt x="291" y="220"/>
                  <a:pt x="288" y="244"/>
                  <a:pt x="286" y="25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0" name="Freeform 556"/>
          <p:cNvSpPr>
            <a:spLocks/>
          </p:cNvSpPr>
          <p:nvPr userDrawn="1"/>
        </p:nvSpPr>
        <p:spPr bwMode="auto">
          <a:xfrm>
            <a:off x="5652311" y="3846466"/>
            <a:ext cx="345371" cy="291704"/>
          </a:xfrm>
          <a:custGeom>
            <a:avLst/>
            <a:gdLst/>
            <a:ahLst/>
            <a:cxnLst>
              <a:cxn ang="0">
                <a:pos x="304" y="345"/>
              </a:cxn>
              <a:cxn ang="0">
                <a:pos x="262" y="194"/>
              </a:cxn>
              <a:cxn ang="0">
                <a:pos x="262" y="191"/>
              </a:cxn>
              <a:cxn ang="0">
                <a:pos x="144" y="191"/>
              </a:cxn>
              <a:cxn ang="0">
                <a:pos x="144" y="194"/>
              </a:cxn>
              <a:cxn ang="0">
                <a:pos x="103" y="345"/>
              </a:cxn>
              <a:cxn ang="0">
                <a:pos x="0" y="303"/>
              </a:cxn>
              <a:cxn ang="0">
                <a:pos x="33" y="134"/>
              </a:cxn>
              <a:cxn ang="0">
                <a:pos x="78" y="31"/>
              </a:cxn>
              <a:cxn ang="0">
                <a:pos x="149" y="63"/>
              </a:cxn>
              <a:cxn ang="0">
                <a:pos x="202" y="0"/>
              </a:cxn>
              <a:cxn ang="0">
                <a:pos x="257" y="63"/>
              </a:cxn>
              <a:cxn ang="0">
                <a:pos x="328" y="31"/>
              </a:cxn>
              <a:cxn ang="0">
                <a:pos x="374" y="133"/>
              </a:cxn>
              <a:cxn ang="0">
                <a:pos x="409" y="315"/>
              </a:cxn>
              <a:cxn ang="0">
                <a:pos x="382" y="315"/>
              </a:cxn>
              <a:cxn ang="0">
                <a:pos x="367" y="160"/>
              </a:cxn>
              <a:cxn ang="0">
                <a:pos x="336" y="146"/>
              </a:cxn>
              <a:cxn ang="0">
                <a:pos x="343" y="124"/>
              </a:cxn>
              <a:cxn ang="0">
                <a:pos x="328" y="58"/>
              </a:cxn>
              <a:cxn ang="0">
                <a:pos x="309" y="121"/>
              </a:cxn>
              <a:cxn ang="0">
                <a:pos x="315" y="141"/>
              </a:cxn>
              <a:cxn ang="0">
                <a:pos x="292" y="150"/>
              </a:cxn>
              <a:cxn ang="0">
                <a:pos x="232" y="74"/>
              </a:cxn>
              <a:cxn ang="0">
                <a:pos x="219" y="35"/>
              </a:cxn>
              <a:cxn ang="0">
                <a:pos x="187" y="37"/>
              </a:cxn>
              <a:cxn ang="0">
                <a:pos x="174" y="74"/>
              </a:cxn>
              <a:cxn ang="0">
                <a:pos x="115" y="150"/>
              </a:cxn>
              <a:cxn ang="0">
                <a:pos x="91" y="141"/>
              </a:cxn>
              <a:cxn ang="0">
                <a:pos x="97" y="121"/>
              </a:cxn>
              <a:cxn ang="0">
                <a:pos x="78" y="58"/>
              </a:cxn>
              <a:cxn ang="0">
                <a:pos x="63" y="124"/>
              </a:cxn>
              <a:cxn ang="0">
                <a:pos x="71" y="146"/>
              </a:cxn>
              <a:cxn ang="0">
                <a:pos x="42" y="160"/>
              </a:cxn>
              <a:cxn ang="0">
                <a:pos x="27" y="303"/>
              </a:cxn>
              <a:cxn ang="0">
                <a:pos x="103" y="318"/>
              </a:cxn>
              <a:cxn ang="0">
                <a:pos x="117" y="194"/>
              </a:cxn>
              <a:cxn ang="0">
                <a:pos x="118" y="188"/>
              </a:cxn>
              <a:cxn ang="0">
                <a:pos x="187" y="97"/>
              </a:cxn>
              <a:cxn ang="0">
                <a:pos x="193" y="89"/>
              </a:cxn>
              <a:cxn ang="0">
                <a:pos x="203" y="85"/>
              </a:cxn>
              <a:cxn ang="0">
                <a:pos x="219" y="96"/>
              </a:cxn>
              <a:cxn ang="0">
                <a:pos x="286" y="178"/>
              </a:cxn>
              <a:cxn ang="0">
                <a:pos x="289" y="189"/>
              </a:cxn>
              <a:cxn ang="0">
                <a:pos x="289" y="303"/>
              </a:cxn>
              <a:cxn ang="0">
                <a:pos x="367" y="318"/>
              </a:cxn>
              <a:cxn ang="0">
                <a:pos x="367" y="345"/>
              </a:cxn>
            </a:cxnLst>
            <a:rect l="0" t="0" r="r" b="b"/>
            <a:pathLst>
              <a:path w="409" h="345">
                <a:moveTo>
                  <a:pt x="367" y="345"/>
                </a:moveTo>
                <a:cubicBezTo>
                  <a:pt x="304" y="345"/>
                  <a:pt x="304" y="345"/>
                  <a:pt x="304" y="345"/>
                </a:cubicBezTo>
                <a:cubicBezTo>
                  <a:pt x="281" y="345"/>
                  <a:pt x="262" y="326"/>
                  <a:pt x="262" y="303"/>
                </a:cubicBezTo>
                <a:cubicBezTo>
                  <a:pt x="262" y="194"/>
                  <a:pt x="262" y="194"/>
                  <a:pt x="262" y="194"/>
                </a:cubicBezTo>
                <a:cubicBezTo>
                  <a:pt x="262" y="193"/>
                  <a:pt x="262" y="193"/>
                  <a:pt x="262" y="193"/>
                </a:cubicBezTo>
                <a:cubicBezTo>
                  <a:pt x="262" y="192"/>
                  <a:pt x="262" y="191"/>
                  <a:pt x="262" y="191"/>
                </a:cubicBezTo>
                <a:cubicBezTo>
                  <a:pt x="203" y="119"/>
                  <a:pt x="203" y="119"/>
                  <a:pt x="203" y="119"/>
                </a:cubicBezTo>
                <a:cubicBezTo>
                  <a:pt x="144" y="191"/>
                  <a:pt x="144" y="191"/>
                  <a:pt x="144" y="191"/>
                </a:cubicBezTo>
                <a:cubicBezTo>
                  <a:pt x="144" y="191"/>
                  <a:pt x="144" y="192"/>
                  <a:pt x="144" y="193"/>
                </a:cubicBezTo>
                <a:cubicBezTo>
                  <a:pt x="144" y="193"/>
                  <a:pt x="144" y="193"/>
                  <a:pt x="144" y="194"/>
                </a:cubicBezTo>
                <a:cubicBezTo>
                  <a:pt x="144" y="303"/>
                  <a:pt x="144" y="303"/>
                  <a:pt x="144" y="303"/>
                </a:cubicBezTo>
                <a:cubicBezTo>
                  <a:pt x="144" y="326"/>
                  <a:pt x="125" y="345"/>
                  <a:pt x="103" y="345"/>
                </a:cubicBezTo>
                <a:cubicBezTo>
                  <a:pt x="42" y="345"/>
                  <a:pt x="42" y="345"/>
                  <a:pt x="42" y="345"/>
                </a:cubicBezTo>
                <a:cubicBezTo>
                  <a:pt x="19" y="345"/>
                  <a:pt x="0" y="326"/>
                  <a:pt x="0" y="303"/>
                </a:cubicBezTo>
                <a:cubicBezTo>
                  <a:pt x="0" y="174"/>
                  <a:pt x="0" y="174"/>
                  <a:pt x="0" y="174"/>
                </a:cubicBezTo>
                <a:cubicBezTo>
                  <a:pt x="0" y="154"/>
                  <a:pt x="14" y="138"/>
                  <a:pt x="33" y="134"/>
                </a:cubicBezTo>
                <a:cubicBezTo>
                  <a:pt x="23" y="123"/>
                  <a:pt x="17" y="108"/>
                  <a:pt x="17" y="92"/>
                </a:cubicBezTo>
                <a:cubicBezTo>
                  <a:pt x="17" y="59"/>
                  <a:pt x="44" y="31"/>
                  <a:pt x="78" y="31"/>
                </a:cubicBezTo>
                <a:cubicBezTo>
                  <a:pt x="107" y="31"/>
                  <a:pt x="131" y="51"/>
                  <a:pt x="137" y="78"/>
                </a:cubicBezTo>
                <a:cubicBezTo>
                  <a:pt x="149" y="63"/>
                  <a:pt x="149" y="63"/>
                  <a:pt x="149" y="63"/>
                </a:cubicBezTo>
                <a:cubicBezTo>
                  <a:pt x="161" y="30"/>
                  <a:pt x="161" y="30"/>
                  <a:pt x="161" y="30"/>
                </a:cubicBezTo>
                <a:cubicBezTo>
                  <a:pt x="164" y="19"/>
                  <a:pt x="176" y="0"/>
                  <a:pt x="202" y="0"/>
                </a:cubicBezTo>
                <a:cubicBezTo>
                  <a:pt x="230" y="0"/>
                  <a:pt x="242" y="18"/>
                  <a:pt x="245" y="28"/>
                </a:cubicBezTo>
                <a:cubicBezTo>
                  <a:pt x="257" y="63"/>
                  <a:pt x="257" y="63"/>
                  <a:pt x="257" y="63"/>
                </a:cubicBezTo>
                <a:cubicBezTo>
                  <a:pt x="269" y="78"/>
                  <a:pt x="269" y="78"/>
                  <a:pt x="269" y="78"/>
                </a:cubicBezTo>
                <a:cubicBezTo>
                  <a:pt x="275" y="51"/>
                  <a:pt x="300" y="31"/>
                  <a:pt x="328" y="31"/>
                </a:cubicBezTo>
                <a:cubicBezTo>
                  <a:pt x="362" y="31"/>
                  <a:pt x="390" y="59"/>
                  <a:pt x="390" y="92"/>
                </a:cubicBezTo>
                <a:cubicBezTo>
                  <a:pt x="390" y="108"/>
                  <a:pt x="384" y="122"/>
                  <a:pt x="374" y="133"/>
                </a:cubicBezTo>
                <a:cubicBezTo>
                  <a:pt x="394" y="136"/>
                  <a:pt x="409" y="154"/>
                  <a:pt x="409" y="174"/>
                </a:cubicBezTo>
                <a:cubicBezTo>
                  <a:pt x="409" y="315"/>
                  <a:pt x="409" y="315"/>
                  <a:pt x="409" y="315"/>
                </a:cubicBezTo>
                <a:cubicBezTo>
                  <a:pt x="409" y="323"/>
                  <a:pt x="403" y="329"/>
                  <a:pt x="395" y="329"/>
                </a:cubicBezTo>
                <a:cubicBezTo>
                  <a:pt x="388" y="329"/>
                  <a:pt x="382" y="323"/>
                  <a:pt x="382" y="315"/>
                </a:cubicBezTo>
                <a:cubicBezTo>
                  <a:pt x="382" y="174"/>
                  <a:pt x="382" y="174"/>
                  <a:pt x="382" y="174"/>
                </a:cubicBezTo>
                <a:cubicBezTo>
                  <a:pt x="382" y="166"/>
                  <a:pt x="375" y="160"/>
                  <a:pt x="367" y="160"/>
                </a:cubicBezTo>
                <a:cubicBezTo>
                  <a:pt x="349" y="160"/>
                  <a:pt x="349" y="160"/>
                  <a:pt x="349" y="160"/>
                </a:cubicBezTo>
                <a:cubicBezTo>
                  <a:pt x="342" y="160"/>
                  <a:pt x="336" y="154"/>
                  <a:pt x="336" y="146"/>
                </a:cubicBezTo>
                <a:cubicBezTo>
                  <a:pt x="336" y="136"/>
                  <a:pt x="336" y="136"/>
                  <a:pt x="336" y="136"/>
                </a:cubicBezTo>
                <a:cubicBezTo>
                  <a:pt x="336" y="131"/>
                  <a:pt x="339" y="126"/>
                  <a:pt x="343" y="124"/>
                </a:cubicBezTo>
                <a:cubicBezTo>
                  <a:pt x="355" y="118"/>
                  <a:pt x="363" y="106"/>
                  <a:pt x="363" y="92"/>
                </a:cubicBezTo>
                <a:cubicBezTo>
                  <a:pt x="363" y="73"/>
                  <a:pt x="347" y="58"/>
                  <a:pt x="328" y="58"/>
                </a:cubicBezTo>
                <a:cubicBezTo>
                  <a:pt x="309" y="58"/>
                  <a:pt x="294" y="73"/>
                  <a:pt x="294" y="92"/>
                </a:cubicBezTo>
                <a:cubicBezTo>
                  <a:pt x="294" y="104"/>
                  <a:pt x="300" y="115"/>
                  <a:pt x="309" y="121"/>
                </a:cubicBezTo>
                <a:cubicBezTo>
                  <a:pt x="313" y="124"/>
                  <a:pt x="315" y="128"/>
                  <a:pt x="315" y="132"/>
                </a:cubicBezTo>
                <a:cubicBezTo>
                  <a:pt x="315" y="141"/>
                  <a:pt x="315" y="141"/>
                  <a:pt x="315" y="141"/>
                </a:cubicBezTo>
                <a:cubicBezTo>
                  <a:pt x="315" y="147"/>
                  <a:pt x="312" y="152"/>
                  <a:pt x="306" y="154"/>
                </a:cubicBezTo>
                <a:cubicBezTo>
                  <a:pt x="301" y="156"/>
                  <a:pt x="295" y="154"/>
                  <a:pt x="292" y="150"/>
                </a:cubicBezTo>
                <a:cubicBezTo>
                  <a:pt x="235" y="78"/>
                  <a:pt x="235" y="78"/>
                  <a:pt x="235" y="78"/>
                </a:cubicBezTo>
                <a:cubicBezTo>
                  <a:pt x="234" y="77"/>
                  <a:pt x="233" y="75"/>
                  <a:pt x="232" y="74"/>
                </a:cubicBezTo>
                <a:cubicBezTo>
                  <a:pt x="219" y="37"/>
                  <a:pt x="219" y="37"/>
                  <a:pt x="219" y="37"/>
                </a:cubicBezTo>
                <a:cubicBezTo>
                  <a:pt x="219" y="36"/>
                  <a:pt x="219" y="36"/>
                  <a:pt x="219" y="35"/>
                </a:cubicBezTo>
                <a:cubicBezTo>
                  <a:pt x="218" y="33"/>
                  <a:pt x="215" y="27"/>
                  <a:pt x="202" y="27"/>
                </a:cubicBezTo>
                <a:cubicBezTo>
                  <a:pt x="189" y="27"/>
                  <a:pt x="187" y="36"/>
                  <a:pt x="187" y="37"/>
                </a:cubicBezTo>
                <a:cubicBezTo>
                  <a:pt x="187" y="37"/>
                  <a:pt x="187" y="38"/>
                  <a:pt x="187" y="39"/>
                </a:cubicBezTo>
                <a:cubicBezTo>
                  <a:pt x="174" y="74"/>
                  <a:pt x="174" y="74"/>
                  <a:pt x="174" y="74"/>
                </a:cubicBezTo>
                <a:cubicBezTo>
                  <a:pt x="173" y="75"/>
                  <a:pt x="173" y="77"/>
                  <a:pt x="172" y="78"/>
                </a:cubicBezTo>
                <a:cubicBezTo>
                  <a:pt x="115" y="150"/>
                  <a:pt x="115" y="150"/>
                  <a:pt x="115" y="150"/>
                </a:cubicBezTo>
                <a:cubicBezTo>
                  <a:pt x="111" y="154"/>
                  <a:pt x="105" y="156"/>
                  <a:pt x="100" y="154"/>
                </a:cubicBezTo>
                <a:cubicBezTo>
                  <a:pt x="95" y="152"/>
                  <a:pt x="91" y="147"/>
                  <a:pt x="91" y="141"/>
                </a:cubicBezTo>
                <a:cubicBezTo>
                  <a:pt x="91" y="132"/>
                  <a:pt x="91" y="132"/>
                  <a:pt x="91" y="132"/>
                </a:cubicBezTo>
                <a:cubicBezTo>
                  <a:pt x="91" y="128"/>
                  <a:pt x="93" y="124"/>
                  <a:pt x="97" y="121"/>
                </a:cubicBezTo>
                <a:cubicBezTo>
                  <a:pt x="106" y="115"/>
                  <a:pt x="112" y="104"/>
                  <a:pt x="112" y="92"/>
                </a:cubicBezTo>
                <a:cubicBezTo>
                  <a:pt x="112" y="73"/>
                  <a:pt x="97" y="58"/>
                  <a:pt x="78" y="58"/>
                </a:cubicBezTo>
                <a:cubicBezTo>
                  <a:pt x="59" y="58"/>
                  <a:pt x="43" y="73"/>
                  <a:pt x="43" y="92"/>
                </a:cubicBezTo>
                <a:cubicBezTo>
                  <a:pt x="43" y="106"/>
                  <a:pt x="51" y="118"/>
                  <a:pt x="63" y="124"/>
                </a:cubicBezTo>
                <a:cubicBezTo>
                  <a:pt x="68" y="126"/>
                  <a:pt x="71" y="131"/>
                  <a:pt x="71" y="136"/>
                </a:cubicBezTo>
                <a:cubicBezTo>
                  <a:pt x="71" y="146"/>
                  <a:pt x="71" y="146"/>
                  <a:pt x="71" y="146"/>
                </a:cubicBezTo>
                <a:cubicBezTo>
                  <a:pt x="71" y="154"/>
                  <a:pt x="65" y="160"/>
                  <a:pt x="57" y="160"/>
                </a:cubicBezTo>
                <a:cubicBezTo>
                  <a:pt x="42" y="160"/>
                  <a:pt x="42" y="160"/>
                  <a:pt x="42" y="160"/>
                </a:cubicBezTo>
                <a:cubicBezTo>
                  <a:pt x="34" y="160"/>
                  <a:pt x="27" y="166"/>
                  <a:pt x="27" y="174"/>
                </a:cubicBezTo>
                <a:cubicBezTo>
                  <a:pt x="27" y="303"/>
                  <a:pt x="27" y="303"/>
                  <a:pt x="27" y="303"/>
                </a:cubicBezTo>
                <a:cubicBezTo>
                  <a:pt x="27" y="311"/>
                  <a:pt x="34" y="318"/>
                  <a:pt x="42" y="318"/>
                </a:cubicBezTo>
                <a:cubicBezTo>
                  <a:pt x="103" y="318"/>
                  <a:pt x="103" y="318"/>
                  <a:pt x="103" y="318"/>
                </a:cubicBezTo>
                <a:cubicBezTo>
                  <a:pt x="111" y="318"/>
                  <a:pt x="117" y="311"/>
                  <a:pt x="117" y="303"/>
                </a:cubicBezTo>
                <a:cubicBezTo>
                  <a:pt x="117" y="194"/>
                  <a:pt x="117" y="194"/>
                  <a:pt x="117" y="194"/>
                </a:cubicBezTo>
                <a:cubicBezTo>
                  <a:pt x="117" y="192"/>
                  <a:pt x="117" y="190"/>
                  <a:pt x="118" y="189"/>
                </a:cubicBezTo>
                <a:cubicBezTo>
                  <a:pt x="118" y="189"/>
                  <a:pt x="118" y="189"/>
                  <a:pt x="118" y="188"/>
                </a:cubicBezTo>
                <a:cubicBezTo>
                  <a:pt x="117" y="185"/>
                  <a:pt x="118" y="181"/>
                  <a:pt x="120" y="178"/>
                </a:cubicBezTo>
                <a:cubicBezTo>
                  <a:pt x="187" y="97"/>
                  <a:pt x="187" y="97"/>
                  <a:pt x="187" y="97"/>
                </a:cubicBezTo>
                <a:cubicBezTo>
                  <a:pt x="187" y="96"/>
                  <a:pt x="187" y="96"/>
                  <a:pt x="187" y="96"/>
                </a:cubicBezTo>
                <a:cubicBezTo>
                  <a:pt x="193" y="89"/>
                  <a:pt x="193" y="89"/>
                  <a:pt x="193" y="89"/>
                </a:cubicBezTo>
                <a:cubicBezTo>
                  <a:pt x="196" y="86"/>
                  <a:pt x="199" y="85"/>
                  <a:pt x="203" y="85"/>
                </a:cubicBezTo>
                <a:cubicBezTo>
                  <a:pt x="203" y="85"/>
                  <a:pt x="203" y="85"/>
                  <a:pt x="203" y="85"/>
                </a:cubicBezTo>
                <a:cubicBezTo>
                  <a:pt x="207" y="85"/>
                  <a:pt x="211" y="86"/>
                  <a:pt x="213" y="89"/>
                </a:cubicBezTo>
                <a:cubicBezTo>
                  <a:pt x="219" y="96"/>
                  <a:pt x="219" y="96"/>
                  <a:pt x="219" y="96"/>
                </a:cubicBezTo>
                <a:cubicBezTo>
                  <a:pt x="219" y="96"/>
                  <a:pt x="219" y="96"/>
                  <a:pt x="220" y="97"/>
                </a:cubicBezTo>
                <a:cubicBezTo>
                  <a:pt x="286" y="178"/>
                  <a:pt x="286" y="178"/>
                  <a:pt x="286" y="178"/>
                </a:cubicBezTo>
                <a:cubicBezTo>
                  <a:pt x="288" y="181"/>
                  <a:pt x="289" y="185"/>
                  <a:pt x="289" y="188"/>
                </a:cubicBezTo>
                <a:cubicBezTo>
                  <a:pt x="289" y="189"/>
                  <a:pt x="289" y="189"/>
                  <a:pt x="289" y="189"/>
                </a:cubicBezTo>
                <a:cubicBezTo>
                  <a:pt x="289" y="190"/>
                  <a:pt x="289" y="192"/>
                  <a:pt x="289" y="194"/>
                </a:cubicBezTo>
                <a:cubicBezTo>
                  <a:pt x="289" y="303"/>
                  <a:pt x="289" y="303"/>
                  <a:pt x="289" y="303"/>
                </a:cubicBezTo>
                <a:cubicBezTo>
                  <a:pt x="289" y="311"/>
                  <a:pt x="296" y="318"/>
                  <a:pt x="304" y="318"/>
                </a:cubicBezTo>
                <a:cubicBezTo>
                  <a:pt x="367" y="318"/>
                  <a:pt x="367" y="318"/>
                  <a:pt x="367" y="318"/>
                </a:cubicBezTo>
                <a:cubicBezTo>
                  <a:pt x="374" y="318"/>
                  <a:pt x="380" y="324"/>
                  <a:pt x="380" y="331"/>
                </a:cubicBezTo>
                <a:cubicBezTo>
                  <a:pt x="380" y="339"/>
                  <a:pt x="374" y="345"/>
                  <a:pt x="367" y="34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1" name="Freeform 163"/>
          <p:cNvSpPr>
            <a:spLocks/>
          </p:cNvSpPr>
          <p:nvPr userDrawn="1"/>
        </p:nvSpPr>
        <p:spPr bwMode="auto">
          <a:xfrm>
            <a:off x="6103046" y="887316"/>
            <a:ext cx="356089" cy="358378"/>
          </a:xfrm>
          <a:custGeom>
            <a:avLst/>
            <a:gdLst/>
            <a:ahLst/>
            <a:cxnLst>
              <a:cxn ang="0">
                <a:pos x="72" y="307"/>
              </a:cxn>
              <a:cxn ang="0">
                <a:pos x="272" y="307"/>
              </a:cxn>
              <a:cxn ang="0">
                <a:pos x="271" y="371"/>
              </a:cxn>
              <a:cxn ang="0">
                <a:pos x="72" y="371"/>
              </a:cxn>
              <a:cxn ang="0">
                <a:pos x="72" y="424"/>
              </a:cxn>
              <a:cxn ang="0">
                <a:pos x="332" y="424"/>
              </a:cxn>
              <a:cxn ang="0">
                <a:pos x="332" y="227"/>
              </a:cxn>
              <a:cxn ang="0">
                <a:pos x="420" y="174"/>
              </a:cxn>
              <a:cxn ang="0">
                <a:pos x="420" y="123"/>
              </a:cxn>
              <a:cxn ang="0">
                <a:pos x="328" y="177"/>
              </a:cxn>
              <a:cxn ang="0">
                <a:pos x="327" y="109"/>
              </a:cxn>
              <a:cxn ang="0">
                <a:pos x="102" y="109"/>
              </a:cxn>
              <a:cxn ang="0">
                <a:pos x="251" y="0"/>
              </a:cxn>
              <a:cxn ang="0">
                <a:pos x="183" y="0"/>
              </a:cxn>
              <a:cxn ang="0">
                <a:pos x="60" y="89"/>
              </a:cxn>
              <a:cxn ang="0">
                <a:pos x="46" y="82"/>
              </a:cxn>
              <a:cxn ang="0">
                <a:pos x="0" y="90"/>
              </a:cxn>
              <a:cxn ang="0">
                <a:pos x="1" y="423"/>
              </a:cxn>
            </a:cxnLst>
            <a:rect l="0" t="0" r="r" b="b"/>
            <a:pathLst>
              <a:path w="420" h="424">
                <a:moveTo>
                  <a:pt x="72" y="307"/>
                </a:moveTo>
                <a:cubicBezTo>
                  <a:pt x="272" y="307"/>
                  <a:pt x="272" y="307"/>
                  <a:pt x="272" y="307"/>
                </a:cubicBezTo>
                <a:cubicBezTo>
                  <a:pt x="271" y="371"/>
                  <a:pt x="271" y="371"/>
                  <a:pt x="271" y="371"/>
                </a:cubicBezTo>
                <a:cubicBezTo>
                  <a:pt x="72" y="371"/>
                  <a:pt x="72" y="371"/>
                  <a:pt x="72" y="371"/>
                </a:cubicBezTo>
                <a:cubicBezTo>
                  <a:pt x="72" y="424"/>
                  <a:pt x="72" y="424"/>
                  <a:pt x="72" y="424"/>
                </a:cubicBezTo>
                <a:cubicBezTo>
                  <a:pt x="332" y="424"/>
                  <a:pt x="332" y="424"/>
                  <a:pt x="332" y="424"/>
                </a:cubicBezTo>
                <a:cubicBezTo>
                  <a:pt x="332" y="227"/>
                  <a:pt x="332" y="227"/>
                  <a:pt x="332" y="227"/>
                </a:cubicBezTo>
                <a:cubicBezTo>
                  <a:pt x="420" y="174"/>
                  <a:pt x="420" y="174"/>
                  <a:pt x="420" y="174"/>
                </a:cubicBezTo>
                <a:cubicBezTo>
                  <a:pt x="420" y="123"/>
                  <a:pt x="420" y="123"/>
                  <a:pt x="420" y="123"/>
                </a:cubicBezTo>
                <a:cubicBezTo>
                  <a:pt x="328" y="177"/>
                  <a:pt x="328" y="177"/>
                  <a:pt x="328" y="177"/>
                </a:cubicBezTo>
                <a:cubicBezTo>
                  <a:pt x="327" y="109"/>
                  <a:pt x="327" y="109"/>
                  <a:pt x="327" y="109"/>
                </a:cubicBezTo>
                <a:cubicBezTo>
                  <a:pt x="102" y="109"/>
                  <a:pt x="102" y="109"/>
                  <a:pt x="102" y="109"/>
                </a:cubicBezTo>
                <a:cubicBezTo>
                  <a:pt x="251" y="0"/>
                  <a:pt x="251" y="0"/>
                  <a:pt x="251" y="0"/>
                </a:cubicBezTo>
                <a:cubicBezTo>
                  <a:pt x="183" y="0"/>
                  <a:pt x="183" y="0"/>
                  <a:pt x="183" y="0"/>
                </a:cubicBezTo>
                <a:cubicBezTo>
                  <a:pt x="183" y="0"/>
                  <a:pt x="103" y="65"/>
                  <a:pt x="60" y="89"/>
                </a:cubicBezTo>
                <a:cubicBezTo>
                  <a:pt x="55" y="92"/>
                  <a:pt x="49" y="85"/>
                  <a:pt x="46" y="82"/>
                </a:cubicBezTo>
                <a:cubicBezTo>
                  <a:pt x="21" y="55"/>
                  <a:pt x="0" y="90"/>
                  <a:pt x="0" y="90"/>
                </a:cubicBezTo>
                <a:cubicBezTo>
                  <a:pt x="1" y="423"/>
                  <a:pt x="1" y="423"/>
                  <a:pt x="1" y="423"/>
                </a:cubicBezTo>
              </a:path>
            </a:pathLst>
          </a:custGeom>
          <a:noFill/>
          <a:ln w="30163" cap="rnd">
            <a:solidFill>
              <a:srgbClr val="FFFFFF"/>
            </a:solidFill>
            <a:prstDash val="solid"/>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2" name="Freeform 425"/>
          <p:cNvSpPr>
            <a:spLocks/>
          </p:cNvSpPr>
          <p:nvPr userDrawn="1"/>
        </p:nvSpPr>
        <p:spPr bwMode="auto">
          <a:xfrm>
            <a:off x="6129842" y="3366706"/>
            <a:ext cx="302498" cy="258366"/>
          </a:xfrm>
          <a:custGeom>
            <a:avLst/>
            <a:gdLst/>
            <a:ahLst/>
            <a:cxnLst>
              <a:cxn ang="0">
                <a:pos x="144" y="305"/>
              </a:cxn>
              <a:cxn ang="0">
                <a:pos x="23" y="305"/>
              </a:cxn>
              <a:cxn ang="0">
                <a:pos x="0" y="273"/>
              </a:cxn>
              <a:cxn ang="0">
                <a:pos x="0" y="102"/>
              </a:cxn>
              <a:cxn ang="0">
                <a:pos x="72" y="42"/>
              </a:cxn>
              <a:cxn ang="0">
                <a:pos x="100" y="42"/>
              </a:cxn>
              <a:cxn ang="0">
                <a:pos x="179" y="0"/>
              </a:cxn>
              <a:cxn ang="0">
                <a:pos x="265" y="42"/>
              </a:cxn>
              <a:cxn ang="0">
                <a:pos x="301" y="42"/>
              </a:cxn>
              <a:cxn ang="0">
                <a:pos x="358" y="102"/>
              </a:cxn>
              <a:cxn ang="0">
                <a:pos x="358" y="275"/>
              </a:cxn>
              <a:cxn ang="0">
                <a:pos x="331" y="305"/>
              </a:cxn>
              <a:cxn ang="0">
                <a:pos x="205" y="305"/>
              </a:cxn>
              <a:cxn ang="0">
                <a:pos x="170" y="269"/>
              </a:cxn>
              <a:cxn ang="0">
                <a:pos x="90" y="178"/>
              </a:cxn>
              <a:cxn ang="0">
                <a:pos x="175" y="88"/>
              </a:cxn>
              <a:cxn ang="0">
                <a:pos x="269" y="172"/>
              </a:cxn>
              <a:cxn ang="0">
                <a:pos x="218" y="257"/>
              </a:cxn>
            </a:cxnLst>
            <a:rect l="0" t="0" r="r" b="b"/>
            <a:pathLst>
              <a:path w="358" h="305">
                <a:moveTo>
                  <a:pt x="144" y="305"/>
                </a:moveTo>
                <a:cubicBezTo>
                  <a:pt x="144" y="305"/>
                  <a:pt x="45" y="305"/>
                  <a:pt x="23" y="305"/>
                </a:cubicBezTo>
                <a:cubicBezTo>
                  <a:pt x="1" y="305"/>
                  <a:pt x="0" y="304"/>
                  <a:pt x="0" y="273"/>
                </a:cubicBezTo>
                <a:cubicBezTo>
                  <a:pt x="0" y="242"/>
                  <a:pt x="0" y="114"/>
                  <a:pt x="0" y="102"/>
                </a:cubicBezTo>
                <a:cubicBezTo>
                  <a:pt x="0" y="60"/>
                  <a:pt x="24" y="42"/>
                  <a:pt x="72" y="42"/>
                </a:cubicBezTo>
                <a:cubicBezTo>
                  <a:pt x="80" y="42"/>
                  <a:pt x="89" y="42"/>
                  <a:pt x="100" y="42"/>
                </a:cubicBezTo>
                <a:cubicBezTo>
                  <a:pt x="153" y="42"/>
                  <a:pt x="112" y="0"/>
                  <a:pt x="179" y="0"/>
                </a:cubicBezTo>
                <a:cubicBezTo>
                  <a:pt x="251" y="0"/>
                  <a:pt x="208" y="42"/>
                  <a:pt x="265" y="42"/>
                </a:cubicBezTo>
                <a:cubicBezTo>
                  <a:pt x="274" y="42"/>
                  <a:pt x="279" y="42"/>
                  <a:pt x="301" y="42"/>
                </a:cubicBezTo>
                <a:cubicBezTo>
                  <a:pt x="338" y="42"/>
                  <a:pt x="358" y="70"/>
                  <a:pt x="358" y="102"/>
                </a:cubicBezTo>
                <a:cubicBezTo>
                  <a:pt x="358" y="117"/>
                  <a:pt x="358" y="245"/>
                  <a:pt x="358" y="275"/>
                </a:cubicBezTo>
                <a:cubicBezTo>
                  <a:pt x="358" y="304"/>
                  <a:pt x="358" y="305"/>
                  <a:pt x="331" y="305"/>
                </a:cubicBezTo>
                <a:cubicBezTo>
                  <a:pt x="305" y="305"/>
                  <a:pt x="205" y="305"/>
                  <a:pt x="205" y="305"/>
                </a:cubicBezTo>
                <a:cubicBezTo>
                  <a:pt x="205" y="305"/>
                  <a:pt x="184" y="283"/>
                  <a:pt x="170" y="269"/>
                </a:cubicBezTo>
                <a:cubicBezTo>
                  <a:pt x="127" y="260"/>
                  <a:pt x="90" y="230"/>
                  <a:pt x="90" y="178"/>
                </a:cubicBezTo>
                <a:cubicBezTo>
                  <a:pt x="90" y="121"/>
                  <a:pt x="133" y="88"/>
                  <a:pt x="175" y="88"/>
                </a:cubicBezTo>
                <a:cubicBezTo>
                  <a:pt x="227" y="88"/>
                  <a:pt x="269" y="126"/>
                  <a:pt x="269" y="172"/>
                </a:cubicBezTo>
                <a:cubicBezTo>
                  <a:pt x="269" y="239"/>
                  <a:pt x="218" y="257"/>
                  <a:pt x="218" y="257"/>
                </a:cubicBezTo>
              </a:path>
            </a:pathLst>
          </a:custGeom>
          <a:noFill/>
          <a:ln w="31750" cap="rnd">
            <a:solidFill>
              <a:srgbClr val="FFFFFF"/>
            </a:solidFill>
            <a:prstDash val="solid"/>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3" name="Freeform 473"/>
          <p:cNvSpPr>
            <a:spLocks/>
          </p:cNvSpPr>
          <p:nvPr userDrawn="1"/>
        </p:nvSpPr>
        <p:spPr bwMode="auto">
          <a:xfrm>
            <a:off x="6084586" y="1879565"/>
            <a:ext cx="393009" cy="203597"/>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4" name="Freeform 501"/>
          <p:cNvSpPr>
            <a:spLocks/>
          </p:cNvSpPr>
          <p:nvPr userDrawn="1"/>
        </p:nvSpPr>
        <p:spPr bwMode="auto">
          <a:xfrm>
            <a:off x="6088159" y="2301560"/>
            <a:ext cx="385863" cy="269081"/>
          </a:xfrm>
          <a:custGeom>
            <a:avLst/>
            <a:gdLst/>
            <a:ahLst/>
            <a:cxnLst>
              <a:cxn ang="0">
                <a:pos x="208" y="55"/>
              </a:cxn>
              <a:cxn ang="0">
                <a:pos x="208" y="292"/>
              </a:cxn>
              <a:cxn ang="0">
                <a:pos x="164" y="292"/>
              </a:cxn>
              <a:cxn ang="0">
                <a:pos x="164" y="179"/>
              </a:cxn>
              <a:cxn ang="0">
                <a:pos x="134" y="149"/>
              </a:cxn>
              <a:cxn ang="0">
                <a:pos x="82" y="144"/>
              </a:cxn>
              <a:cxn ang="0">
                <a:pos x="30" y="149"/>
              </a:cxn>
              <a:cxn ang="0">
                <a:pos x="0" y="179"/>
              </a:cxn>
              <a:cxn ang="0">
                <a:pos x="0" y="306"/>
              </a:cxn>
              <a:cxn ang="0">
                <a:pos x="14" y="319"/>
              </a:cxn>
              <a:cxn ang="0">
                <a:pos x="44" y="319"/>
              </a:cxn>
              <a:cxn ang="0">
                <a:pos x="54" y="314"/>
              </a:cxn>
              <a:cxn ang="0">
                <a:pos x="94" y="261"/>
              </a:cxn>
              <a:cxn ang="0">
                <a:pos x="94" y="306"/>
              </a:cxn>
              <a:cxn ang="0">
                <a:pos x="107" y="319"/>
              </a:cxn>
              <a:cxn ang="0">
                <a:pos x="120" y="306"/>
              </a:cxn>
              <a:cxn ang="0">
                <a:pos x="120" y="220"/>
              </a:cxn>
              <a:cxn ang="0">
                <a:pos x="111" y="207"/>
              </a:cxn>
              <a:cxn ang="0">
                <a:pos x="96" y="212"/>
              </a:cxn>
              <a:cxn ang="0">
                <a:pos x="37" y="292"/>
              </a:cxn>
              <a:cxn ang="0">
                <a:pos x="27" y="292"/>
              </a:cxn>
              <a:cxn ang="0">
                <a:pos x="27" y="179"/>
              </a:cxn>
              <a:cxn ang="0">
                <a:pos x="82" y="170"/>
              </a:cxn>
              <a:cxn ang="0">
                <a:pos x="137" y="179"/>
              </a:cxn>
              <a:cxn ang="0">
                <a:pos x="137" y="306"/>
              </a:cxn>
              <a:cxn ang="0">
                <a:pos x="150" y="319"/>
              </a:cxn>
              <a:cxn ang="0">
                <a:pos x="221" y="319"/>
              </a:cxn>
              <a:cxn ang="0">
                <a:pos x="234" y="306"/>
              </a:cxn>
              <a:cxn ang="0">
                <a:pos x="234" y="55"/>
              </a:cxn>
              <a:cxn ang="0">
                <a:pos x="333" y="26"/>
              </a:cxn>
              <a:cxn ang="0">
                <a:pos x="432" y="55"/>
              </a:cxn>
              <a:cxn ang="0">
                <a:pos x="432" y="292"/>
              </a:cxn>
              <a:cxn ang="0">
                <a:pos x="294" y="292"/>
              </a:cxn>
              <a:cxn ang="0">
                <a:pos x="383" y="148"/>
              </a:cxn>
              <a:cxn ang="0">
                <a:pos x="383" y="262"/>
              </a:cxn>
              <a:cxn ang="0">
                <a:pos x="397" y="275"/>
              </a:cxn>
              <a:cxn ang="0">
                <a:pos x="410" y="262"/>
              </a:cxn>
              <a:cxn ang="0">
                <a:pos x="410" y="101"/>
              </a:cxn>
              <a:cxn ang="0">
                <a:pos x="400" y="88"/>
              </a:cxn>
              <a:cxn ang="0">
                <a:pos x="385" y="94"/>
              </a:cxn>
              <a:cxn ang="0">
                <a:pos x="259" y="299"/>
              </a:cxn>
              <a:cxn ang="0">
                <a:pos x="258" y="312"/>
              </a:cxn>
              <a:cxn ang="0">
                <a:pos x="270" y="319"/>
              </a:cxn>
              <a:cxn ang="0">
                <a:pos x="445" y="319"/>
              </a:cxn>
              <a:cxn ang="0">
                <a:pos x="458" y="306"/>
              </a:cxn>
              <a:cxn ang="0">
                <a:pos x="458" y="55"/>
              </a:cxn>
              <a:cxn ang="0">
                <a:pos x="333" y="0"/>
              </a:cxn>
              <a:cxn ang="0">
                <a:pos x="208" y="55"/>
              </a:cxn>
            </a:cxnLst>
            <a:rect l="0" t="0" r="r" b="b"/>
            <a:pathLst>
              <a:path w="458" h="319">
                <a:moveTo>
                  <a:pt x="208" y="55"/>
                </a:moveTo>
                <a:cubicBezTo>
                  <a:pt x="208" y="55"/>
                  <a:pt x="208" y="269"/>
                  <a:pt x="208" y="292"/>
                </a:cubicBezTo>
                <a:cubicBezTo>
                  <a:pt x="194" y="292"/>
                  <a:pt x="177" y="292"/>
                  <a:pt x="164" y="292"/>
                </a:cubicBezTo>
                <a:cubicBezTo>
                  <a:pt x="164" y="271"/>
                  <a:pt x="164" y="179"/>
                  <a:pt x="164" y="179"/>
                </a:cubicBezTo>
                <a:cubicBezTo>
                  <a:pt x="164" y="169"/>
                  <a:pt x="159" y="156"/>
                  <a:pt x="134" y="149"/>
                </a:cubicBezTo>
                <a:cubicBezTo>
                  <a:pt x="118" y="145"/>
                  <a:pt x="97" y="144"/>
                  <a:pt x="82" y="144"/>
                </a:cubicBezTo>
                <a:cubicBezTo>
                  <a:pt x="67" y="144"/>
                  <a:pt x="46" y="145"/>
                  <a:pt x="30" y="149"/>
                </a:cubicBezTo>
                <a:cubicBezTo>
                  <a:pt x="5" y="156"/>
                  <a:pt x="0" y="169"/>
                  <a:pt x="0" y="179"/>
                </a:cubicBezTo>
                <a:cubicBezTo>
                  <a:pt x="0" y="306"/>
                  <a:pt x="0" y="306"/>
                  <a:pt x="0" y="306"/>
                </a:cubicBezTo>
                <a:cubicBezTo>
                  <a:pt x="0" y="313"/>
                  <a:pt x="6" y="319"/>
                  <a:pt x="14" y="319"/>
                </a:cubicBezTo>
                <a:cubicBezTo>
                  <a:pt x="44" y="319"/>
                  <a:pt x="44" y="319"/>
                  <a:pt x="44" y="319"/>
                </a:cubicBezTo>
                <a:cubicBezTo>
                  <a:pt x="48" y="319"/>
                  <a:pt x="52" y="317"/>
                  <a:pt x="54" y="314"/>
                </a:cubicBezTo>
                <a:cubicBezTo>
                  <a:pt x="54" y="314"/>
                  <a:pt x="75" y="286"/>
                  <a:pt x="94" y="261"/>
                </a:cubicBezTo>
                <a:cubicBezTo>
                  <a:pt x="94" y="283"/>
                  <a:pt x="94" y="306"/>
                  <a:pt x="94" y="306"/>
                </a:cubicBezTo>
                <a:cubicBezTo>
                  <a:pt x="94" y="313"/>
                  <a:pt x="100" y="319"/>
                  <a:pt x="107" y="319"/>
                </a:cubicBezTo>
                <a:cubicBezTo>
                  <a:pt x="114" y="319"/>
                  <a:pt x="120" y="313"/>
                  <a:pt x="120" y="306"/>
                </a:cubicBezTo>
                <a:cubicBezTo>
                  <a:pt x="120" y="220"/>
                  <a:pt x="120" y="220"/>
                  <a:pt x="120" y="220"/>
                </a:cubicBezTo>
                <a:cubicBezTo>
                  <a:pt x="120" y="214"/>
                  <a:pt x="117" y="209"/>
                  <a:pt x="111" y="207"/>
                </a:cubicBezTo>
                <a:cubicBezTo>
                  <a:pt x="106" y="206"/>
                  <a:pt x="100" y="207"/>
                  <a:pt x="96" y="212"/>
                </a:cubicBezTo>
                <a:cubicBezTo>
                  <a:pt x="96" y="212"/>
                  <a:pt x="44" y="283"/>
                  <a:pt x="37" y="292"/>
                </a:cubicBezTo>
                <a:cubicBezTo>
                  <a:pt x="33" y="292"/>
                  <a:pt x="32" y="292"/>
                  <a:pt x="27" y="292"/>
                </a:cubicBezTo>
                <a:cubicBezTo>
                  <a:pt x="27" y="271"/>
                  <a:pt x="27" y="181"/>
                  <a:pt x="27" y="179"/>
                </a:cubicBezTo>
                <a:cubicBezTo>
                  <a:pt x="30" y="177"/>
                  <a:pt x="44" y="170"/>
                  <a:pt x="82" y="170"/>
                </a:cubicBezTo>
                <a:cubicBezTo>
                  <a:pt x="120" y="170"/>
                  <a:pt x="134" y="177"/>
                  <a:pt x="137" y="179"/>
                </a:cubicBezTo>
                <a:cubicBezTo>
                  <a:pt x="137" y="181"/>
                  <a:pt x="137" y="306"/>
                  <a:pt x="137" y="306"/>
                </a:cubicBezTo>
                <a:cubicBezTo>
                  <a:pt x="137" y="313"/>
                  <a:pt x="143" y="319"/>
                  <a:pt x="150" y="319"/>
                </a:cubicBezTo>
                <a:cubicBezTo>
                  <a:pt x="221" y="319"/>
                  <a:pt x="221" y="319"/>
                  <a:pt x="221" y="319"/>
                </a:cubicBezTo>
                <a:cubicBezTo>
                  <a:pt x="228" y="319"/>
                  <a:pt x="234" y="313"/>
                  <a:pt x="234" y="306"/>
                </a:cubicBezTo>
                <a:cubicBezTo>
                  <a:pt x="234" y="55"/>
                  <a:pt x="234" y="55"/>
                  <a:pt x="234" y="55"/>
                </a:cubicBezTo>
                <a:cubicBezTo>
                  <a:pt x="234" y="45"/>
                  <a:pt x="268" y="26"/>
                  <a:pt x="333" y="26"/>
                </a:cubicBezTo>
                <a:cubicBezTo>
                  <a:pt x="398" y="26"/>
                  <a:pt x="432" y="45"/>
                  <a:pt x="432" y="55"/>
                </a:cubicBezTo>
                <a:cubicBezTo>
                  <a:pt x="432" y="55"/>
                  <a:pt x="432" y="269"/>
                  <a:pt x="432" y="292"/>
                </a:cubicBezTo>
                <a:cubicBezTo>
                  <a:pt x="412" y="292"/>
                  <a:pt x="327" y="292"/>
                  <a:pt x="294" y="292"/>
                </a:cubicBezTo>
                <a:cubicBezTo>
                  <a:pt x="310" y="267"/>
                  <a:pt x="355" y="193"/>
                  <a:pt x="383" y="148"/>
                </a:cubicBezTo>
                <a:cubicBezTo>
                  <a:pt x="383" y="195"/>
                  <a:pt x="383" y="262"/>
                  <a:pt x="383" y="262"/>
                </a:cubicBezTo>
                <a:cubicBezTo>
                  <a:pt x="383" y="269"/>
                  <a:pt x="389" y="275"/>
                  <a:pt x="397" y="275"/>
                </a:cubicBezTo>
                <a:cubicBezTo>
                  <a:pt x="404" y="275"/>
                  <a:pt x="410" y="269"/>
                  <a:pt x="410" y="262"/>
                </a:cubicBezTo>
                <a:cubicBezTo>
                  <a:pt x="410" y="101"/>
                  <a:pt x="410" y="101"/>
                  <a:pt x="410" y="101"/>
                </a:cubicBezTo>
                <a:cubicBezTo>
                  <a:pt x="410" y="95"/>
                  <a:pt x="406" y="90"/>
                  <a:pt x="400" y="88"/>
                </a:cubicBezTo>
                <a:cubicBezTo>
                  <a:pt x="395" y="87"/>
                  <a:pt x="388" y="89"/>
                  <a:pt x="385" y="94"/>
                </a:cubicBezTo>
                <a:cubicBezTo>
                  <a:pt x="259" y="299"/>
                  <a:pt x="259" y="299"/>
                  <a:pt x="259" y="299"/>
                </a:cubicBezTo>
                <a:cubicBezTo>
                  <a:pt x="256" y="303"/>
                  <a:pt x="256" y="308"/>
                  <a:pt x="258" y="312"/>
                </a:cubicBezTo>
                <a:cubicBezTo>
                  <a:pt x="261" y="316"/>
                  <a:pt x="265" y="319"/>
                  <a:pt x="270" y="319"/>
                </a:cubicBezTo>
                <a:cubicBezTo>
                  <a:pt x="445" y="319"/>
                  <a:pt x="445" y="319"/>
                  <a:pt x="445" y="319"/>
                </a:cubicBezTo>
                <a:cubicBezTo>
                  <a:pt x="452" y="319"/>
                  <a:pt x="458" y="313"/>
                  <a:pt x="458" y="306"/>
                </a:cubicBezTo>
                <a:cubicBezTo>
                  <a:pt x="458" y="55"/>
                  <a:pt x="458" y="55"/>
                  <a:pt x="458" y="55"/>
                </a:cubicBezTo>
                <a:cubicBezTo>
                  <a:pt x="458" y="17"/>
                  <a:pt x="395" y="0"/>
                  <a:pt x="333" y="0"/>
                </a:cubicBezTo>
                <a:cubicBezTo>
                  <a:pt x="271" y="0"/>
                  <a:pt x="208" y="17"/>
                  <a:pt x="208" y="5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5" name="Freeform 521"/>
          <p:cNvSpPr>
            <a:spLocks/>
          </p:cNvSpPr>
          <p:nvPr userDrawn="1"/>
        </p:nvSpPr>
        <p:spPr bwMode="auto">
          <a:xfrm>
            <a:off x="6145919" y="1376292"/>
            <a:ext cx="270343" cy="253603"/>
          </a:xfrm>
          <a:custGeom>
            <a:avLst/>
            <a:gdLst/>
            <a:ahLst/>
            <a:cxnLst>
              <a:cxn ang="0">
                <a:pos x="176" y="0"/>
              </a:cxn>
              <a:cxn ang="0">
                <a:pos x="143" y="5"/>
              </a:cxn>
              <a:cxn ang="0">
                <a:pos x="133" y="21"/>
              </a:cxn>
              <a:cxn ang="0">
                <a:pos x="149" y="31"/>
              </a:cxn>
              <a:cxn ang="0">
                <a:pos x="176" y="27"/>
              </a:cxn>
              <a:cxn ang="0">
                <a:pos x="291" y="154"/>
              </a:cxn>
              <a:cxn ang="0">
                <a:pos x="176" y="274"/>
              </a:cxn>
              <a:cxn ang="0">
                <a:pos x="62" y="154"/>
              </a:cxn>
              <a:cxn ang="0">
                <a:pos x="76" y="92"/>
              </a:cxn>
              <a:cxn ang="0">
                <a:pos x="88" y="123"/>
              </a:cxn>
              <a:cxn ang="0">
                <a:pos x="88" y="123"/>
              </a:cxn>
              <a:cxn ang="0">
                <a:pos x="105" y="131"/>
              </a:cxn>
              <a:cxn ang="0">
                <a:pos x="113" y="114"/>
              </a:cxn>
              <a:cxn ang="0">
                <a:pos x="93" y="60"/>
              </a:cxn>
              <a:cxn ang="0">
                <a:pos x="91" y="55"/>
              </a:cxn>
              <a:cxn ang="0">
                <a:pos x="75" y="48"/>
              </a:cxn>
              <a:cxn ang="0">
                <a:pos x="11" y="67"/>
              </a:cxn>
              <a:cxn ang="0">
                <a:pos x="2" y="83"/>
              </a:cxn>
              <a:cxn ang="0">
                <a:pos x="18" y="92"/>
              </a:cxn>
              <a:cxn ang="0">
                <a:pos x="51" y="83"/>
              </a:cxn>
              <a:cxn ang="0">
                <a:pos x="35" y="154"/>
              </a:cxn>
              <a:cxn ang="0">
                <a:pos x="76" y="259"/>
              </a:cxn>
              <a:cxn ang="0">
                <a:pos x="176" y="300"/>
              </a:cxn>
              <a:cxn ang="0">
                <a:pos x="276" y="259"/>
              </a:cxn>
              <a:cxn ang="0">
                <a:pos x="318" y="154"/>
              </a:cxn>
              <a:cxn ang="0">
                <a:pos x="176" y="0"/>
              </a:cxn>
            </a:cxnLst>
            <a:rect l="0" t="0" r="r" b="b"/>
            <a:pathLst>
              <a:path w="318" h="300">
                <a:moveTo>
                  <a:pt x="176" y="0"/>
                </a:moveTo>
                <a:cubicBezTo>
                  <a:pt x="165" y="0"/>
                  <a:pt x="154" y="2"/>
                  <a:pt x="143" y="5"/>
                </a:cubicBezTo>
                <a:cubicBezTo>
                  <a:pt x="135" y="7"/>
                  <a:pt x="131" y="14"/>
                  <a:pt x="133" y="21"/>
                </a:cubicBezTo>
                <a:cubicBezTo>
                  <a:pt x="135" y="28"/>
                  <a:pt x="142" y="32"/>
                  <a:pt x="149" y="31"/>
                </a:cubicBezTo>
                <a:cubicBezTo>
                  <a:pt x="158" y="28"/>
                  <a:pt x="167" y="27"/>
                  <a:pt x="176" y="27"/>
                </a:cubicBezTo>
                <a:cubicBezTo>
                  <a:pt x="240" y="27"/>
                  <a:pt x="291" y="84"/>
                  <a:pt x="291" y="154"/>
                </a:cubicBezTo>
                <a:cubicBezTo>
                  <a:pt x="291" y="222"/>
                  <a:pt x="242" y="274"/>
                  <a:pt x="176" y="274"/>
                </a:cubicBezTo>
                <a:cubicBezTo>
                  <a:pt x="111" y="274"/>
                  <a:pt x="62" y="222"/>
                  <a:pt x="62" y="154"/>
                </a:cubicBezTo>
                <a:cubicBezTo>
                  <a:pt x="62" y="132"/>
                  <a:pt x="67" y="111"/>
                  <a:pt x="76" y="92"/>
                </a:cubicBezTo>
                <a:cubicBezTo>
                  <a:pt x="88" y="123"/>
                  <a:pt x="88" y="123"/>
                  <a:pt x="88" y="123"/>
                </a:cubicBezTo>
                <a:cubicBezTo>
                  <a:pt x="88" y="123"/>
                  <a:pt x="88" y="123"/>
                  <a:pt x="88" y="123"/>
                </a:cubicBezTo>
                <a:cubicBezTo>
                  <a:pt x="91" y="130"/>
                  <a:pt x="98" y="134"/>
                  <a:pt x="105" y="131"/>
                </a:cubicBezTo>
                <a:cubicBezTo>
                  <a:pt x="112" y="128"/>
                  <a:pt x="115" y="121"/>
                  <a:pt x="113" y="114"/>
                </a:cubicBezTo>
                <a:cubicBezTo>
                  <a:pt x="93" y="60"/>
                  <a:pt x="93" y="60"/>
                  <a:pt x="93" y="60"/>
                </a:cubicBezTo>
                <a:cubicBezTo>
                  <a:pt x="92" y="58"/>
                  <a:pt x="92" y="56"/>
                  <a:pt x="91" y="55"/>
                </a:cubicBezTo>
                <a:cubicBezTo>
                  <a:pt x="88" y="49"/>
                  <a:pt x="81" y="46"/>
                  <a:pt x="75" y="48"/>
                </a:cubicBezTo>
                <a:cubicBezTo>
                  <a:pt x="11" y="67"/>
                  <a:pt x="11" y="67"/>
                  <a:pt x="11" y="67"/>
                </a:cubicBezTo>
                <a:cubicBezTo>
                  <a:pt x="4" y="69"/>
                  <a:pt x="0" y="76"/>
                  <a:pt x="2" y="83"/>
                </a:cubicBezTo>
                <a:cubicBezTo>
                  <a:pt x="4" y="90"/>
                  <a:pt x="11" y="94"/>
                  <a:pt x="18" y="92"/>
                </a:cubicBezTo>
                <a:cubicBezTo>
                  <a:pt x="51" y="83"/>
                  <a:pt x="51" y="83"/>
                  <a:pt x="51" y="83"/>
                </a:cubicBezTo>
                <a:cubicBezTo>
                  <a:pt x="41" y="104"/>
                  <a:pt x="35" y="129"/>
                  <a:pt x="35" y="154"/>
                </a:cubicBezTo>
                <a:cubicBezTo>
                  <a:pt x="35" y="194"/>
                  <a:pt x="50" y="231"/>
                  <a:pt x="76" y="259"/>
                </a:cubicBezTo>
                <a:cubicBezTo>
                  <a:pt x="103" y="286"/>
                  <a:pt x="138" y="300"/>
                  <a:pt x="176" y="300"/>
                </a:cubicBezTo>
                <a:cubicBezTo>
                  <a:pt x="215" y="300"/>
                  <a:pt x="250" y="286"/>
                  <a:pt x="276" y="259"/>
                </a:cubicBezTo>
                <a:cubicBezTo>
                  <a:pt x="303" y="231"/>
                  <a:pt x="318" y="194"/>
                  <a:pt x="318" y="154"/>
                </a:cubicBezTo>
                <a:cubicBezTo>
                  <a:pt x="318" y="69"/>
                  <a:pt x="254" y="0"/>
                  <a:pt x="176" y="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6" name="Freeform 560"/>
          <p:cNvSpPr>
            <a:spLocks/>
          </p:cNvSpPr>
          <p:nvPr userDrawn="1"/>
        </p:nvSpPr>
        <p:spPr bwMode="auto">
          <a:xfrm>
            <a:off x="6186411" y="3798841"/>
            <a:ext cx="189359" cy="386954"/>
          </a:xfrm>
          <a:custGeom>
            <a:avLst/>
            <a:gdLst/>
            <a:ahLst/>
            <a:cxnLst>
              <a:cxn ang="0">
                <a:pos x="98" y="14"/>
              </a:cxn>
              <a:cxn ang="0">
                <a:pos x="98" y="14"/>
              </a:cxn>
              <a:cxn ang="0">
                <a:pos x="111" y="27"/>
              </a:cxn>
              <a:cxn ang="0">
                <a:pos x="168" y="36"/>
              </a:cxn>
              <a:cxn ang="0">
                <a:pos x="111" y="41"/>
              </a:cxn>
              <a:cxn ang="0">
                <a:pos x="44" y="32"/>
              </a:cxn>
              <a:cxn ang="0">
                <a:pos x="39" y="28"/>
              </a:cxn>
              <a:cxn ang="0">
                <a:pos x="25" y="28"/>
              </a:cxn>
              <a:cxn ang="0">
                <a:pos x="18" y="40"/>
              </a:cxn>
              <a:cxn ang="0">
                <a:pos x="14" y="62"/>
              </a:cxn>
              <a:cxn ang="0">
                <a:pos x="12" y="66"/>
              </a:cxn>
              <a:cxn ang="0">
                <a:pos x="0" y="111"/>
              </a:cxn>
              <a:cxn ang="0">
                <a:pos x="0" y="372"/>
              </a:cxn>
              <a:cxn ang="0">
                <a:pos x="0" y="372"/>
              </a:cxn>
              <a:cxn ang="0">
                <a:pos x="0" y="372"/>
              </a:cxn>
              <a:cxn ang="0">
                <a:pos x="22" y="424"/>
              </a:cxn>
              <a:cxn ang="0">
                <a:pos x="110" y="454"/>
              </a:cxn>
              <a:cxn ang="0">
                <a:pos x="200" y="429"/>
              </a:cxn>
              <a:cxn ang="0">
                <a:pos x="223" y="375"/>
              </a:cxn>
              <a:cxn ang="0">
                <a:pos x="223" y="113"/>
              </a:cxn>
              <a:cxn ang="0">
                <a:pos x="209" y="100"/>
              </a:cxn>
              <a:cxn ang="0">
                <a:pos x="196" y="113"/>
              </a:cxn>
              <a:cxn ang="0">
                <a:pos x="196" y="375"/>
              </a:cxn>
              <a:cxn ang="0">
                <a:pos x="182" y="409"/>
              </a:cxn>
              <a:cxn ang="0">
                <a:pos x="112" y="428"/>
              </a:cxn>
              <a:cxn ang="0">
                <a:pos x="110" y="428"/>
              </a:cxn>
              <a:cxn ang="0">
                <a:pos x="42" y="406"/>
              </a:cxn>
              <a:cxn ang="0">
                <a:pos x="27" y="372"/>
              </a:cxn>
              <a:cxn ang="0">
                <a:pos x="27" y="111"/>
              </a:cxn>
              <a:cxn ang="0">
                <a:pos x="35" y="79"/>
              </a:cxn>
              <a:cxn ang="0">
                <a:pos x="37" y="75"/>
              </a:cxn>
              <a:cxn ang="0">
                <a:pos x="43" y="60"/>
              </a:cxn>
              <a:cxn ang="0">
                <a:pos x="111" y="67"/>
              </a:cxn>
              <a:cxn ang="0">
                <a:pos x="171" y="62"/>
              </a:cxn>
              <a:cxn ang="0">
                <a:pos x="205" y="37"/>
              </a:cxn>
              <a:cxn ang="0">
                <a:pos x="111" y="0"/>
              </a:cxn>
              <a:cxn ang="0">
                <a:pos x="98" y="14"/>
              </a:cxn>
            </a:cxnLst>
            <a:rect l="0" t="0" r="r" b="b"/>
            <a:pathLst>
              <a:path w="223" h="458">
                <a:moveTo>
                  <a:pt x="98" y="14"/>
                </a:moveTo>
                <a:cubicBezTo>
                  <a:pt x="98" y="14"/>
                  <a:pt x="98" y="14"/>
                  <a:pt x="98" y="14"/>
                </a:cubicBezTo>
                <a:cubicBezTo>
                  <a:pt x="98" y="21"/>
                  <a:pt x="104" y="27"/>
                  <a:pt x="111" y="27"/>
                </a:cubicBezTo>
                <a:cubicBezTo>
                  <a:pt x="136" y="27"/>
                  <a:pt x="156" y="31"/>
                  <a:pt x="168" y="36"/>
                </a:cubicBezTo>
                <a:cubicBezTo>
                  <a:pt x="156" y="38"/>
                  <a:pt x="137" y="41"/>
                  <a:pt x="111" y="41"/>
                </a:cubicBezTo>
                <a:cubicBezTo>
                  <a:pt x="73" y="41"/>
                  <a:pt x="50" y="35"/>
                  <a:pt x="44" y="32"/>
                </a:cubicBezTo>
                <a:cubicBezTo>
                  <a:pt x="44" y="31"/>
                  <a:pt x="39" y="28"/>
                  <a:pt x="39" y="28"/>
                </a:cubicBezTo>
                <a:cubicBezTo>
                  <a:pt x="35" y="25"/>
                  <a:pt x="30" y="25"/>
                  <a:pt x="25" y="28"/>
                </a:cubicBezTo>
                <a:cubicBezTo>
                  <a:pt x="21" y="30"/>
                  <a:pt x="18" y="35"/>
                  <a:pt x="18" y="40"/>
                </a:cubicBezTo>
                <a:cubicBezTo>
                  <a:pt x="18" y="40"/>
                  <a:pt x="19" y="52"/>
                  <a:pt x="14" y="62"/>
                </a:cubicBezTo>
                <a:cubicBezTo>
                  <a:pt x="12" y="66"/>
                  <a:pt x="12" y="66"/>
                  <a:pt x="12" y="66"/>
                </a:cubicBezTo>
                <a:cubicBezTo>
                  <a:pt x="4" y="79"/>
                  <a:pt x="0" y="88"/>
                  <a:pt x="0" y="111"/>
                </a:cubicBezTo>
                <a:cubicBezTo>
                  <a:pt x="0" y="372"/>
                  <a:pt x="0" y="372"/>
                  <a:pt x="0" y="372"/>
                </a:cubicBezTo>
                <a:cubicBezTo>
                  <a:pt x="0" y="372"/>
                  <a:pt x="0" y="372"/>
                  <a:pt x="0" y="372"/>
                </a:cubicBezTo>
                <a:cubicBezTo>
                  <a:pt x="0" y="372"/>
                  <a:pt x="0" y="372"/>
                  <a:pt x="0" y="372"/>
                </a:cubicBezTo>
                <a:cubicBezTo>
                  <a:pt x="0" y="376"/>
                  <a:pt x="1" y="402"/>
                  <a:pt x="22" y="424"/>
                </a:cubicBezTo>
                <a:cubicBezTo>
                  <a:pt x="42" y="444"/>
                  <a:pt x="71" y="454"/>
                  <a:pt x="110" y="454"/>
                </a:cubicBezTo>
                <a:cubicBezTo>
                  <a:pt x="114" y="454"/>
                  <a:pt x="168" y="458"/>
                  <a:pt x="200" y="429"/>
                </a:cubicBezTo>
                <a:cubicBezTo>
                  <a:pt x="215" y="415"/>
                  <a:pt x="223" y="397"/>
                  <a:pt x="223" y="375"/>
                </a:cubicBezTo>
                <a:cubicBezTo>
                  <a:pt x="223" y="113"/>
                  <a:pt x="223" y="113"/>
                  <a:pt x="223" y="113"/>
                </a:cubicBezTo>
                <a:cubicBezTo>
                  <a:pt x="223" y="106"/>
                  <a:pt x="217" y="100"/>
                  <a:pt x="209" y="100"/>
                </a:cubicBezTo>
                <a:cubicBezTo>
                  <a:pt x="202" y="100"/>
                  <a:pt x="196" y="106"/>
                  <a:pt x="196" y="113"/>
                </a:cubicBezTo>
                <a:cubicBezTo>
                  <a:pt x="196" y="375"/>
                  <a:pt x="196" y="375"/>
                  <a:pt x="196" y="375"/>
                </a:cubicBezTo>
                <a:cubicBezTo>
                  <a:pt x="196" y="389"/>
                  <a:pt x="192" y="401"/>
                  <a:pt x="182" y="409"/>
                </a:cubicBezTo>
                <a:cubicBezTo>
                  <a:pt x="158" y="431"/>
                  <a:pt x="112" y="428"/>
                  <a:pt x="112" y="428"/>
                </a:cubicBezTo>
                <a:cubicBezTo>
                  <a:pt x="111" y="428"/>
                  <a:pt x="111" y="428"/>
                  <a:pt x="110" y="428"/>
                </a:cubicBezTo>
                <a:cubicBezTo>
                  <a:pt x="79" y="428"/>
                  <a:pt x="56" y="420"/>
                  <a:pt x="42" y="406"/>
                </a:cubicBezTo>
                <a:cubicBezTo>
                  <a:pt x="27" y="391"/>
                  <a:pt x="27" y="373"/>
                  <a:pt x="27" y="372"/>
                </a:cubicBezTo>
                <a:cubicBezTo>
                  <a:pt x="27" y="372"/>
                  <a:pt x="27" y="111"/>
                  <a:pt x="27" y="111"/>
                </a:cubicBezTo>
                <a:cubicBezTo>
                  <a:pt x="27" y="94"/>
                  <a:pt x="29" y="89"/>
                  <a:pt x="35" y="79"/>
                </a:cubicBezTo>
                <a:cubicBezTo>
                  <a:pt x="37" y="75"/>
                  <a:pt x="37" y="75"/>
                  <a:pt x="37" y="75"/>
                </a:cubicBezTo>
                <a:cubicBezTo>
                  <a:pt x="40" y="70"/>
                  <a:pt x="42" y="65"/>
                  <a:pt x="43" y="60"/>
                </a:cubicBezTo>
                <a:cubicBezTo>
                  <a:pt x="59" y="65"/>
                  <a:pt x="83" y="67"/>
                  <a:pt x="111" y="67"/>
                </a:cubicBezTo>
                <a:cubicBezTo>
                  <a:pt x="134" y="67"/>
                  <a:pt x="155" y="66"/>
                  <a:pt x="171" y="62"/>
                </a:cubicBezTo>
                <a:cubicBezTo>
                  <a:pt x="180" y="60"/>
                  <a:pt x="205" y="55"/>
                  <a:pt x="205" y="37"/>
                </a:cubicBezTo>
                <a:cubicBezTo>
                  <a:pt x="205" y="12"/>
                  <a:pt x="150" y="0"/>
                  <a:pt x="111" y="0"/>
                </a:cubicBezTo>
                <a:cubicBezTo>
                  <a:pt x="104" y="0"/>
                  <a:pt x="98" y="6"/>
                  <a:pt x="98" y="1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7" name="Freeform 580"/>
          <p:cNvSpPr>
            <a:spLocks/>
          </p:cNvSpPr>
          <p:nvPr userDrawn="1"/>
        </p:nvSpPr>
        <p:spPr bwMode="auto">
          <a:xfrm>
            <a:off x="6094709" y="2766757"/>
            <a:ext cx="372763" cy="371475"/>
          </a:xfrm>
          <a:custGeom>
            <a:avLst/>
            <a:gdLst/>
            <a:ahLst/>
            <a:cxnLst>
              <a:cxn ang="0">
                <a:pos x="415" y="114"/>
              </a:cxn>
              <a:cxn ang="0">
                <a:pos x="387" y="114"/>
              </a:cxn>
              <a:cxn ang="0">
                <a:pos x="415" y="60"/>
              </a:cxn>
              <a:cxn ang="0">
                <a:pos x="295" y="60"/>
              </a:cxn>
              <a:cxn ang="0">
                <a:pos x="334" y="104"/>
              </a:cxn>
              <a:cxn ang="0">
                <a:pos x="320" y="60"/>
              </a:cxn>
              <a:cxn ang="0">
                <a:pos x="389" y="60"/>
              </a:cxn>
              <a:cxn ang="0">
                <a:pos x="365" y="93"/>
              </a:cxn>
              <a:cxn ang="0">
                <a:pos x="363" y="94"/>
              </a:cxn>
              <a:cxn ang="0">
                <a:pos x="361" y="95"/>
              </a:cxn>
              <a:cxn ang="0">
                <a:pos x="360" y="97"/>
              </a:cxn>
              <a:cxn ang="0">
                <a:pos x="359" y="99"/>
              </a:cxn>
              <a:cxn ang="0">
                <a:pos x="358" y="102"/>
              </a:cxn>
              <a:cxn ang="0">
                <a:pos x="358" y="104"/>
              </a:cxn>
              <a:cxn ang="0">
                <a:pos x="358" y="107"/>
              </a:cxn>
              <a:cxn ang="0">
                <a:pos x="365" y="130"/>
              </a:cxn>
              <a:cxn ang="0">
                <a:pos x="409" y="139"/>
              </a:cxn>
              <a:cxn ang="0">
                <a:pos x="415" y="143"/>
              </a:cxn>
              <a:cxn ang="0">
                <a:pos x="382" y="413"/>
              </a:cxn>
              <a:cxn ang="0">
                <a:pos x="399" y="203"/>
              </a:cxn>
              <a:cxn ang="0">
                <a:pos x="353" y="132"/>
              </a:cxn>
              <a:cxn ang="0">
                <a:pos x="351" y="131"/>
              </a:cxn>
              <a:cxn ang="0">
                <a:pos x="349" y="129"/>
              </a:cxn>
              <a:cxn ang="0">
                <a:pos x="347" y="128"/>
              </a:cxn>
              <a:cxn ang="0">
                <a:pos x="345" y="127"/>
              </a:cxn>
              <a:cxn ang="0">
                <a:pos x="342" y="127"/>
              </a:cxn>
              <a:cxn ang="0">
                <a:pos x="316" y="131"/>
              </a:cxn>
              <a:cxn ang="0">
                <a:pos x="191" y="154"/>
              </a:cxn>
              <a:cxn ang="0">
                <a:pos x="202" y="413"/>
              </a:cxn>
              <a:cxn ang="0">
                <a:pos x="0" y="426"/>
              </a:cxn>
              <a:cxn ang="0">
                <a:pos x="216" y="439"/>
              </a:cxn>
              <a:cxn ang="0">
                <a:pos x="228" y="425"/>
              </a:cxn>
              <a:cxn ang="0">
                <a:pos x="337" y="153"/>
              </a:cxn>
              <a:cxn ang="0">
                <a:pos x="347" y="425"/>
              </a:cxn>
              <a:cxn ang="0">
                <a:pos x="360" y="439"/>
              </a:cxn>
              <a:cxn ang="0">
                <a:pos x="394" y="439"/>
              </a:cxn>
              <a:cxn ang="0">
                <a:pos x="396" y="438"/>
              </a:cxn>
              <a:cxn ang="0">
                <a:pos x="398" y="438"/>
              </a:cxn>
              <a:cxn ang="0">
                <a:pos x="400" y="437"/>
              </a:cxn>
              <a:cxn ang="0">
                <a:pos x="402" y="435"/>
              </a:cxn>
              <a:cxn ang="0">
                <a:pos x="404" y="433"/>
              </a:cxn>
              <a:cxn ang="0">
                <a:pos x="405" y="431"/>
              </a:cxn>
              <a:cxn ang="0">
                <a:pos x="406" y="429"/>
              </a:cxn>
              <a:cxn ang="0">
                <a:pos x="406" y="427"/>
              </a:cxn>
              <a:cxn ang="0">
                <a:pos x="440" y="146"/>
              </a:cxn>
              <a:cxn ang="0">
                <a:pos x="440" y="143"/>
              </a:cxn>
            </a:cxnLst>
            <a:rect l="0" t="0" r="r" b="b"/>
            <a:pathLst>
              <a:path w="440" h="439">
                <a:moveTo>
                  <a:pt x="440" y="143"/>
                </a:moveTo>
                <a:cubicBezTo>
                  <a:pt x="440" y="128"/>
                  <a:pt x="429" y="116"/>
                  <a:pt x="415" y="114"/>
                </a:cubicBezTo>
                <a:cubicBezTo>
                  <a:pt x="414" y="114"/>
                  <a:pt x="413" y="114"/>
                  <a:pt x="411" y="114"/>
                </a:cubicBezTo>
                <a:cubicBezTo>
                  <a:pt x="387" y="114"/>
                  <a:pt x="387" y="114"/>
                  <a:pt x="387" y="114"/>
                </a:cubicBezTo>
                <a:cubicBezTo>
                  <a:pt x="386" y="111"/>
                  <a:pt x="386" y="111"/>
                  <a:pt x="386" y="111"/>
                </a:cubicBezTo>
                <a:cubicBezTo>
                  <a:pt x="403" y="100"/>
                  <a:pt x="415" y="81"/>
                  <a:pt x="415" y="60"/>
                </a:cubicBezTo>
                <a:cubicBezTo>
                  <a:pt x="415" y="27"/>
                  <a:pt x="388" y="0"/>
                  <a:pt x="355" y="0"/>
                </a:cubicBezTo>
                <a:cubicBezTo>
                  <a:pt x="322" y="0"/>
                  <a:pt x="295" y="27"/>
                  <a:pt x="295" y="60"/>
                </a:cubicBezTo>
                <a:cubicBezTo>
                  <a:pt x="295" y="78"/>
                  <a:pt x="303" y="95"/>
                  <a:pt x="317" y="106"/>
                </a:cubicBezTo>
                <a:cubicBezTo>
                  <a:pt x="322" y="110"/>
                  <a:pt x="330" y="109"/>
                  <a:pt x="334" y="104"/>
                </a:cubicBezTo>
                <a:cubicBezTo>
                  <a:pt x="339" y="99"/>
                  <a:pt x="338" y="91"/>
                  <a:pt x="333" y="86"/>
                </a:cubicBezTo>
                <a:cubicBezTo>
                  <a:pt x="325" y="80"/>
                  <a:pt x="320" y="70"/>
                  <a:pt x="320" y="60"/>
                </a:cubicBezTo>
                <a:cubicBezTo>
                  <a:pt x="320" y="40"/>
                  <a:pt x="336" y="25"/>
                  <a:pt x="355" y="25"/>
                </a:cubicBezTo>
                <a:cubicBezTo>
                  <a:pt x="374" y="25"/>
                  <a:pt x="389" y="40"/>
                  <a:pt x="389" y="60"/>
                </a:cubicBezTo>
                <a:cubicBezTo>
                  <a:pt x="389" y="75"/>
                  <a:pt x="380" y="87"/>
                  <a:pt x="366" y="92"/>
                </a:cubicBezTo>
                <a:cubicBezTo>
                  <a:pt x="366" y="92"/>
                  <a:pt x="366" y="93"/>
                  <a:pt x="365" y="93"/>
                </a:cubicBezTo>
                <a:cubicBezTo>
                  <a:pt x="365" y="93"/>
                  <a:pt x="365" y="93"/>
                  <a:pt x="364" y="93"/>
                </a:cubicBezTo>
                <a:cubicBezTo>
                  <a:pt x="364" y="93"/>
                  <a:pt x="364" y="94"/>
                  <a:pt x="363" y="94"/>
                </a:cubicBezTo>
                <a:cubicBezTo>
                  <a:pt x="363" y="94"/>
                  <a:pt x="362" y="94"/>
                  <a:pt x="362" y="95"/>
                </a:cubicBezTo>
                <a:cubicBezTo>
                  <a:pt x="362" y="95"/>
                  <a:pt x="362" y="95"/>
                  <a:pt x="361" y="95"/>
                </a:cubicBezTo>
                <a:cubicBezTo>
                  <a:pt x="361" y="96"/>
                  <a:pt x="361" y="96"/>
                  <a:pt x="360" y="96"/>
                </a:cubicBezTo>
                <a:cubicBezTo>
                  <a:pt x="360" y="97"/>
                  <a:pt x="360" y="97"/>
                  <a:pt x="360" y="97"/>
                </a:cubicBezTo>
                <a:cubicBezTo>
                  <a:pt x="360" y="98"/>
                  <a:pt x="359" y="98"/>
                  <a:pt x="359" y="99"/>
                </a:cubicBezTo>
                <a:cubicBezTo>
                  <a:pt x="359" y="99"/>
                  <a:pt x="359" y="99"/>
                  <a:pt x="359" y="99"/>
                </a:cubicBezTo>
                <a:cubicBezTo>
                  <a:pt x="359" y="100"/>
                  <a:pt x="358" y="100"/>
                  <a:pt x="358" y="101"/>
                </a:cubicBezTo>
                <a:cubicBezTo>
                  <a:pt x="358" y="101"/>
                  <a:pt x="358" y="101"/>
                  <a:pt x="358" y="102"/>
                </a:cubicBezTo>
                <a:cubicBezTo>
                  <a:pt x="358" y="102"/>
                  <a:pt x="358" y="103"/>
                  <a:pt x="358" y="103"/>
                </a:cubicBezTo>
                <a:cubicBezTo>
                  <a:pt x="358" y="103"/>
                  <a:pt x="358" y="104"/>
                  <a:pt x="358" y="104"/>
                </a:cubicBezTo>
                <a:cubicBezTo>
                  <a:pt x="358" y="105"/>
                  <a:pt x="358" y="105"/>
                  <a:pt x="358" y="106"/>
                </a:cubicBezTo>
                <a:cubicBezTo>
                  <a:pt x="358" y="106"/>
                  <a:pt x="358" y="106"/>
                  <a:pt x="358" y="107"/>
                </a:cubicBezTo>
                <a:cubicBezTo>
                  <a:pt x="358" y="107"/>
                  <a:pt x="358" y="107"/>
                  <a:pt x="358" y="108"/>
                </a:cubicBezTo>
                <a:cubicBezTo>
                  <a:pt x="365" y="130"/>
                  <a:pt x="365" y="130"/>
                  <a:pt x="365" y="130"/>
                </a:cubicBezTo>
                <a:cubicBezTo>
                  <a:pt x="367" y="135"/>
                  <a:pt x="372" y="139"/>
                  <a:pt x="377" y="139"/>
                </a:cubicBezTo>
                <a:cubicBezTo>
                  <a:pt x="409" y="139"/>
                  <a:pt x="409" y="139"/>
                  <a:pt x="409" y="139"/>
                </a:cubicBezTo>
                <a:cubicBezTo>
                  <a:pt x="410" y="139"/>
                  <a:pt x="411" y="139"/>
                  <a:pt x="411" y="139"/>
                </a:cubicBezTo>
                <a:cubicBezTo>
                  <a:pt x="413" y="139"/>
                  <a:pt x="415" y="141"/>
                  <a:pt x="415" y="143"/>
                </a:cubicBezTo>
                <a:cubicBezTo>
                  <a:pt x="415" y="143"/>
                  <a:pt x="415" y="143"/>
                  <a:pt x="415" y="144"/>
                </a:cubicBezTo>
                <a:cubicBezTo>
                  <a:pt x="382" y="413"/>
                  <a:pt x="382" y="413"/>
                  <a:pt x="382" y="413"/>
                </a:cubicBezTo>
                <a:cubicBezTo>
                  <a:pt x="374" y="413"/>
                  <a:pt x="374" y="413"/>
                  <a:pt x="374" y="413"/>
                </a:cubicBezTo>
                <a:cubicBezTo>
                  <a:pt x="399" y="203"/>
                  <a:pt x="399" y="203"/>
                  <a:pt x="399" y="203"/>
                </a:cubicBezTo>
                <a:cubicBezTo>
                  <a:pt x="399" y="199"/>
                  <a:pt x="398" y="196"/>
                  <a:pt x="396" y="194"/>
                </a:cubicBezTo>
                <a:cubicBezTo>
                  <a:pt x="353" y="132"/>
                  <a:pt x="353" y="132"/>
                  <a:pt x="353" y="132"/>
                </a:cubicBezTo>
                <a:cubicBezTo>
                  <a:pt x="352" y="132"/>
                  <a:pt x="352" y="131"/>
                  <a:pt x="351" y="131"/>
                </a:cubicBezTo>
                <a:cubicBezTo>
                  <a:pt x="351" y="131"/>
                  <a:pt x="351" y="131"/>
                  <a:pt x="351" y="131"/>
                </a:cubicBezTo>
                <a:cubicBezTo>
                  <a:pt x="351" y="130"/>
                  <a:pt x="350" y="130"/>
                  <a:pt x="350" y="129"/>
                </a:cubicBezTo>
                <a:cubicBezTo>
                  <a:pt x="349" y="129"/>
                  <a:pt x="349" y="129"/>
                  <a:pt x="349" y="129"/>
                </a:cubicBezTo>
                <a:cubicBezTo>
                  <a:pt x="349" y="129"/>
                  <a:pt x="348" y="128"/>
                  <a:pt x="348" y="128"/>
                </a:cubicBezTo>
                <a:cubicBezTo>
                  <a:pt x="347" y="128"/>
                  <a:pt x="347" y="128"/>
                  <a:pt x="347" y="128"/>
                </a:cubicBezTo>
                <a:cubicBezTo>
                  <a:pt x="347" y="128"/>
                  <a:pt x="346" y="127"/>
                  <a:pt x="345" y="127"/>
                </a:cubicBezTo>
                <a:cubicBezTo>
                  <a:pt x="345" y="127"/>
                  <a:pt x="345" y="127"/>
                  <a:pt x="345" y="127"/>
                </a:cubicBezTo>
                <a:cubicBezTo>
                  <a:pt x="344" y="127"/>
                  <a:pt x="344" y="127"/>
                  <a:pt x="343" y="127"/>
                </a:cubicBezTo>
                <a:cubicBezTo>
                  <a:pt x="343" y="127"/>
                  <a:pt x="343" y="127"/>
                  <a:pt x="342" y="127"/>
                </a:cubicBezTo>
                <a:cubicBezTo>
                  <a:pt x="342" y="127"/>
                  <a:pt x="341" y="127"/>
                  <a:pt x="340" y="127"/>
                </a:cubicBezTo>
                <a:cubicBezTo>
                  <a:pt x="316" y="131"/>
                  <a:pt x="316" y="131"/>
                  <a:pt x="316" y="131"/>
                </a:cubicBezTo>
                <a:cubicBezTo>
                  <a:pt x="316" y="131"/>
                  <a:pt x="316" y="131"/>
                  <a:pt x="316" y="131"/>
                </a:cubicBezTo>
                <a:cubicBezTo>
                  <a:pt x="191" y="154"/>
                  <a:pt x="191" y="154"/>
                  <a:pt x="191" y="154"/>
                </a:cubicBezTo>
                <a:cubicBezTo>
                  <a:pt x="184" y="156"/>
                  <a:pt x="180" y="161"/>
                  <a:pt x="181" y="168"/>
                </a:cubicBezTo>
                <a:cubicBezTo>
                  <a:pt x="202" y="413"/>
                  <a:pt x="202" y="413"/>
                  <a:pt x="202" y="413"/>
                </a:cubicBezTo>
                <a:cubicBezTo>
                  <a:pt x="12" y="413"/>
                  <a:pt x="12" y="413"/>
                  <a:pt x="12" y="413"/>
                </a:cubicBezTo>
                <a:cubicBezTo>
                  <a:pt x="6" y="413"/>
                  <a:pt x="0" y="419"/>
                  <a:pt x="0" y="426"/>
                </a:cubicBezTo>
                <a:cubicBezTo>
                  <a:pt x="0" y="433"/>
                  <a:pt x="6" y="439"/>
                  <a:pt x="12" y="439"/>
                </a:cubicBezTo>
                <a:cubicBezTo>
                  <a:pt x="216" y="439"/>
                  <a:pt x="216" y="439"/>
                  <a:pt x="216" y="439"/>
                </a:cubicBezTo>
                <a:cubicBezTo>
                  <a:pt x="219" y="439"/>
                  <a:pt x="223" y="437"/>
                  <a:pt x="225" y="434"/>
                </a:cubicBezTo>
                <a:cubicBezTo>
                  <a:pt x="228" y="432"/>
                  <a:pt x="229" y="428"/>
                  <a:pt x="228" y="425"/>
                </a:cubicBezTo>
                <a:cubicBezTo>
                  <a:pt x="207" y="177"/>
                  <a:pt x="207" y="177"/>
                  <a:pt x="207" y="177"/>
                </a:cubicBezTo>
                <a:cubicBezTo>
                  <a:pt x="337" y="153"/>
                  <a:pt x="337" y="153"/>
                  <a:pt x="337" y="153"/>
                </a:cubicBezTo>
                <a:cubicBezTo>
                  <a:pt x="373" y="204"/>
                  <a:pt x="373" y="204"/>
                  <a:pt x="373" y="204"/>
                </a:cubicBezTo>
                <a:cubicBezTo>
                  <a:pt x="347" y="425"/>
                  <a:pt x="347" y="425"/>
                  <a:pt x="347" y="425"/>
                </a:cubicBezTo>
                <a:cubicBezTo>
                  <a:pt x="347" y="428"/>
                  <a:pt x="348" y="432"/>
                  <a:pt x="350" y="434"/>
                </a:cubicBezTo>
                <a:cubicBezTo>
                  <a:pt x="353" y="437"/>
                  <a:pt x="356" y="439"/>
                  <a:pt x="360" y="439"/>
                </a:cubicBezTo>
                <a:cubicBezTo>
                  <a:pt x="393" y="439"/>
                  <a:pt x="393" y="439"/>
                  <a:pt x="393" y="439"/>
                </a:cubicBezTo>
                <a:cubicBezTo>
                  <a:pt x="393" y="439"/>
                  <a:pt x="393" y="439"/>
                  <a:pt x="394" y="439"/>
                </a:cubicBezTo>
                <a:cubicBezTo>
                  <a:pt x="394" y="439"/>
                  <a:pt x="394" y="439"/>
                  <a:pt x="394" y="439"/>
                </a:cubicBezTo>
                <a:cubicBezTo>
                  <a:pt x="394" y="439"/>
                  <a:pt x="395" y="438"/>
                  <a:pt x="396" y="438"/>
                </a:cubicBezTo>
                <a:cubicBezTo>
                  <a:pt x="396" y="438"/>
                  <a:pt x="396" y="438"/>
                  <a:pt x="397" y="438"/>
                </a:cubicBezTo>
                <a:cubicBezTo>
                  <a:pt x="397" y="438"/>
                  <a:pt x="398" y="438"/>
                  <a:pt x="398" y="438"/>
                </a:cubicBezTo>
                <a:cubicBezTo>
                  <a:pt x="398" y="438"/>
                  <a:pt x="399" y="437"/>
                  <a:pt x="399" y="437"/>
                </a:cubicBezTo>
                <a:cubicBezTo>
                  <a:pt x="399" y="437"/>
                  <a:pt x="400" y="437"/>
                  <a:pt x="400" y="437"/>
                </a:cubicBezTo>
                <a:cubicBezTo>
                  <a:pt x="401" y="436"/>
                  <a:pt x="401" y="436"/>
                  <a:pt x="401" y="436"/>
                </a:cubicBezTo>
                <a:cubicBezTo>
                  <a:pt x="401" y="436"/>
                  <a:pt x="402" y="435"/>
                  <a:pt x="402" y="435"/>
                </a:cubicBezTo>
                <a:cubicBezTo>
                  <a:pt x="402" y="435"/>
                  <a:pt x="403" y="435"/>
                  <a:pt x="403" y="434"/>
                </a:cubicBezTo>
                <a:cubicBezTo>
                  <a:pt x="403" y="434"/>
                  <a:pt x="403" y="434"/>
                  <a:pt x="404" y="433"/>
                </a:cubicBezTo>
                <a:cubicBezTo>
                  <a:pt x="404" y="433"/>
                  <a:pt x="404" y="433"/>
                  <a:pt x="404" y="433"/>
                </a:cubicBezTo>
                <a:cubicBezTo>
                  <a:pt x="404" y="432"/>
                  <a:pt x="405" y="432"/>
                  <a:pt x="405" y="431"/>
                </a:cubicBezTo>
                <a:cubicBezTo>
                  <a:pt x="405" y="431"/>
                  <a:pt x="405" y="431"/>
                  <a:pt x="405" y="430"/>
                </a:cubicBezTo>
                <a:cubicBezTo>
                  <a:pt x="405" y="430"/>
                  <a:pt x="406" y="430"/>
                  <a:pt x="406" y="429"/>
                </a:cubicBezTo>
                <a:cubicBezTo>
                  <a:pt x="406" y="429"/>
                  <a:pt x="406" y="428"/>
                  <a:pt x="406" y="428"/>
                </a:cubicBezTo>
                <a:cubicBezTo>
                  <a:pt x="406" y="428"/>
                  <a:pt x="406" y="428"/>
                  <a:pt x="406" y="427"/>
                </a:cubicBezTo>
                <a:cubicBezTo>
                  <a:pt x="440" y="147"/>
                  <a:pt x="440" y="147"/>
                  <a:pt x="440" y="147"/>
                </a:cubicBezTo>
                <a:cubicBezTo>
                  <a:pt x="440" y="147"/>
                  <a:pt x="440" y="147"/>
                  <a:pt x="440" y="146"/>
                </a:cubicBezTo>
                <a:cubicBezTo>
                  <a:pt x="440" y="146"/>
                  <a:pt x="440" y="145"/>
                  <a:pt x="440" y="144"/>
                </a:cubicBezTo>
                <a:cubicBezTo>
                  <a:pt x="440" y="144"/>
                  <a:pt x="440" y="144"/>
                  <a:pt x="440" y="143"/>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8" name="Freeform 159"/>
          <p:cNvSpPr>
            <a:spLocks/>
          </p:cNvSpPr>
          <p:nvPr userDrawn="1"/>
        </p:nvSpPr>
        <p:spPr bwMode="auto">
          <a:xfrm>
            <a:off x="1309266" y="874219"/>
            <a:ext cx="533539" cy="384572"/>
          </a:xfrm>
          <a:custGeom>
            <a:avLst/>
            <a:gdLst/>
            <a:ahLst/>
            <a:cxnLst>
              <a:cxn ang="0">
                <a:pos x="218" y="426"/>
              </a:cxn>
              <a:cxn ang="0">
                <a:pos x="411" y="426"/>
              </a:cxn>
              <a:cxn ang="0">
                <a:pos x="354" y="398"/>
              </a:cxn>
              <a:cxn ang="0">
                <a:pos x="322" y="381"/>
              </a:cxn>
              <a:cxn ang="0">
                <a:pos x="322" y="15"/>
              </a:cxn>
              <a:cxn ang="0">
                <a:pos x="337" y="0"/>
              </a:cxn>
              <a:cxn ang="0">
                <a:pos x="514" y="0"/>
              </a:cxn>
              <a:cxn ang="0">
                <a:pos x="527" y="21"/>
              </a:cxn>
              <a:cxn ang="0">
                <a:pos x="437" y="256"/>
              </a:cxn>
              <a:cxn ang="0">
                <a:pos x="517" y="277"/>
              </a:cxn>
              <a:cxn ang="0">
                <a:pos x="597" y="250"/>
              </a:cxn>
              <a:cxn ang="0">
                <a:pos x="526" y="75"/>
              </a:cxn>
              <a:cxn ang="0">
                <a:pos x="552" y="61"/>
              </a:cxn>
              <a:cxn ang="0">
                <a:pos x="628" y="245"/>
              </a:cxn>
              <a:cxn ang="0">
                <a:pos x="627" y="261"/>
              </a:cxn>
              <a:cxn ang="0">
                <a:pos x="517" y="306"/>
              </a:cxn>
              <a:cxn ang="0">
                <a:pos x="435" y="288"/>
              </a:cxn>
              <a:cxn ang="0">
                <a:pos x="406" y="253"/>
              </a:cxn>
              <a:cxn ang="0">
                <a:pos x="491" y="29"/>
              </a:cxn>
              <a:cxn ang="0">
                <a:pos x="351" y="29"/>
              </a:cxn>
              <a:cxn ang="0">
                <a:pos x="351" y="368"/>
              </a:cxn>
              <a:cxn ang="0">
                <a:pos x="436" y="410"/>
              </a:cxn>
              <a:cxn ang="0">
                <a:pos x="441" y="456"/>
              </a:cxn>
              <a:cxn ang="0">
                <a:pos x="189" y="456"/>
              </a:cxn>
              <a:cxn ang="0">
                <a:pos x="193" y="410"/>
              </a:cxn>
              <a:cxn ang="0">
                <a:pos x="278" y="368"/>
              </a:cxn>
              <a:cxn ang="0">
                <a:pos x="278" y="29"/>
              </a:cxn>
              <a:cxn ang="0">
                <a:pos x="139" y="29"/>
              </a:cxn>
              <a:cxn ang="0">
                <a:pos x="224" y="253"/>
              </a:cxn>
              <a:cxn ang="0">
                <a:pos x="194" y="288"/>
              </a:cxn>
              <a:cxn ang="0">
                <a:pos x="112" y="306"/>
              </a:cxn>
              <a:cxn ang="0">
                <a:pos x="3" y="261"/>
              </a:cxn>
              <a:cxn ang="0">
                <a:pos x="2" y="245"/>
              </a:cxn>
              <a:cxn ang="0">
                <a:pos x="78" y="61"/>
              </a:cxn>
              <a:cxn ang="0">
                <a:pos x="103" y="75"/>
              </a:cxn>
              <a:cxn ang="0">
                <a:pos x="33" y="250"/>
              </a:cxn>
              <a:cxn ang="0">
                <a:pos x="112" y="277"/>
              </a:cxn>
              <a:cxn ang="0">
                <a:pos x="192" y="256"/>
              </a:cxn>
              <a:cxn ang="0">
                <a:pos x="102" y="21"/>
              </a:cxn>
              <a:cxn ang="0">
                <a:pos x="115" y="0"/>
              </a:cxn>
              <a:cxn ang="0">
                <a:pos x="293" y="0"/>
              </a:cxn>
              <a:cxn ang="0">
                <a:pos x="307" y="15"/>
              </a:cxn>
              <a:cxn ang="0">
                <a:pos x="307" y="381"/>
              </a:cxn>
              <a:cxn ang="0">
                <a:pos x="275" y="398"/>
              </a:cxn>
              <a:cxn ang="0">
                <a:pos x="218" y="426"/>
              </a:cxn>
            </a:cxnLst>
            <a:rect l="0" t="0" r="r" b="b"/>
            <a:pathLst>
              <a:path w="630" h="456">
                <a:moveTo>
                  <a:pt x="218" y="426"/>
                </a:moveTo>
                <a:cubicBezTo>
                  <a:pt x="411" y="426"/>
                  <a:pt x="411" y="426"/>
                  <a:pt x="411" y="426"/>
                </a:cubicBezTo>
                <a:cubicBezTo>
                  <a:pt x="392" y="406"/>
                  <a:pt x="370" y="399"/>
                  <a:pt x="354" y="398"/>
                </a:cubicBezTo>
                <a:cubicBezTo>
                  <a:pt x="343" y="397"/>
                  <a:pt x="322" y="398"/>
                  <a:pt x="322" y="381"/>
                </a:cubicBezTo>
                <a:cubicBezTo>
                  <a:pt x="322" y="15"/>
                  <a:pt x="322" y="15"/>
                  <a:pt x="322" y="15"/>
                </a:cubicBezTo>
                <a:cubicBezTo>
                  <a:pt x="322" y="7"/>
                  <a:pt x="329" y="0"/>
                  <a:pt x="337" y="0"/>
                </a:cubicBezTo>
                <a:cubicBezTo>
                  <a:pt x="514" y="0"/>
                  <a:pt x="514" y="0"/>
                  <a:pt x="514" y="0"/>
                </a:cubicBezTo>
                <a:cubicBezTo>
                  <a:pt x="527" y="0"/>
                  <a:pt x="533" y="10"/>
                  <a:pt x="527" y="21"/>
                </a:cubicBezTo>
                <a:cubicBezTo>
                  <a:pt x="437" y="256"/>
                  <a:pt x="437" y="256"/>
                  <a:pt x="437" y="256"/>
                </a:cubicBezTo>
                <a:cubicBezTo>
                  <a:pt x="460" y="271"/>
                  <a:pt x="490" y="277"/>
                  <a:pt x="517" y="277"/>
                </a:cubicBezTo>
                <a:cubicBezTo>
                  <a:pt x="545" y="277"/>
                  <a:pt x="575" y="269"/>
                  <a:pt x="597" y="250"/>
                </a:cubicBezTo>
                <a:cubicBezTo>
                  <a:pt x="526" y="75"/>
                  <a:pt x="526" y="75"/>
                  <a:pt x="526" y="75"/>
                </a:cubicBezTo>
                <a:cubicBezTo>
                  <a:pt x="516" y="58"/>
                  <a:pt x="542" y="44"/>
                  <a:pt x="552" y="61"/>
                </a:cubicBezTo>
                <a:cubicBezTo>
                  <a:pt x="628" y="245"/>
                  <a:pt x="628" y="245"/>
                  <a:pt x="628" y="245"/>
                </a:cubicBezTo>
                <a:cubicBezTo>
                  <a:pt x="630" y="249"/>
                  <a:pt x="629" y="258"/>
                  <a:pt x="627" y="261"/>
                </a:cubicBezTo>
                <a:cubicBezTo>
                  <a:pt x="604" y="293"/>
                  <a:pt x="552" y="306"/>
                  <a:pt x="517" y="306"/>
                </a:cubicBezTo>
                <a:cubicBezTo>
                  <a:pt x="480" y="306"/>
                  <a:pt x="453" y="297"/>
                  <a:pt x="435" y="288"/>
                </a:cubicBezTo>
                <a:cubicBezTo>
                  <a:pt x="425" y="283"/>
                  <a:pt x="398" y="269"/>
                  <a:pt x="406" y="253"/>
                </a:cubicBezTo>
                <a:cubicBezTo>
                  <a:pt x="491" y="29"/>
                  <a:pt x="491" y="29"/>
                  <a:pt x="491" y="29"/>
                </a:cubicBezTo>
                <a:cubicBezTo>
                  <a:pt x="351" y="29"/>
                  <a:pt x="351" y="29"/>
                  <a:pt x="351" y="29"/>
                </a:cubicBezTo>
                <a:cubicBezTo>
                  <a:pt x="351" y="368"/>
                  <a:pt x="351" y="368"/>
                  <a:pt x="351" y="368"/>
                </a:cubicBezTo>
                <a:cubicBezTo>
                  <a:pt x="396" y="375"/>
                  <a:pt x="423" y="395"/>
                  <a:pt x="436" y="410"/>
                </a:cubicBezTo>
                <a:cubicBezTo>
                  <a:pt x="442" y="418"/>
                  <a:pt x="475" y="456"/>
                  <a:pt x="441" y="456"/>
                </a:cubicBezTo>
                <a:cubicBezTo>
                  <a:pt x="189" y="456"/>
                  <a:pt x="189" y="456"/>
                  <a:pt x="189" y="456"/>
                </a:cubicBezTo>
                <a:cubicBezTo>
                  <a:pt x="155" y="456"/>
                  <a:pt x="186" y="417"/>
                  <a:pt x="193" y="410"/>
                </a:cubicBezTo>
                <a:cubicBezTo>
                  <a:pt x="211" y="394"/>
                  <a:pt x="242" y="373"/>
                  <a:pt x="278" y="368"/>
                </a:cubicBezTo>
                <a:cubicBezTo>
                  <a:pt x="278" y="29"/>
                  <a:pt x="278" y="29"/>
                  <a:pt x="278" y="29"/>
                </a:cubicBezTo>
                <a:cubicBezTo>
                  <a:pt x="139" y="29"/>
                  <a:pt x="139" y="29"/>
                  <a:pt x="139" y="29"/>
                </a:cubicBezTo>
                <a:cubicBezTo>
                  <a:pt x="224" y="253"/>
                  <a:pt x="224" y="253"/>
                  <a:pt x="224" y="253"/>
                </a:cubicBezTo>
                <a:cubicBezTo>
                  <a:pt x="232" y="269"/>
                  <a:pt x="204" y="283"/>
                  <a:pt x="194" y="288"/>
                </a:cubicBezTo>
                <a:cubicBezTo>
                  <a:pt x="176" y="297"/>
                  <a:pt x="149" y="306"/>
                  <a:pt x="112" y="306"/>
                </a:cubicBezTo>
                <a:cubicBezTo>
                  <a:pt x="77" y="306"/>
                  <a:pt x="25" y="293"/>
                  <a:pt x="3" y="261"/>
                </a:cubicBezTo>
                <a:cubicBezTo>
                  <a:pt x="0" y="258"/>
                  <a:pt x="0" y="249"/>
                  <a:pt x="2" y="245"/>
                </a:cubicBezTo>
                <a:cubicBezTo>
                  <a:pt x="78" y="61"/>
                  <a:pt x="78" y="61"/>
                  <a:pt x="78" y="61"/>
                </a:cubicBezTo>
                <a:cubicBezTo>
                  <a:pt x="87" y="44"/>
                  <a:pt x="113" y="58"/>
                  <a:pt x="103" y="75"/>
                </a:cubicBezTo>
                <a:cubicBezTo>
                  <a:pt x="33" y="250"/>
                  <a:pt x="33" y="250"/>
                  <a:pt x="33" y="250"/>
                </a:cubicBezTo>
                <a:cubicBezTo>
                  <a:pt x="54" y="269"/>
                  <a:pt x="84" y="277"/>
                  <a:pt x="112" y="277"/>
                </a:cubicBezTo>
                <a:cubicBezTo>
                  <a:pt x="140" y="277"/>
                  <a:pt x="169" y="271"/>
                  <a:pt x="192" y="256"/>
                </a:cubicBezTo>
                <a:cubicBezTo>
                  <a:pt x="102" y="21"/>
                  <a:pt x="102" y="21"/>
                  <a:pt x="102" y="21"/>
                </a:cubicBezTo>
                <a:cubicBezTo>
                  <a:pt x="96" y="10"/>
                  <a:pt x="102" y="0"/>
                  <a:pt x="115" y="0"/>
                </a:cubicBezTo>
                <a:cubicBezTo>
                  <a:pt x="293" y="0"/>
                  <a:pt x="293" y="0"/>
                  <a:pt x="293" y="0"/>
                </a:cubicBezTo>
                <a:cubicBezTo>
                  <a:pt x="300" y="0"/>
                  <a:pt x="307" y="7"/>
                  <a:pt x="307" y="15"/>
                </a:cubicBezTo>
                <a:cubicBezTo>
                  <a:pt x="307" y="381"/>
                  <a:pt x="307" y="381"/>
                  <a:pt x="307" y="381"/>
                </a:cubicBezTo>
                <a:cubicBezTo>
                  <a:pt x="307" y="398"/>
                  <a:pt x="286" y="396"/>
                  <a:pt x="275" y="398"/>
                </a:cubicBezTo>
                <a:cubicBezTo>
                  <a:pt x="256" y="402"/>
                  <a:pt x="234" y="412"/>
                  <a:pt x="218" y="42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9" name="Freeform 226"/>
          <p:cNvSpPr>
            <a:spLocks/>
          </p:cNvSpPr>
          <p:nvPr userDrawn="1"/>
        </p:nvSpPr>
        <p:spPr bwMode="auto">
          <a:xfrm>
            <a:off x="1384295" y="3301223"/>
            <a:ext cx="383481" cy="389335"/>
          </a:xfrm>
          <a:custGeom>
            <a:avLst/>
            <a:gdLst/>
            <a:ahLst/>
            <a:cxnLst>
              <a:cxn ang="0">
                <a:pos x="167" y="32"/>
              </a:cxn>
              <a:cxn ang="0">
                <a:pos x="110" y="81"/>
              </a:cxn>
              <a:cxn ang="0">
                <a:pos x="42" y="119"/>
              </a:cxn>
              <a:cxn ang="0">
                <a:pos x="68" y="178"/>
              </a:cxn>
              <a:cxn ang="0">
                <a:pos x="38" y="206"/>
              </a:cxn>
              <a:cxn ang="0">
                <a:pos x="7" y="267"/>
              </a:cxn>
              <a:cxn ang="0">
                <a:pos x="79" y="305"/>
              </a:cxn>
              <a:cxn ang="0">
                <a:pos x="89" y="337"/>
              </a:cxn>
              <a:cxn ang="0">
                <a:pos x="68" y="386"/>
              </a:cxn>
              <a:cxn ang="0">
                <a:pos x="127" y="412"/>
              </a:cxn>
              <a:cxn ang="0">
                <a:pos x="205" y="402"/>
              </a:cxn>
              <a:cxn ang="0">
                <a:pos x="262" y="449"/>
              </a:cxn>
              <a:cxn ang="0">
                <a:pos x="300" y="378"/>
              </a:cxn>
              <a:cxn ang="0">
                <a:pos x="349" y="390"/>
              </a:cxn>
              <a:cxn ang="0">
                <a:pos x="407" y="329"/>
              </a:cxn>
              <a:cxn ang="0">
                <a:pos x="383" y="260"/>
              </a:cxn>
              <a:cxn ang="0">
                <a:pos x="444" y="194"/>
              </a:cxn>
              <a:cxn ang="0">
                <a:pos x="276" y="171"/>
              </a:cxn>
              <a:cxn ang="0">
                <a:pos x="271" y="190"/>
              </a:cxn>
              <a:cxn ang="0">
                <a:pos x="235" y="291"/>
              </a:cxn>
              <a:cxn ang="0">
                <a:pos x="227" y="155"/>
              </a:cxn>
              <a:cxn ang="0">
                <a:pos x="239" y="317"/>
              </a:cxn>
              <a:cxn ang="0">
                <a:pos x="302" y="189"/>
              </a:cxn>
              <a:cxn ang="0">
                <a:pos x="422" y="216"/>
              </a:cxn>
              <a:cxn ang="0">
                <a:pos x="353" y="272"/>
              </a:cxn>
              <a:cxn ang="0">
                <a:pos x="381" y="337"/>
              </a:cxn>
              <a:cxn ang="0">
                <a:pos x="364" y="365"/>
              </a:cxn>
              <a:cxn ang="0">
                <a:pos x="273" y="375"/>
              </a:cxn>
              <a:cxn ang="0">
                <a:pos x="250" y="425"/>
              </a:cxn>
              <a:cxn ang="0">
                <a:pos x="231" y="397"/>
              </a:cxn>
              <a:cxn ang="0">
                <a:pos x="159" y="365"/>
              </a:cxn>
              <a:cxn ang="0">
                <a:pos x="92" y="374"/>
              </a:cxn>
              <a:cxn ang="0">
                <a:pos x="120" y="325"/>
              </a:cxn>
              <a:cxn ang="0">
                <a:pos x="83" y="279"/>
              </a:cxn>
              <a:cxn ang="0">
                <a:pos x="28" y="244"/>
              </a:cxn>
              <a:cxn ang="0">
                <a:pos x="89" y="216"/>
              </a:cxn>
              <a:cxn ang="0">
                <a:pos x="90" y="164"/>
              </a:cxn>
              <a:cxn ang="0">
                <a:pos x="70" y="110"/>
              </a:cxn>
              <a:cxn ang="0">
                <a:pos x="177" y="89"/>
              </a:cxn>
              <a:cxn ang="0">
                <a:pos x="200" y="36"/>
              </a:cxn>
              <a:cxn ang="0">
                <a:pos x="220" y="64"/>
              </a:cxn>
              <a:cxn ang="0">
                <a:pos x="292" y="95"/>
              </a:cxn>
              <a:cxn ang="0">
                <a:pos x="359" y="87"/>
              </a:cxn>
              <a:cxn ang="0">
                <a:pos x="338" y="114"/>
              </a:cxn>
              <a:cxn ang="0">
                <a:pos x="375" y="115"/>
              </a:cxn>
              <a:cxn ang="0">
                <a:pos x="354" y="50"/>
              </a:cxn>
              <a:cxn ang="0">
                <a:pos x="278" y="72"/>
              </a:cxn>
              <a:cxn ang="0">
                <a:pos x="246" y="59"/>
              </a:cxn>
              <a:cxn ang="0">
                <a:pos x="189" y="12"/>
              </a:cxn>
            </a:cxnLst>
            <a:rect l="0" t="0" r="r" b="b"/>
            <a:pathLst>
              <a:path w="455" h="460">
                <a:moveTo>
                  <a:pt x="189" y="12"/>
                </a:moveTo>
                <a:cubicBezTo>
                  <a:pt x="180" y="16"/>
                  <a:pt x="172" y="23"/>
                  <a:pt x="167" y="31"/>
                </a:cubicBezTo>
                <a:cubicBezTo>
                  <a:pt x="167" y="32"/>
                  <a:pt x="167" y="32"/>
                  <a:pt x="167" y="32"/>
                </a:cubicBezTo>
                <a:cubicBezTo>
                  <a:pt x="159" y="49"/>
                  <a:pt x="153" y="66"/>
                  <a:pt x="151" y="83"/>
                </a:cubicBezTo>
                <a:cubicBezTo>
                  <a:pt x="148" y="90"/>
                  <a:pt x="142" y="96"/>
                  <a:pt x="135" y="98"/>
                </a:cubicBezTo>
                <a:cubicBezTo>
                  <a:pt x="123" y="100"/>
                  <a:pt x="112" y="92"/>
                  <a:pt x="110" y="81"/>
                </a:cubicBezTo>
                <a:cubicBezTo>
                  <a:pt x="109" y="76"/>
                  <a:pt x="106" y="72"/>
                  <a:pt x="101" y="71"/>
                </a:cubicBezTo>
                <a:cubicBezTo>
                  <a:pt x="79" y="63"/>
                  <a:pt x="54" y="77"/>
                  <a:pt x="45" y="101"/>
                </a:cubicBezTo>
                <a:cubicBezTo>
                  <a:pt x="43" y="107"/>
                  <a:pt x="42" y="113"/>
                  <a:pt x="42" y="119"/>
                </a:cubicBezTo>
                <a:cubicBezTo>
                  <a:pt x="42" y="123"/>
                  <a:pt x="42" y="127"/>
                  <a:pt x="43" y="131"/>
                </a:cubicBezTo>
                <a:cubicBezTo>
                  <a:pt x="44" y="131"/>
                  <a:pt x="44" y="132"/>
                  <a:pt x="44" y="132"/>
                </a:cubicBezTo>
                <a:cubicBezTo>
                  <a:pt x="50" y="149"/>
                  <a:pt x="58" y="165"/>
                  <a:pt x="68" y="178"/>
                </a:cubicBezTo>
                <a:cubicBezTo>
                  <a:pt x="70" y="182"/>
                  <a:pt x="71" y="185"/>
                  <a:pt x="71" y="189"/>
                </a:cubicBezTo>
                <a:cubicBezTo>
                  <a:pt x="71" y="193"/>
                  <a:pt x="70" y="197"/>
                  <a:pt x="67" y="201"/>
                </a:cubicBezTo>
                <a:cubicBezTo>
                  <a:pt x="61" y="210"/>
                  <a:pt x="48" y="213"/>
                  <a:pt x="38" y="206"/>
                </a:cubicBezTo>
                <a:cubicBezTo>
                  <a:pt x="34" y="204"/>
                  <a:pt x="29" y="203"/>
                  <a:pt x="25" y="205"/>
                </a:cubicBezTo>
                <a:cubicBezTo>
                  <a:pt x="15" y="210"/>
                  <a:pt x="8" y="218"/>
                  <a:pt x="4" y="229"/>
                </a:cubicBezTo>
                <a:cubicBezTo>
                  <a:pt x="0" y="241"/>
                  <a:pt x="1" y="255"/>
                  <a:pt x="7" y="267"/>
                </a:cubicBezTo>
                <a:cubicBezTo>
                  <a:pt x="11" y="276"/>
                  <a:pt x="18" y="283"/>
                  <a:pt x="26" y="289"/>
                </a:cubicBezTo>
                <a:cubicBezTo>
                  <a:pt x="27" y="289"/>
                  <a:pt x="27" y="289"/>
                  <a:pt x="27" y="289"/>
                </a:cubicBezTo>
                <a:cubicBezTo>
                  <a:pt x="44" y="297"/>
                  <a:pt x="62" y="303"/>
                  <a:pt x="79" y="305"/>
                </a:cubicBezTo>
                <a:cubicBezTo>
                  <a:pt x="78" y="305"/>
                  <a:pt x="78" y="305"/>
                  <a:pt x="77" y="305"/>
                </a:cubicBezTo>
                <a:cubicBezTo>
                  <a:pt x="85" y="307"/>
                  <a:pt x="91" y="313"/>
                  <a:pt x="93" y="321"/>
                </a:cubicBezTo>
                <a:cubicBezTo>
                  <a:pt x="94" y="327"/>
                  <a:pt x="93" y="332"/>
                  <a:pt x="89" y="337"/>
                </a:cubicBezTo>
                <a:cubicBezTo>
                  <a:pt x="86" y="342"/>
                  <a:pt x="81" y="345"/>
                  <a:pt x="76" y="346"/>
                </a:cubicBezTo>
                <a:cubicBezTo>
                  <a:pt x="71" y="347"/>
                  <a:pt x="67" y="350"/>
                  <a:pt x="66" y="355"/>
                </a:cubicBezTo>
                <a:cubicBezTo>
                  <a:pt x="62" y="365"/>
                  <a:pt x="63" y="376"/>
                  <a:pt x="68" y="386"/>
                </a:cubicBezTo>
                <a:cubicBezTo>
                  <a:pt x="73" y="397"/>
                  <a:pt x="84" y="406"/>
                  <a:pt x="96" y="411"/>
                </a:cubicBezTo>
                <a:cubicBezTo>
                  <a:pt x="106" y="414"/>
                  <a:pt x="116" y="415"/>
                  <a:pt x="126" y="412"/>
                </a:cubicBezTo>
                <a:cubicBezTo>
                  <a:pt x="126" y="412"/>
                  <a:pt x="127" y="412"/>
                  <a:pt x="127" y="412"/>
                </a:cubicBezTo>
                <a:cubicBezTo>
                  <a:pt x="144" y="406"/>
                  <a:pt x="159" y="398"/>
                  <a:pt x="173" y="388"/>
                </a:cubicBezTo>
                <a:cubicBezTo>
                  <a:pt x="180" y="384"/>
                  <a:pt x="189" y="384"/>
                  <a:pt x="196" y="388"/>
                </a:cubicBezTo>
                <a:cubicBezTo>
                  <a:pt x="200" y="392"/>
                  <a:pt x="204" y="396"/>
                  <a:pt x="205" y="402"/>
                </a:cubicBezTo>
                <a:cubicBezTo>
                  <a:pt x="206" y="407"/>
                  <a:pt x="205" y="413"/>
                  <a:pt x="201" y="418"/>
                </a:cubicBezTo>
                <a:cubicBezTo>
                  <a:pt x="199" y="422"/>
                  <a:pt x="198" y="427"/>
                  <a:pt x="200" y="431"/>
                </a:cubicBezTo>
                <a:cubicBezTo>
                  <a:pt x="211" y="452"/>
                  <a:pt x="238" y="460"/>
                  <a:pt x="262" y="449"/>
                </a:cubicBezTo>
                <a:cubicBezTo>
                  <a:pt x="271" y="445"/>
                  <a:pt x="278" y="438"/>
                  <a:pt x="284" y="429"/>
                </a:cubicBezTo>
                <a:cubicBezTo>
                  <a:pt x="284" y="429"/>
                  <a:pt x="284" y="429"/>
                  <a:pt x="284" y="428"/>
                </a:cubicBezTo>
                <a:cubicBezTo>
                  <a:pt x="292" y="412"/>
                  <a:pt x="297" y="396"/>
                  <a:pt x="300" y="378"/>
                </a:cubicBezTo>
                <a:cubicBezTo>
                  <a:pt x="302" y="370"/>
                  <a:pt x="308" y="365"/>
                  <a:pt x="316" y="363"/>
                </a:cubicBezTo>
                <a:cubicBezTo>
                  <a:pt x="327" y="361"/>
                  <a:pt x="338" y="368"/>
                  <a:pt x="341" y="380"/>
                </a:cubicBezTo>
                <a:cubicBezTo>
                  <a:pt x="342" y="384"/>
                  <a:pt x="345" y="388"/>
                  <a:pt x="349" y="390"/>
                </a:cubicBezTo>
                <a:cubicBezTo>
                  <a:pt x="372" y="398"/>
                  <a:pt x="397" y="384"/>
                  <a:pt x="405" y="359"/>
                </a:cubicBezTo>
                <a:cubicBezTo>
                  <a:pt x="409" y="350"/>
                  <a:pt x="409" y="339"/>
                  <a:pt x="407" y="330"/>
                </a:cubicBezTo>
                <a:cubicBezTo>
                  <a:pt x="407" y="330"/>
                  <a:pt x="407" y="329"/>
                  <a:pt x="407" y="329"/>
                </a:cubicBezTo>
                <a:cubicBezTo>
                  <a:pt x="400" y="311"/>
                  <a:pt x="392" y="295"/>
                  <a:pt x="382" y="281"/>
                </a:cubicBezTo>
                <a:cubicBezTo>
                  <a:pt x="382" y="282"/>
                  <a:pt x="382" y="282"/>
                  <a:pt x="383" y="282"/>
                </a:cubicBezTo>
                <a:cubicBezTo>
                  <a:pt x="379" y="275"/>
                  <a:pt x="379" y="267"/>
                  <a:pt x="383" y="260"/>
                </a:cubicBezTo>
                <a:cubicBezTo>
                  <a:pt x="390" y="250"/>
                  <a:pt x="403" y="248"/>
                  <a:pt x="413" y="254"/>
                </a:cubicBezTo>
                <a:cubicBezTo>
                  <a:pt x="417" y="257"/>
                  <a:pt x="422" y="257"/>
                  <a:pt x="426" y="255"/>
                </a:cubicBezTo>
                <a:cubicBezTo>
                  <a:pt x="447" y="245"/>
                  <a:pt x="455" y="218"/>
                  <a:pt x="444" y="194"/>
                </a:cubicBezTo>
                <a:cubicBezTo>
                  <a:pt x="440" y="185"/>
                  <a:pt x="433" y="177"/>
                  <a:pt x="424" y="172"/>
                </a:cubicBezTo>
                <a:cubicBezTo>
                  <a:pt x="424" y="172"/>
                  <a:pt x="424" y="172"/>
                  <a:pt x="423" y="172"/>
                </a:cubicBezTo>
                <a:cubicBezTo>
                  <a:pt x="373" y="148"/>
                  <a:pt x="322" y="148"/>
                  <a:pt x="276" y="171"/>
                </a:cubicBezTo>
                <a:cubicBezTo>
                  <a:pt x="273" y="173"/>
                  <a:pt x="271" y="176"/>
                  <a:pt x="270" y="180"/>
                </a:cubicBezTo>
                <a:cubicBezTo>
                  <a:pt x="269" y="183"/>
                  <a:pt x="269" y="187"/>
                  <a:pt x="271" y="190"/>
                </a:cubicBezTo>
                <a:cubicBezTo>
                  <a:pt x="271" y="190"/>
                  <a:pt x="271" y="190"/>
                  <a:pt x="271" y="190"/>
                </a:cubicBezTo>
                <a:cubicBezTo>
                  <a:pt x="272" y="191"/>
                  <a:pt x="272" y="191"/>
                  <a:pt x="272" y="192"/>
                </a:cubicBezTo>
                <a:cubicBezTo>
                  <a:pt x="279" y="200"/>
                  <a:pt x="284" y="210"/>
                  <a:pt x="285" y="221"/>
                </a:cubicBezTo>
                <a:cubicBezTo>
                  <a:pt x="291" y="254"/>
                  <a:pt x="268" y="285"/>
                  <a:pt x="235" y="291"/>
                </a:cubicBezTo>
                <a:cubicBezTo>
                  <a:pt x="202" y="296"/>
                  <a:pt x="171" y="273"/>
                  <a:pt x="165" y="240"/>
                </a:cubicBezTo>
                <a:cubicBezTo>
                  <a:pt x="160" y="207"/>
                  <a:pt x="182" y="176"/>
                  <a:pt x="216" y="170"/>
                </a:cubicBezTo>
                <a:cubicBezTo>
                  <a:pt x="223" y="169"/>
                  <a:pt x="228" y="162"/>
                  <a:pt x="227" y="155"/>
                </a:cubicBezTo>
                <a:cubicBezTo>
                  <a:pt x="225" y="148"/>
                  <a:pt x="218" y="143"/>
                  <a:pt x="211" y="144"/>
                </a:cubicBezTo>
                <a:cubicBezTo>
                  <a:pt x="164" y="152"/>
                  <a:pt x="131" y="197"/>
                  <a:pt x="139" y="245"/>
                </a:cubicBezTo>
                <a:cubicBezTo>
                  <a:pt x="147" y="292"/>
                  <a:pt x="192" y="325"/>
                  <a:pt x="239" y="317"/>
                </a:cubicBezTo>
                <a:cubicBezTo>
                  <a:pt x="282" y="310"/>
                  <a:pt x="313" y="273"/>
                  <a:pt x="313" y="230"/>
                </a:cubicBezTo>
                <a:cubicBezTo>
                  <a:pt x="313" y="226"/>
                  <a:pt x="312" y="221"/>
                  <a:pt x="312" y="216"/>
                </a:cubicBezTo>
                <a:cubicBezTo>
                  <a:pt x="310" y="207"/>
                  <a:pt x="307" y="197"/>
                  <a:pt x="302" y="189"/>
                </a:cubicBezTo>
                <a:cubicBezTo>
                  <a:pt x="337" y="176"/>
                  <a:pt x="373" y="178"/>
                  <a:pt x="411" y="195"/>
                </a:cubicBezTo>
                <a:cubicBezTo>
                  <a:pt x="415" y="197"/>
                  <a:pt x="418" y="201"/>
                  <a:pt x="420" y="205"/>
                </a:cubicBezTo>
                <a:cubicBezTo>
                  <a:pt x="422" y="209"/>
                  <a:pt x="422" y="213"/>
                  <a:pt x="422" y="216"/>
                </a:cubicBezTo>
                <a:cubicBezTo>
                  <a:pt x="422" y="221"/>
                  <a:pt x="421" y="225"/>
                  <a:pt x="419" y="228"/>
                </a:cubicBezTo>
                <a:cubicBezTo>
                  <a:pt x="398" y="219"/>
                  <a:pt x="374" y="226"/>
                  <a:pt x="361" y="245"/>
                </a:cubicBezTo>
                <a:cubicBezTo>
                  <a:pt x="356" y="253"/>
                  <a:pt x="353" y="262"/>
                  <a:pt x="353" y="272"/>
                </a:cubicBezTo>
                <a:cubicBezTo>
                  <a:pt x="353" y="280"/>
                  <a:pt x="355" y="288"/>
                  <a:pt x="360" y="296"/>
                </a:cubicBezTo>
                <a:cubicBezTo>
                  <a:pt x="360" y="296"/>
                  <a:pt x="360" y="297"/>
                  <a:pt x="360" y="297"/>
                </a:cubicBezTo>
                <a:cubicBezTo>
                  <a:pt x="369" y="308"/>
                  <a:pt x="376" y="322"/>
                  <a:pt x="381" y="337"/>
                </a:cubicBezTo>
                <a:cubicBezTo>
                  <a:pt x="382" y="338"/>
                  <a:pt x="382" y="340"/>
                  <a:pt x="382" y="342"/>
                </a:cubicBezTo>
                <a:cubicBezTo>
                  <a:pt x="382" y="345"/>
                  <a:pt x="381" y="348"/>
                  <a:pt x="380" y="350"/>
                </a:cubicBezTo>
                <a:cubicBezTo>
                  <a:pt x="377" y="359"/>
                  <a:pt x="371" y="364"/>
                  <a:pt x="364" y="365"/>
                </a:cubicBezTo>
                <a:cubicBezTo>
                  <a:pt x="355" y="345"/>
                  <a:pt x="333" y="332"/>
                  <a:pt x="311" y="337"/>
                </a:cubicBezTo>
                <a:cubicBezTo>
                  <a:pt x="293" y="340"/>
                  <a:pt x="278" y="354"/>
                  <a:pt x="274" y="372"/>
                </a:cubicBezTo>
                <a:cubicBezTo>
                  <a:pt x="273" y="373"/>
                  <a:pt x="273" y="374"/>
                  <a:pt x="273" y="375"/>
                </a:cubicBezTo>
                <a:cubicBezTo>
                  <a:pt x="273" y="374"/>
                  <a:pt x="273" y="374"/>
                  <a:pt x="273" y="373"/>
                </a:cubicBezTo>
                <a:cubicBezTo>
                  <a:pt x="271" y="388"/>
                  <a:pt x="267" y="402"/>
                  <a:pt x="261" y="416"/>
                </a:cubicBezTo>
                <a:cubicBezTo>
                  <a:pt x="258" y="420"/>
                  <a:pt x="255" y="423"/>
                  <a:pt x="250" y="425"/>
                </a:cubicBezTo>
                <a:cubicBezTo>
                  <a:pt x="242" y="429"/>
                  <a:pt x="233" y="428"/>
                  <a:pt x="228" y="424"/>
                </a:cubicBezTo>
                <a:cubicBezTo>
                  <a:pt x="230" y="418"/>
                  <a:pt x="232" y="412"/>
                  <a:pt x="232" y="406"/>
                </a:cubicBezTo>
                <a:cubicBezTo>
                  <a:pt x="232" y="403"/>
                  <a:pt x="231" y="400"/>
                  <a:pt x="231" y="397"/>
                </a:cubicBezTo>
                <a:cubicBezTo>
                  <a:pt x="228" y="384"/>
                  <a:pt x="221" y="373"/>
                  <a:pt x="211" y="366"/>
                </a:cubicBezTo>
                <a:cubicBezTo>
                  <a:pt x="195" y="356"/>
                  <a:pt x="176" y="355"/>
                  <a:pt x="160" y="365"/>
                </a:cubicBezTo>
                <a:cubicBezTo>
                  <a:pt x="159" y="365"/>
                  <a:pt x="159" y="365"/>
                  <a:pt x="159" y="365"/>
                </a:cubicBezTo>
                <a:cubicBezTo>
                  <a:pt x="147" y="374"/>
                  <a:pt x="133" y="381"/>
                  <a:pt x="119" y="386"/>
                </a:cubicBezTo>
                <a:cubicBezTo>
                  <a:pt x="115" y="387"/>
                  <a:pt x="110" y="387"/>
                  <a:pt x="105" y="386"/>
                </a:cubicBezTo>
                <a:cubicBezTo>
                  <a:pt x="99" y="383"/>
                  <a:pt x="94" y="379"/>
                  <a:pt x="92" y="374"/>
                </a:cubicBezTo>
                <a:cubicBezTo>
                  <a:pt x="91" y="373"/>
                  <a:pt x="91" y="371"/>
                  <a:pt x="91" y="369"/>
                </a:cubicBezTo>
                <a:cubicBezTo>
                  <a:pt x="99" y="366"/>
                  <a:pt x="106" y="360"/>
                  <a:pt x="112" y="352"/>
                </a:cubicBezTo>
                <a:cubicBezTo>
                  <a:pt x="117" y="344"/>
                  <a:pt x="120" y="335"/>
                  <a:pt x="120" y="325"/>
                </a:cubicBezTo>
                <a:cubicBezTo>
                  <a:pt x="120" y="322"/>
                  <a:pt x="119" y="319"/>
                  <a:pt x="119" y="316"/>
                </a:cubicBezTo>
                <a:cubicBezTo>
                  <a:pt x="115" y="298"/>
                  <a:pt x="102" y="284"/>
                  <a:pt x="84" y="279"/>
                </a:cubicBezTo>
                <a:cubicBezTo>
                  <a:pt x="84" y="279"/>
                  <a:pt x="83" y="279"/>
                  <a:pt x="83" y="279"/>
                </a:cubicBezTo>
                <a:cubicBezTo>
                  <a:pt x="69" y="277"/>
                  <a:pt x="54" y="272"/>
                  <a:pt x="40" y="265"/>
                </a:cubicBezTo>
                <a:cubicBezTo>
                  <a:pt x="36" y="263"/>
                  <a:pt x="33" y="260"/>
                  <a:pt x="31" y="255"/>
                </a:cubicBezTo>
                <a:cubicBezTo>
                  <a:pt x="29" y="252"/>
                  <a:pt x="28" y="248"/>
                  <a:pt x="28" y="244"/>
                </a:cubicBezTo>
                <a:cubicBezTo>
                  <a:pt x="28" y="242"/>
                  <a:pt x="29" y="240"/>
                  <a:pt x="29" y="238"/>
                </a:cubicBezTo>
                <a:cubicBezTo>
                  <a:pt x="30" y="236"/>
                  <a:pt x="31" y="235"/>
                  <a:pt x="32" y="233"/>
                </a:cubicBezTo>
                <a:cubicBezTo>
                  <a:pt x="52" y="241"/>
                  <a:pt x="77" y="235"/>
                  <a:pt x="89" y="216"/>
                </a:cubicBezTo>
                <a:cubicBezTo>
                  <a:pt x="95" y="208"/>
                  <a:pt x="97" y="198"/>
                  <a:pt x="97" y="189"/>
                </a:cubicBezTo>
                <a:cubicBezTo>
                  <a:pt x="97" y="181"/>
                  <a:pt x="95" y="172"/>
                  <a:pt x="91" y="165"/>
                </a:cubicBezTo>
                <a:cubicBezTo>
                  <a:pt x="91" y="164"/>
                  <a:pt x="90" y="164"/>
                  <a:pt x="90" y="164"/>
                </a:cubicBezTo>
                <a:cubicBezTo>
                  <a:pt x="82" y="152"/>
                  <a:pt x="75" y="139"/>
                  <a:pt x="69" y="124"/>
                </a:cubicBezTo>
                <a:cubicBezTo>
                  <a:pt x="69" y="122"/>
                  <a:pt x="69" y="121"/>
                  <a:pt x="69" y="119"/>
                </a:cubicBezTo>
                <a:cubicBezTo>
                  <a:pt x="69" y="116"/>
                  <a:pt x="69" y="113"/>
                  <a:pt x="70" y="110"/>
                </a:cubicBezTo>
                <a:cubicBezTo>
                  <a:pt x="73" y="102"/>
                  <a:pt x="80" y="96"/>
                  <a:pt x="87" y="96"/>
                </a:cubicBezTo>
                <a:cubicBezTo>
                  <a:pt x="95" y="116"/>
                  <a:pt x="117" y="128"/>
                  <a:pt x="140" y="124"/>
                </a:cubicBezTo>
                <a:cubicBezTo>
                  <a:pt x="158" y="120"/>
                  <a:pt x="172" y="107"/>
                  <a:pt x="177" y="89"/>
                </a:cubicBezTo>
                <a:cubicBezTo>
                  <a:pt x="177" y="89"/>
                  <a:pt x="177" y="88"/>
                  <a:pt x="177" y="88"/>
                </a:cubicBezTo>
                <a:cubicBezTo>
                  <a:pt x="179" y="74"/>
                  <a:pt x="183" y="59"/>
                  <a:pt x="190" y="45"/>
                </a:cubicBezTo>
                <a:cubicBezTo>
                  <a:pt x="193" y="41"/>
                  <a:pt x="196" y="38"/>
                  <a:pt x="200" y="36"/>
                </a:cubicBezTo>
                <a:cubicBezTo>
                  <a:pt x="208" y="32"/>
                  <a:pt x="217" y="33"/>
                  <a:pt x="223" y="37"/>
                </a:cubicBezTo>
                <a:cubicBezTo>
                  <a:pt x="220" y="43"/>
                  <a:pt x="219" y="49"/>
                  <a:pt x="219" y="55"/>
                </a:cubicBezTo>
                <a:cubicBezTo>
                  <a:pt x="219" y="58"/>
                  <a:pt x="219" y="61"/>
                  <a:pt x="220" y="64"/>
                </a:cubicBezTo>
                <a:cubicBezTo>
                  <a:pt x="222" y="77"/>
                  <a:pt x="230" y="87"/>
                  <a:pt x="240" y="94"/>
                </a:cubicBezTo>
                <a:cubicBezTo>
                  <a:pt x="254" y="104"/>
                  <a:pt x="273" y="105"/>
                  <a:pt x="288" y="97"/>
                </a:cubicBezTo>
                <a:cubicBezTo>
                  <a:pt x="289" y="97"/>
                  <a:pt x="291" y="96"/>
                  <a:pt x="292" y="95"/>
                </a:cubicBezTo>
                <a:cubicBezTo>
                  <a:pt x="303" y="87"/>
                  <a:pt x="317" y="80"/>
                  <a:pt x="332" y="74"/>
                </a:cubicBezTo>
                <a:cubicBezTo>
                  <a:pt x="336" y="73"/>
                  <a:pt x="341" y="74"/>
                  <a:pt x="345" y="75"/>
                </a:cubicBezTo>
                <a:cubicBezTo>
                  <a:pt x="351" y="77"/>
                  <a:pt x="356" y="81"/>
                  <a:pt x="359" y="87"/>
                </a:cubicBezTo>
                <a:cubicBezTo>
                  <a:pt x="359" y="88"/>
                  <a:pt x="360" y="90"/>
                  <a:pt x="360" y="92"/>
                </a:cubicBezTo>
                <a:cubicBezTo>
                  <a:pt x="353" y="95"/>
                  <a:pt x="346" y="100"/>
                  <a:pt x="341" y="106"/>
                </a:cubicBezTo>
                <a:cubicBezTo>
                  <a:pt x="339" y="108"/>
                  <a:pt x="338" y="111"/>
                  <a:pt x="338" y="114"/>
                </a:cubicBezTo>
                <a:cubicBezTo>
                  <a:pt x="338" y="118"/>
                  <a:pt x="340" y="122"/>
                  <a:pt x="344" y="125"/>
                </a:cubicBezTo>
                <a:cubicBezTo>
                  <a:pt x="349" y="129"/>
                  <a:pt x="358" y="128"/>
                  <a:pt x="362" y="122"/>
                </a:cubicBezTo>
                <a:cubicBezTo>
                  <a:pt x="365" y="118"/>
                  <a:pt x="370" y="116"/>
                  <a:pt x="375" y="115"/>
                </a:cubicBezTo>
                <a:cubicBezTo>
                  <a:pt x="379" y="114"/>
                  <a:pt x="383" y="111"/>
                  <a:pt x="385" y="106"/>
                </a:cubicBezTo>
                <a:cubicBezTo>
                  <a:pt x="388" y="96"/>
                  <a:pt x="388" y="85"/>
                  <a:pt x="383" y="75"/>
                </a:cubicBezTo>
                <a:cubicBezTo>
                  <a:pt x="377" y="64"/>
                  <a:pt x="367" y="54"/>
                  <a:pt x="354" y="50"/>
                </a:cubicBezTo>
                <a:cubicBezTo>
                  <a:pt x="345" y="47"/>
                  <a:pt x="334" y="46"/>
                  <a:pt x="325" y="48"/>
                </a:cubicBezTo>
                <a:cubicBezTo>
                  <a:pt x="325" y="49"/>
                  <a:pt x="324" y="49"/>
                  <a:pt x="324" y="49"/>
                </a:cubicBezTo>
                <a:cubicBezTo>
                  <a:pt x="307" y="55"/>
                  <a:pt x="291" y="63"/>
                  <a:pt x="278" y="72"/>
                </a:cubicBezTo>
                <a:cubicBezTo>
                  <a:pt x="278" y="73"/>
                  <a:pt x="278" y="73"/>
                  <a:pt x="277" y="73"/>
                </a:cubicBezTo>
                <a:cubicBezTo>
                  <a:pt x="270" y="77"/>
                  <a:pt x="262" y="77"/>
                  <a:pt x="255" y="72"/>
                </a:cubicBezTo>
                <a:cubicBezTo>
                  <a:pt x="250" y="69"/>
                  <a:pt x="247" y="64"/>
                  <a:pt x="246" y="59"/>
                </a:cubicBezTo>
                <a:cubicBezTo>
                  <a:pt x="245" y="53"/>
                  <a:pt x="246" y="48"/>
                  <a:pt x="249" y="43"/>
                </a:cubicBezTo>
                <a:cubicBezTo>
                  <a:pt x="252" y="39"/>
                  <a:pt x="252" y="34"/>
                  <a:pt x="250" y="30"/>
                </a:cubicBezTo>
                <a:cubicBezTo>
                  <a:pt x="240" y="8"/>
                  <a:pt x="213" y="0"/>
                  <a:pt x="189" y="1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3" name="Freeform 247"/>
          <p:cNvSpPr>
            <a:spLocks/>
          </p:cNvSpPr>
          <p:nvPr userDrawn="1"/>
        </p:nvSpPr>
        <p:spPr bwMode="auto">
          <a:xfrm>
            <a:off x="1420023" y="1789078"/>
            <a:ext cx="312025" cy="384572"/>
          </a:xfrm>
          <a:custGeom>
            <a:avLst/>
            <a:gdLst/>
            <a:ahLst/>
            <a:cxnLst>
              <a:cxn ang="0">
                <a:pos x="305" y="0"/>
              </a:cxn>
              <a:cxn ang="0">
                <a:pos x="292" y="13"/>
              </a:cxn>
              <a:cxn ang="0">
                <a:pos x="283" y="299"/>
              </a:cxn>
              <a:cxn ang="0">
                <a:pos x="208" y="299"/>
              </a:cxn>
              <a:cxn ang="0">
                <a:pos x="202" y="102"/>
              </a:cxn>
              <a:cxn ang="0">
                <a:pos x="189" y="89"/>
              </a:cxn>
              <a:cxn ang="0">
                <a:pos x="148" y="89"/>
              </a:cxn>
              <a:cxn ang="0">
                <a:pos x="134" y="102"/>
              </a:cxn>
              <a:cxn ang="0">
                <a:pos x="128" y="299"/>
              </a:cxn>
              <a:cxn ang="0">
                <a:pos x="66" y="299"/>
              </a:cxn>
              <a:cxn ang="0">
                <a:pos x="56" y="304"/>
              </a:cxn>
              <a:cxn ang="0">
                <a:pos x="3" y="376"/>
              </a:cxn>
              <a:cxn ang="0">
                <a:pos x="0" y="384"/>
              </a:cxn>
              <a:cxn ang="0">
                <a:pos x="0" y="443"/>
              </a:cxn>
              <a:cxn ang="0">
                <a:pos x="14" y="457"/>
              </a:cxn>
              <a:cxn ang="0">
                <a:pos x="27" y="443"/>
              </a:cxn>
              <a:cxn ang="0">
                <a:pos x="27" y="388"/>
              </a:cxn>
              <a:cxn ang="0">
                <a:pos x="73" y="326"/>
              </a:cxn>
              <a:cxn ang="0">
                <a:pos x="141" y="326"/>
              </a:cxn>
              <a:cxn ang="0">
                <a:pos x="155" y="313"/>
              </a:cxn>
              <a:cxn ang="0">
                <a:pos x="160" y="116"/>
              </a:cxn>
              <a:cxn ang="0">
                <a:pos x="176" y="116"/>
              </a:cxn>
              <a:cxn ang="0">
                <a:pos x="182" y="313"/>
              </a:cxn>
              <a:cxn ang="0">
                <a:pos x="195" y="326"/>
              </a:cxn>
              <a:cxn ang="0">
                <a:pos x="296" y="326"/>
              </a:cxn>
              <a:cxn ang="0">
                <a:pos x="310" y="313"/>
              </a:cxn>
              <a:cxn ang="0">
                <a:pos x="318" y="27"/>
              </a:cxn>
              <a:cxn ang="0">
                <a:pos x="333" y="27"/>
              </a:cxn>
              <a:cxn ang="0">
                <a:pos x="342" y="443"/>
              </a:cxn>
              <a:cxn ang="0">
                <a:pos x="355" y="457"/>
              </a:cxn>
              <a:cxn ang="0">
                <a:pos x="368" y="443"/>
              </a:cxn>
              <a:cxn ang="0">
                <a:pos x="360" y="13"/>
              </a:cxn>
              <a:cxn ang="0">
                <a:pos x="346" y="0"/>
              </a:cxn>
              <a:cxn ang="0">
                <a:pos x="305" y="0"/>
              </a:cxn>
            </a:cxnLst>
            <a:rect l="0" t="0" r="r" b="b"/>
            <a:pathLst>
              <a:path w="368" h="457">
                <a:moveTo>
                  <a:pt x="305" y="0"/>
                </a:moveTo>
                <a:cubicBezTo>
                  <a:pt x="298" y="0"/>
                  <a:pt x="292" y="6"/>
                  <a:pt x="292" y="13"/>
                </a:cubicBezTo>
                <a:cubicBezTo>
                  <a:pt x="292" y="13"/>
                  <a:pt x="284" y="275"/>
                  <a:pt x="283" y="299"/>
                </a:cubicBezTo>
                <a:cubicBezTo>
                  <a:pt x="267" y="299"/>
                  <a:pt x="225" y="299"/>
                  <a:pt x="208" y="299"/>
                </a:cubicBezTo>
                <a:cubicBezTo>
                  <a:pt x="207" y="276"/>
                  <a:pt x="202" y="102"/>
                  <a:pt x="202" y="102"/>
                </a:cubicBezTo>
                <a:cubicBezTo>
                  <a:pt x="202" y="95"/>
                  <a:pt x="196" y="89"/>
                  <a:pt x="189" y="89"/>
                </a:cubicBezTo>
                <a:cubicBezTo>
                  <a:pt x="148" y="89"/>
                  <a:pt x="148" y="89"/>
                  <a:pt x="148" y="89"/>
                </a:cubicBezTo>
                <a:cubicBezTo>
                  <a:pt x="140" y="89"/>
                  <a:pt x="134" y="95"/>
                  <a:pt x="134" y="102"/>
                </a:cubicBezTo>
                <a:cubicBezTo>
                  <a:pt x="134" y="102"/>
                  <a:pt x="129" y="276"/>
                  <a:pt x="128" y="299"/>
                </a:cubicBezTo>
                <a:cubicBezTo>
                  <a:pt x="111" y="299"/>
                  <a:pt x="66" y="299"/>
                  <a:pt x="66" y="299"/>
                </a:cubicBezTo>
                <a:cubicBezTo>
                  <a:pt x="62" y="299"/>
                  <a:pt x="58" y="301"/>
                  <a:pt x="56" y="304"/>
                </a:cubicBezTo>
                <a:cubicBezTo>
                  <a:pt x="3" y="376"/>
                  <a:pt x="3" y="376"/>
                  <a:pt x="3" y="376"/>
                </a:cubicBezTo>
                <a:cubicBezTo>
                  <a:pt x="1" y="378"/>
                  <a:pt x="0" y="381"/>
                  <a:pt x="0" y="384"/>
                </a:cubicBezTo>
                <a:cubicBezTo>
                  <a:pt x="0" y="443"/>
                  <a:pt x="0" y="443"/>
                  <a:pt x="0" y="443"/>
                </a:cubicBezTo>
                <a:cubicBezTo>
                  <a:pt x="0" y="451"/>
                  <a:pt x="6" y="457"/>
                  <a:pt x="14" y="457"/>
                </a:cubicBezTo>
                <a:cubicBezTo>
                  <a:pt x="21" y="457"/>
                  <a:pt x="27" y="451"/>
                  <a:pt x="27" y="443"/>
                </a:cubicBezTo>
                <a:cubicBezTo>
                  <a:pt x="27" y="443"/>
                  <a:pt x="27" y="396"/>
                  <a:pt x="27" y="388"/>
                </a:cubicBezTo>
                <a:cubicBezTo>
                  <a:pt x="31" y="382"/>
                  <a:pt x="67" y="334"/>
                  <a:pt x="73" y="326"/>
                </a:cubicBezTo>
                <a:cubicBezTo>
                  <a:pt x="84" y="326"/>
                  <a:pt x="141" y="326"/>
                  <a:pt x="141" y="326"/>
                </a:cubicBezTo>
                <a:cubicBezTo>
                  <a:pt x="149" y="326"/>
                  <a:pt x="155" y="320"/>
                  <a:pt x="155" y="313"/>
                </a:cubicBezTo>
                <a:cubicBezTo>
                  <a:pt x="155" y="313"/>
                  <a:pt x="160" y="138"/>
                  <a:pt x="160" y="116"/>
                </a:cubicBezTo>
                <a:cubicBezTo>
                  <a:pt x="167" y="116"/>
                  <a:pt x="169" y="116"/>
                  <a:pt x="176" y="116"/>
                </a:cubicBezTo>
                <a:cubicBezTo>
                  <a:pt x="176" y="138"/>
                  <a:pt x="182" y="313"/>
                  <a:pt x="182" y="313"/>
                </a:cubicBezTo>
                <a:cubicBezTo>
                  <a:pt x="182" y="320"/>
                  <a:pt x="188" y="326"/>
                  <a:pt x="195" y="326"/>
                </a:cubicBezTo>
                <a:cubicBezTo>
                  <a:pt x="296" y="326"/>
                  <a:pt x="296" y="326"/>
                  <a:pt x="296" y="326"/>
                </a:cubicBezTo>
                <a:cubicBezTo>
                  <a:pt x="304" y="326"/>
                  <a:pt x="309" y="320"/>
                  <a:pt x="310" y="313"/>
                </a:cubicBezTo>
                <a:cubicBezTo>
                  <a:pt x="310" y="313"/>
                  <a:pt x="317" y="50"/>
                  <a:pt x="318" y="27"/>
                </a:cubicBezTo>
                <a:cubicBezTo>
                  <a:pt x="325" y="27"/>
                  <a:pt x="327" y="27"/>
                  <a:pt x="333" y="27"/>
                </a:cubicBezTo>
                <a:cubicBezTo>
                  <a:pt x="334" y="51"/>
                  <a:pt x="342" y="443"/>
                  <a:pt x="342" y="443"/>
                </a:cubicBezTo>
                <a:cubicBezTo>
                  <a:pt x="342" y="451"/>
                  <a:pt x="348" y="457"/>
                  <a:pt x="355" y="457"/>
                </a:cubicBezTo>
                <a:cubicBezTo>
                  <a:pt x="363" y="456"/>
                  <a:pt x="368" y="450"/>
                  <a:pt x="368" y="443"/>
                </a:cubicBezTo>
                <a:cubicBezTo>
                  <a:pt x="360" y="13"/>
                  <a:pt x="360" y="13"/>
                  <a:pt x="360" y="13"/>
                </a:cubicBezTo>
                <a:cubicBezTo>
                  <a:pt x="359" y="6"/>
                  <a:pt x="354" y="0"/>
                  <a:pt x="346" y="0"/>
                </a:cubicBezTo>
                <a:lnTo>
                  <a:pt x="305" y="0"/>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grpSp>
        <p:nvGrpSpPr>
          <p:cNvPr id="55" name="Group 270"/>
          <p:cNvGrpSpPr>
            <a:grpSpLocks noChangeAspect="1"/>
          </p:cNvGrpSpPr>
          <p:nvPr userDrawn="1"/>
        </p:nvGrpSpPr>
        <p:grpSpPr bwMode="auto">
          <a:xfrm>
            <a:off x="1414664" y="2262268"/>
            <a:ext cx="322744" cy="347663"/>
            <a:chOff x="1543" y="1791"/>
            <a:chExt cx="271" cy="292"/>
          </a:xfrm>
          <a:noFill/>
        </p:grpSpPr>
        <p:sp>
          <p:nvSpPr>
            <p:cNvPr id="115" name="Line 271"/>
            <p:cNvSpPr>
              <a:spLocks noChangeShapeType="1"/>
            </p:cNvSpPr>
            <p:nvPr/>
          </p:nvSpPr>
          <p:spPr bwMode="auto">
            <a:xfrm>
              <a:off x="1581" y="1894"/>
              <a:ext cx="1" cy="1"/>
            </a:xfrm>
            <a:prstGeom prst="line">
              <a:avLst/>
            </a:prstGeom>
            <a:grp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272"/>
            <p:cNvSpPr>
              <a:spLocks/>
            </p:cNvSpPr>
            <p:nvPr/>
          </p:nvSpPr>
          <p:spPr bwMode="auto">
            <a:xfrm>
              <a:off x="1543" y="1791"/>
              <a:ext cx="271" cy="292"/>
            </a:xfrm>
            <a:custGeom>
              <a:avLst/>
              <a:gdLst/>
              <a:ahLst/>
              <a:cxnLst>
                <a:cxn ang="0">
                  <a:pos x="354" y="302"/>
                </a:cxn>
                <a:cxn ang="0">
                  <a:pos x="328" y="384"/>
                </a:cxn>
                <a:cxn ang="0">
                  <a:pos x="146" y="366"/>
                </a:cxn>
                <a:cxn ang="0">
                  <a:pos x="4" y="261"/>
                </a:cxn>
                <a:cxn ang="0">
                  <a:pos x="51" y="140"/>
                </a:cxn>
                <a:cxn ang="0">
                  <a:pos x="108" y="139"/>
                </a:cxn>
                <a:cxn ang="0">
                  <a:pos x="121" y="104"/>
                </a:cxn>
                <a:cxn ang="0">
                  <a:pos x="167" y="122"/>
                </a:cxn>
                <a:cxn ang="0">
                  <a:pos x="119" y="30"/>
                </a:cxn>
                <a:cxn ang="0">
                  <a:pos x="175" y="41"/>
                </a:cxn>
                <a:cxn ang="0">
                  <a:pos x="209" y="118"/>
                </a:cxn>
                <a:cxn ang="0">
                  <a:pos x="252" y="4"/>
                </a:cxn>
                <a:cxn ang="0">
                  <a:pos x="309" y="23"/>
                </a:cxn>
                <a:cxn ang="0">
                  <a:pos x="264" y="136"/>
                </a:cxn>
                <a:cxn ang="0">
                  <a:pos x="329" y="93"/>
                </a:cxn>
                <a:cxn ang="0">
                  <a:pos x="382" y="119"/>
                </a:cxn>
                <a:cxn ang="0">
                  <a:pos x="299" y="170"/>
                </a:cxn>
                <a:cxn ang="0">
                  <a:pos x="345" y="188"/>
                </a:cxn>
                <a:cxn ang="0">
                  <a:pos x="335" y="222"/>
                </a:cxn>
                <a:cxn ang="0">
                  <a:pos x="374" y="258"/>
                </a:cxn>
                <a:cxn ang="0">
                  <a:pos x="97" y="180"/>
                </a:cxn>
              </a:cxnLst>
              <a:rect l="0" t="0" r="r" b="b"/>
              <a:pathLst>
                <a:path w="382" h="410">
                  <a:moveTo>
                    <a:pt x="354" y="302"/>
                  </a:moveTo>
                  <a:cubicBezTo>
                    <a:pt x="328" y="384"/>
                    <a:pt x="328" y="384"/>
                    <a:pt x="328" y="384"/>
                  </a:cubicBezTo>
                  <a:cubicBezTo>
                    <a:pt x="328" y="384"/>
                    <a:pt x="252" y="410"/>
                    <a:pt x="146" y="366"/>
                  </a:cubicBezTo>
                  <a:cubicBezTo>
                    <a:pt x="44" y="324"/>
                    <a:pt x="0" y="267"/>
                    <a:pt x="4" y="261"/>
                  </a:cubicBezTo>
                  <a:cubicBezTo>
                    <a:pt x="7" y="255"/>
                    <a:pt x="51" y="140"/>
                    <a:pt x="51" y="140"/>
                  </a:cubicBezTo>
                  <a:cubicBezTo>
                    <a:pt x="51" y="140"/>
                    <a:pt x="49" y="129"/>
                    <a:pt x="108" y="139"/>
                  </a:cubicBezTo>
                  <a:cubicBezTo>
                    <a:pt x="121" y="104"/>
                    <a:pt x="121" y="104"/>
                    <a:pt x="121" y="104"/>
                  </a:cubicBezTo>
                  <a:cubicBezTo>
                    <a:pt x="121" y="104"/>
                    <a:pt x="165" y="123"/>
                    <a:pt x="167" y="122"/>
                  </a:cubicBezTo>
                  <a:cubicBezTo>
                    <a:pt x="166" y="122"/>
                    <a:pt x="119" y="30"/>
                    <a:pt x="119" y="30"/>
                  </a:cubicBezTo>
                  <a:cubicBezTo>
                    <a:pt x="119" y="30"/>
                    <a:pt x="158" y="32"/>
                    <a:pt x="175" y="41"/>
                  </a:cubicBezTo>
                  <a:cubicBezTo>
                    <a:pt x="180" y="52"/>
                    <a:pt x="209" y="118"/>
                    <a:pt x="209" y="118"/>
                  </a:cubicBezTo>
                  <a:cubicBezTo>
                    <a:pt x="252" y="4"/>
                    <a:pt x="252" y="4"/>
                    <a:pt x="252" y="4"/>
                  </a:cubicBezTo>
                  <a:cubicBezTo>
                    <a:pt x="252" y="4"/>
                    <a:pt x="280" y="0"/>
                    <a:pt x="309" y="23"/>
                  </a:cubicBezTo>
                  <a:cubicBezTo>
                    <a:pt x="305" y="36"/>
                    <a:pt x="264" y="136"/>
                    <a:pt x="264" y="136"/>
                  </a:cubicBezTo>
                  <a:cubicBezTo>
                    <a:pt x="329" y="93"/>
                    <a:pt x="329" y="93"/>
                    <a:pt x="329" y="93"/>
                  </a:cubicBezTo>
                  <a:cubicBezTo>
                    <a:pt x="329" y="93"/>
                    <a:pt x="361" y="98"/>
                    <a:pt x="382" y="119"/>
                  </a:cubicBezTo>
                  <a:cubicBezTo>
                    <a:pt x="369" y="126"/>
                    <a:pt x="299" y="170"/>
                    <a:pt x="299" y="170"/>
                  </a:cubicBezTo>
                  <a:cubicBezTo>
                    <a:pt x="299" y="170"/>
                    <a:pt x="345" y="189"/>
                    <a:pt x="345" y="188"/>
                  </a:cubicBezTo>
                  <a:cubicBezTo>
                    <a:pt x="345" y="186"/>
                    <a:pt x="335" y="222"/>
                    <a:pt x="335" y="222"/>
                  </a:cubicBezTo>
                  <a:cubicBezTo>
                    <a:pt x="335" y="222"/>
                    <a:pt x="355" y="238"/>
                    <a:pt x="374" y="258"/>
                  </a:cubicBezTo>
                  <a:cubicBezTo>
                    <a:pt x="372" y="260"/>
                    <a:pt x="231" y="293"/>
                    <a:pt x="97" y="180"/>
                  </a:cubicBezTo>
                </a:path>
              </a:pathLst>
            </a:custGeom>
            <a:grp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17" name="Freeform 308"/>
          <p:cNvSpPr>
            <a:spLocks/>
          </p:cNvSpPr>
          <p:nvPr userDrawn="1"/>
        </p:nvSpPr>
        <p:spPr bwMode="auto">
          <a:xfrm>
            <a:off x="1382508" y="2754851"/>
            <a:ext cx="387054" cy="395288"/>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8" name="Freeform 636"/>
          <p:cNvSpPr>
            <a:spLocks/>
          </p:cNvSpPr>
          <p:nvPr userDrawn="1"/>
        </p:nvSpPr>
        <p:spPr bwMode="auto">
          <a:xfrm>
            <a:off x="1408114" y="1335215"/>
            <a:ext cx="335843" cy="335754"/>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9" name="Freeform 147"/>
          <p:cNvSpPr>
            <a:spLocks noEditPoints="1"/>
          </p:cNvSpPr>
          <p:nvPr userDrawn="1"/>
        </p:nvSpPr>
        <p:spPr bwMode="auto">
          <a:xfrm>
            <a:off x="6551400" y="871838"/>
            <a:ext cx="369190" cy="389335"/>
          </a:xfrm>
          <a:custGeom>
            <a:avLst/>
            <a:gdLst/>
            <a:ahLst/>
            <a:cxnLst>
              <a:cxn ang="0">
                <a:pos x="396" y="240"/>
              </a:cxn>
              <a:cxn ang="0">
                <a:pos x="390" y="131"/>
              </a:cxn>
              <a:cxn ang="0">
                <a:pos x="425" y="72"/>
              </a:cxn>
              <a:cxn ang="0">
                <a:pos x="424" y="61"/>
              </a:cxn>
              <a:cxn ang="0">
                <a:pos x="375" y="1"/>
              </a:cxn>
              <a:cxn ang="0">
                <a:pos x="36" y="92"/>
              </a:cxn>
              <a:cxn ang="0">
                <a:pos x="0" y="151"/>
              </a:cxn>
              <a:cxn ang="0">
                <a:pos x="39" y="217"/>
              </a:cxn>
              <a:cxn ang="0">
                <a:pos x="203" y="288"/>
              </a:cxn>
              <a:cxn ang="0">
                <a:pos x="26" y="343"/>
              </a:cxn>
              <a:cxn ang="0">
                <a:pos x="36" y="452"/>
              </a:cxn>
              <a:cxn ang="0">
                <a:pos x="64" y="460"/>
              </a:cxn>
              <a:cxn ang="0">
                <a:pos x="70" y="458"/>
              </a:cxn>
              <a:cxn ang="0">
                <a:pos x="402" y="368"/>
              </a:cxn>
              <a:cxn ang="0">
                <a:pos x="436" y="300"/>
              </a:cxn>
              <a:cxn ang="0">
                <a:pos x="52" y="356"/>
              </a:cxn>
              <a:cxn ang="0">
                <a:pos x="57" y="358"/>
              </a:cxn>
              <a:cxn ang="0">
                <a:pos x="72" y="393"/>
              </a:cxn>
              <a:cxn ang="0">
                <a:pos x="72" y="397"/>
              </a:cxn>
              <a:cxn ang="0">
                <a:pos x="72" y="400"/>
              </a:cxn>
              <a:cxn ang="0">
                <a:pos x="72" y="403"/>
              </a:cxn>
              <a:cxn ang="0">
                <a:pos x="72" y="406"/>
              </a:cxn>
              <a:cxn ang="0">
                <a:pos x="72" y="409"/>
              </a:cxn>
              <a:cxn ang="0">
                <a:pos x="72" y="412"/>
              </a:cxn>
              <a:cxn ang="0">
                <a:pos x="71" y="414"/>
              </a:cxn>
              <a:cxn ang="0">
                <a:pos x="71" y="417"/>
              </a:cxn>
              <a:cxn ang="0">
                <a:pos x="70" y="419"/>
              </a:cxn>
              <a:cxn ang="0">
                <a:pos x="68" y="423"/>
              </a:cxn>
              <a:cxn ang="0">
                <a:pos x="68" y="425"/>
              </a:cxn>
              <a:cxn ang="0">
                <a:pos x="67" y="426"/>
              </a:cxn>
              <a:cxn ang="0">
                <a:pos x="66" y="428"/>
              </a:cxn>
              <a:cxn ang="0">
                <a:pos x="65" y="429"/>
              </a:cxn>
              <a:cxn ang="0">
                <a:pos x="61" y="433"/>
              </a:cxn>
              <a:cxn ang="0">
                <a:pos x="53" y="431"/>
              </a:cxn>
              <a:cxn ang="0">
                <a:pos x="46" y="360"/>
              </a:cxn>
              <a:cxn ang="0">
                <a:pos x="96" y="423"/>
              </a:cxn>
              <a:cxn ang="0">
                <a:pos x="99" y="406"/>
              </a:cxn>
              <a:cxn ang="0">
                <a:pos x="99" y="400"/>
              </a:cxn>
              <a:cxn ang="0">
                <a:pos x="98" y="387"/>
              </a:cxn>
              <a:cxn ang="0">
                <a:pos x="98" y="383"/>
              </a:cxn>
              <a:cxn ang="0">
                <a:pos x="97" y="378"/>
              </a:cxn>
              <a:cxn ang="0">
                <a:pos x="96" y="375"/>
              </a:cxn>
              <a:cxn ang="0">
                <a:pos x="95" y="371"/>
              </a:cxn>
              <a:cxn ang="0">
                <a:pos x="93" y="367"/>
              </a:cxn>
              <a:cxn ang="0">
                <a:pos x="92" y="364"/>
              </a:cxn>
              <a:cxn ang="0">
                <a:pos x="91" y="361"/>
              </a:cxn>
              <a:cxn ang="0">
                <a:pos x="89" y="357"/>
              </a:cxn>
              <a:cxn ang="0">
                <a:pos x="87" y="354"/>
              </a:cxn>
              <a:cxn ang="0">
                <a:pos x="86" y="351"/>
              </a:cxn>
              <a:cxn ang="0">
                <a:pos x="84" y="348"/>
              </a:cxn>
              <a:cxn ang="0">
                <a:pos x="247" y="303"/>
              </a:cxn>
              <a:cxn ang="0">
                <a:pos x="257" y="291"/>
              </a:cxn>
              <a:cxn ang="0">
                <a:pos x="50" y="193"/>
              </a:cxn>
              <a:cxn ang="0">
                <a:pos x="27" y="151"/>
              </a:cxn>
              <a:cxn ang="0">
                <a:pos x="378" y="27"/>
              </a:cxn>
              <a:cxn ang="0">
                <a:pos x="398" y="64"/>
              </a:cxn>
              <a:cxn ang="0">
                <a:pos x="399" y="73"/>
              </a:cxn>
              <a:cxn ang="0">
                <a:pos x="208" y="158"/>
              </a:cxn>
              <a:cxn ang="0">
                <a:pos x="127" y="138"/>
              </a:cxn>
              <a:cxn ang="0">
                <a:pos x="134" y="155"/>
              </a:cxn>
              <a:cxn ang="0">
                <a:pos x="386" y="265"/>
              </a:cxn>
              <a:cxn ang="0">
                <a:pos x="410" y="310"/>
              </a:cxn>
            </a:cxnLst>
            <a:rect l="0" t="0" r="r" b="b"/>
            <a:pathLst>
              <a:path w="436" h="461">
                <a:moveTo>
                  <a:pt x="436" y="300"/>
                </a:moveTo>
                <a:cubicBezTo>
                  <a:pt x="433" y="271"/>
                  <a:pt x="426" y="251"/>
                  <a:pt x="396" y="240"/>
                </a:cubicBezTo>
                <a:cubicBezTo>
                  <a:pt x="393" y="238"/>
                  <a:pt x="316" y="205"/>
                  <a:pt x="246" y="175"/>
                </a:cubicBezTo>
                <a:cubicBezTo>
                  <a:pt x="288" y="162"/>
                  <a:pt x="390" y="131"/>
                  <a:pt x="390" y="131"/>
                </a:cubicBezTo>
                <a:cubicBezTo>
                  <a:pt x="391" y="131"/>
                  <a:pt x="391" y="130"/>
                  <a:pt x="391" y="130"/>
                </a:cubicBezTo>
                <a:cubicBezTo>
                  <a:pt x="418" y="119"/>
                  <a:pt x="425" y="92"/>
                  <a:pt x="425" y="72"/>
                </a:cubicBezTo>
                <a:cubicBezTo>
                  <a:pt x="425" y="68"/>
                  <a:pt x="425" y="65"/>
                  <a:pt x="425" y="61"/>
                </a:cubicBezTo>
                <a:cubicBezTo>
                  <a:pt x="424" y="61"/>
                  <a:pt x="424" y="61"/>
                  <a:pt x="424" y="61"/>
                </a:cubicBezTo>
                <a:cubicBezTo>
                  <a:pt x="422" y="39"/>
                  <a:pt x="413" y="20"/>
                  <a:pt x="400" y="9"/>
                </a:cubicBezTo>
                <a:cubicBezTo>
                  <a:pt x="393" y="3"/>
                  <a:pt x="384" y="0"/>
                  <a:pt x="375" y="1"/>
                </a:cubicBezTo>
                <a:cubicBezTo>
                  <a:pt x="374" y="1"/>
                  <a:pt x="374" y="1"/>
                  <a:pt x="373" y="1"/>
                </a:cubicBezTo>
                <a:cubicBezTo>
                  <a:pt x="36" y="92"/>
                  <a:pt x="36" y="92"/>
                  <a:pt x="36" y="92"/>
                </a:cubicBezTo>
                <a:cubicBezTo>
                  <a:pt x="35" y="92"/>
                  <a:pt x="35" y="92"/>
                  <a:pt x="35" y="92"/>
                </a:cubicBezTo>
                <a:cubicBezTo>
                  <a:pt x="13" y="99"/>
                  <a:pt x="0" y="122"/>
                  <a:pt x="0" y="151"/>
                </a:cubicBezTo>
                <a:cubicBezTo>
                  <a:pt x="0" y="154"/>
                  <a:pt x="0" y="158"/>
                  <a:pt x="1" y="161"/>
                </a:cubicBezTo>
                <a:cubicBezTo>
                  <a:pt x="4" y="196"/>
                  <a:pt x="20" y="207"/>
                  <a:pt x="39" y="217"/>
                </a:cubicBezTo>
                <a:cubicBezTo>
                  <a:pt x="39" y="217"/>
                  <a:pt x="39" y="217"/>
                  <a:pt x="39" y="217"/>
                </a:cubicBezTo>
                <a:cubicBezTo>
                  <a:pt x="39" y="217"/>
                  <a:pt x="155" y="267"/>
                  <a:pt x="203" y="288"/>
                </a:cubicBezTo>
                <a:cubicBezTo>
                  <a:pt x="157" y="300"/>
                  <a:pt x="58" y="327"/>
                  <a:pt x="48" y="330"/>
                </a:cubicBezTo>
                <a:cubicBezTo>
                  <a:pt x="39" y="331"/>
                  <a:pt x="32" y="335"/>
                  <a:pt x="26" y="343"/>
                </a:cubicBezTo>
                <a:cubicBezTo>
                  <a:pt x="15" y="356"/>
                  <a:pt x="10" y="377"/>
                  <a:pt x="12" y="399"/>
                </a:cubicBezTo>
                <a:cubicBezTo>
                  <a:pt x="14" y="421"/>
                  <a:pt x="23" y="441"/>
                  <a:pt x="36" y="452"/>
                </a:cubicBezTo>
                <a:cubicBezTo>
                  <a:pt x="44" y="458"/>
                  <a:pt x="53" y="461"/>
                  <a:pt x="62" y="460"/>
                </a:cubicBezTo>
                <a:cubicBezTo>
                  <a:pt x="62" y="460"/>
                  <a:pt x="63" y="460"/>
                  <a:pt x="64" y="460"/>
                </a:cubicBezTo>
                <a:cubicBezTo>
                  <a:pt x="64" y="460"/>
                  <a:pt x="64" y="460"/>
                  <a:pt x="64" y="460"/>
                </a:cubicBezTo>
                <a:cubicBezTo>
                  <a:pt x="66" y="459"/>
                  <a:pt x="68" y="459"/>
                  <a:pt x="70" y="458"/>
                </a:cubicBezTo>
                <a:cubicBezTo>
                  <a:pt x="86" y="454"/>
                  <a:pt x="401" y="369"/>
                  <a:pt x="401" y="369"/>
                </a:cubicBezTo>
                <a:cubicBezTo>
                  <a:pt x="401" y="369"/>
                  <a:pt x="402" y="369"/>
                  <a:pt x="402" y="368"/>
                </a:cubicBezTo>
                <a:cubicBezTo>
                  <a:pt x="424" y="361"/>
                  <a:pt x="436" y="339"/>
                  <a:pt x="436" y="310"/>
                </a:cubicBezTo>
                <a:cubicBezTo>
                  <a:pt x="436" y="307"/>
                  <a:pt x="436" y="303"/>
                  <a:pt x="436" y="300"/>
                </a:cubicBezTo>
                <a:close/>
                <a:moveTo>
                  <a:pt x="46" y="360"/>
                </a:moveTo>
                <a:cubicBezTo>
                  <a:pt x="48" y="358"/>
                  <a:pt x="50" y="356"/>
                  <a:pt x="52" y="356"/>
                </a:cubicBezTo>
                <a:cubicBezTo>
                  <a:pt x="53" y="356"/>
                  <a:pt x="55" y="357"/>
                  <a:pt x="57" y="358"/>
                </a:cubicBezTo>
                <a:cubicBezTo>
                  <a:pt x="57" y="358"/>
                  <a:pt x="57" y="358"/>
                  <a:pt x="57" y="358"/>
                </a:cubicBezTo>
                <a:cubicBezTo>
                  <a:pt x="63" y="363"/>
                  <a:pt x="70" y="375"/>
                  <a:pt x="72" y="393"/>
                </a:cubicBezTo>
                <a:cubicBezTo>
                  <a:pt x="72" y="393"/>
                  <a:pt x="72" y="393"/>
                  <a:pt x="72" y="393"/>
                </a:cubicBezTo>
                <a:cubicBezTo>
                  <a:pt x="72" y="393"/>
                  <a:pt x="72" y="393"/>
                  <a:pt x="72" y="393"/>
                </a:cubicBezTo>
                <a:cubicBezTo>
                  <a:pt x="72" y="394"/>
                  <a:pt x="72" y="396"/>
                  <a:pt x="72" y="397"/>
                </a:cubicBezTo>
                <a:cubicBezTo>
                  <a:pt x="72" y="397"/>
                  <a:pt x="72" y="398"/>
                  <a:pt x="72" y="398"/>
                </a:cubicBezTo>
                <a:cubicBezTo>
                  <a:pt x="72" y="399"/>
                  <a:pt x="72" y="399"/>
                  <a:pt x="72" y="400"/>
                </a:cubicBezTo>
                <a:cubicBezTo>
                  <a:pt x="72" y="401"/>
                  <a:pt x="72" y="401"/>
                  <a:pt x="72" y="402"/>
                </a:cubicBezTo>
                <a:cubicBezTo>
                  <a:pt x="72" y="402"/>
                  <a:pt x="72" y="403"/>
                  <a:pt x="72" y="403"/>
                </a:cubicBezTo>
                <a:cubicBezTo>
                  <a:pt x="72" y="404"/>
                  <a:pt x="72" y="405"/>
                  <a:pt x="72" y="406"/>
                </a:cubicBezTo>
                <a:cubicBezTo>
                  <a:pt x="72" y="406"/>
                  <a:pt x="72" y="406"/>
                  <a:pt x="72" y="406"/>
                </a:cubicBezTo>
                <a:cubicBezTo>
                  <a:pt x="72" y="407"/>
                  <a:pt x="72" y="408"/>
                  <a:pt x="72" y="408"/>
                </a:cubicBezTo>
                <a:cubicBezTo>
                  <a:pt x="72" y="409"/>
                  <a:pt x="72" y="409"/>
                  <a:pt x="72" y="409"/>
                </a:cubicBezTo>
                <a:cubicBezTo>
                  <a:pt x="72" y="410"/>
                  <a:pt x="72" y="410"/>
                  <a:pt x="72" y="411"/>
                </a:cubicBezTo>
                <a:cubicBezTo>
                  <a:pt x="72" y="411"/>
                  <a:pt x="72" y="412"/>
                  <a:pt x="72" y="412"/>
                </a:cubicBezTo>
                <a:cubicBezTo>
                  <a:pt x="71" y="412"/>
                  <a:pt x="71" y="413"/>
                  <a:pt x="71" y="413"/>
                </a:cubicBezTo>
                <a:cubicBezTo>
                  <a:pt x="71" y="414"/>
                  <a:pt x="71" y="414"/>
                  <a:pt x="71" y="414"/>
                </a:cubicBezTo>
                <a:cubicBezTo>
                  <a:pt x="71" y="415"/>
                  <a:pt x="71" y="415"/>
                  <a:pt x="71" y="416"/>
                </a:cubicBezTo>
                <a:cubicBezTo>
                  <a:pt x="71" y="416"/>
                  <a:pt x="71" y="416"/>
                  <a:pt x="71" y="417"/>
                </a:cubicBezTo>
                <a:cubicBezTo>
                  <a:pt x="70" y="417"/>
                  <a:pt x="70" y="418"/>
                  <a:pt x="70" y="418"/>
                </a:cubicBezTo>
                <a:cubicBezTo>
                  <a:pt x="70" y="418"/>
                  <a:pt x="70" y="418"/>
                  <a:pt x="70" y="419"/>
                </a:cubicBezTo>
                <a:cubicBezTo>
                  <a:pt x="70" y="420"/>
                  <a:pt x="69" y="421"/>
                  <a:pt x="69" y="422"/>
                </a:cubicBezTo>
                <a:cubicBezTo>
                  <a:pt x="69" y="423"/>
                  <a:pt x="68" y="423"/>
                  <a:pt x="68" y="423"/>
                </a:cubicBezTo>
                <a:cubicBezTo>
                  <a:pt x="68" y="423"/>
                  <a:pt x="68" y="424"/>
                  <a:pt x="68" y="424"/>
                </a:cubicBezTo>
                <a:cubicBezTo>
                  <a:pt x="68" y="424"/>
                  <a:pt x="68" y="425"/>
                  <a:pt x="68" y="425"/>
                </a:cubicBezTo>
                <a:cubicBezTo>
                  <a:pt x="67" y="425"/>
                  <a:pt x="67" y="425"/>
                  <a:pt x="67" y="426"/>
                </a:cubicBezTo>
                <a:cubicBezTo>
                  <a:pt x="67" y="426"/>
                  <a:pt x="67" y="426"/>
                  <a:pt x="67" y="426"/>
                </a:cubicBezTo>
                <a:cubicBezTo>
                  <a:pt x="67" y="427"/>
                  <a:pt x="66" y="427"/>
                  <a:pt x="66" y="427"/>
                </a:cubicBezTo>
                <a:cubicBezTo>
                  <a:pt x="66" y="427"/>
                  <a:pt x="66" y="428"/>
                  <a:pt x="66" y="428"/>
                </a:cubicBezTo>
                <a:cubicBezTo>
                  <a:pt x="66" y="428"/>
                  <a:pt x="66" y="428"/>
                  <a:pt x="65" y="429"/>
                </a:cubicBezTo>
                <a:cubicBezTo>
                  <a:pt x="65" y="429"/>
                  <a:pt x="65" y="429"/>
                  <a:pt x="65" y="429"/>
                </a:cubicBezTo>
                <a:cubicBezTo>
                  <a:pt x="65" y="429"/>
                  <a:pt x="65" y="430"/>
                  <a:pt x="64" y="430"/>
                </a:cubicBezTo>
                <a:cubicBezTo>
                  <a:pt x="64" y="431"/>
                  <a:pt x="62" y="432"/>
                  <a:pt x="61" y="433"/>
                </a:cubicBezTo>
                <a:cubicBezTo>
                  <a:pt x="61" y="433"/>
                  <a:pt x="60" y="433"/>
                  <a:pt x="58" y="434"/>
                </a:cubicBezTo>
                <a:cubicBezTo>
                  <a:pt x="56" y="433"/>
                  <a:pt x="55" y="432"/>
                  <a:pt x="53" y="431"/>
                </a:cubicBezTo>
                <a:cubicBezTo>
                  <a:pt x="48" y="426"/>
                  <a:pt x="40" y="415"/>
                  <a:pt x="39" y="396"/>
                </a:cubicBezTo>
                <a:cubicBezTo>
                  <a:pt x="37" y="378"/>
                  <a:pt x="42" y="365"/>
                  <a:pt x="46" y="360"/>
                </a:cubicBezTo>
                <a:close/>
                <a:moveTo>
                  <a:pt x="393" y="343"/>
                </a:moveTo>
                <a:cubicBezTo>
                  <a:pt x="392" y="344"/>
                  <a:pt x="158" y="407"/>
                  <a:pt x="96" y="423"/>
                </a:cubicBezTo>
                <a:cubicBezTo>
                  <a:pt x="98" y="418"/>
                  <a:pt x="99" y="412"/>
                  <a:pt x="99" y="407"/>
                </a:cubicBezTo>
                <a:cubicBezTo>
                  <a:pt x="99" y="406"/>
                  <a:pt x="99" y="406"/>
                  <a:pt x="99" y="406"/>
                </a:cubicBezTo>
                <a:cubicBezTo>
                  <a:pt x="99" y="405"/>
                  <a:pt x="99" y="404"/>
                  <a:pt x="99" y="404"/>
                </a:cubicBezTo>
                <a:cubicBezTo>
                  <a:pt x="99" y="403"/>
                  <a:pt x="99" y="402"/>
                  <a:pt x="99" y="400"/>
                </a:cubicBezTo>
                <a:cubicBezTo>
                  <a:pt x="99" y="397"/>
                  <a:pt x="99" y="394"/>
                  <a:pt x="99" y="391"/>
                </a:cubicBezTo>
                <a:cubicBezTo>
                  <a:pt x="99" y="389"/>
                  <a:pt x="98" y="388"/>
                  <a:pt x="98" y="387"/>
                </a:cubicBezTo>
                <a:cubicBezTo>
                  <a:pt x="98" y="386"/>
                  <a:pt x="98" y="386"/>
                  <a:pt x="98" y="386"/>
                </a:cubicBezTo>
                <a:cubicBezTo>
                  <a:pt x="98" y="385"/>
                  <a:pt x="98" y="384"/>
                  <a:pt x="98" y="383"/>
                </a:cubicBezTo>
                <a:cubicBezTo>
                  <a:pt x="98" y="383"/>
                  <a:pt x="97" y="382"/>
                  <a:pt x="97" y="382"/>
                </a:cubicBezTo>
                <a:cubicBezTo>
                  <a:pt x="97" y="381"/>
                  <a:pt x="97" y="380"/>
                  <a:pt x="97" y="378"/>
                </a:cubicBezTo>
                <a:cubicBezTo>
                  <a:pt x="97" y="378"/>
                  <a:pt x="97" y="378"/>
                  <a:pt x="97" y="378"/>
                </a:cubicBezTo>
                <a:cubicBezTo>
                  <a:pt x="96" y="377"/>
                  <a:pt x="96" y="376"/>
                  <a:pt x="96" y="375"/>
                </a:cubicBezTo>
                <a:cubicBezTo>
                  <a:pt x="96" y="375"/>
                  <a:pt x="96" y="374"/>
                  <a:pt x="96" y="374"/>
                </a:cubicBezTo>
                <a:cubicBezTo>
                  <a:pt x="95" y="373"/>
                  <a:pt x="95" y="372"/>
                  <a:pt x="95" y="371"/>
                </a:cubicBezTo>
                <a:cubicBezTo>
                  <a:pt x="95" y="371"/>
                  <a:pt x="95" y="371"/>
                  <a:pt x="95" y="370"/>
                </a:cubicBezTo>
                <a:cubicBezTo>
                  <a:pt x="94" y="369"/>
                  <a:pt x="94" y="368"/>
                  <a:pt x="93" y="367"/>
                </a:cubicBezTo>
                <a:cubicBezTo>
                  <a:pt x="93" y="367"/>
                  <a:pt x="93" y="367"/>
                  <a:pt x="93" y="367"/>
                </a:cubicBezTo>
                <a:cubicBezTo>
                  <a:pt x="93" y="366"/>
                  <a:pt x="93" y="365"/>
                  <a:pt x="92" y="364"/>
                </a:cubicBezTo>
                <a:cubicBezTo>
                  <a:pt x="92" y="363"/>
                  <a:pt x="92" y="363"/>
                  <a:pt x="92" y="363"/>
                </a:cubicBezTo>
                <a:cubicBezTo>
                  <a:pt x="92" y="362"/>
                  <a:pt x="91" y="361"/>
                  <a:pt x="91" y="361"/>
                </a:cubicBezTo>
                <a:cubicBezTo>
                  <a:pt x="91" y="360"/>
                  <a:pt x="91" y="360"/>
                  <a:pt x="90" y="360"/>
                </a:cubicBezTo>
                <a:cubicBezTo>
                  <a:pt x="90" y="359"/>
                  <a:pt x="90" y="358"/>
                  <a:pt x="89" y="357"/>
                </a:cubicBezTo>
                <a:cubicBezTo>
                  <a:pt x="89" y="357"/>
                  <a:pt x="89" y="356"/>
                  <a:pt x="89" y="356"/>
                </a:cubicBezTo>
                <a:cubicBezTo>
                  <a:pt x="88" y="355"/>
                  <a:pt x="88" y="355"/>
                  <a:pt x="87" y="354"/>
                </a:cubicBezTo>
                <a:cubicBezTo>
                  <a:pt x="87" y="353"/>
                  <a:pt x="87" y="353"/>
                  <a:pt x="87" y="353"/>
                </a:cubicBezTo>
                <a:cubicBezTo>
                  <a:pt x="87" y="352"/>
                  <a:pt x="86" y="352"/>
                  <a:pt x="86" y="351"/>
                </a:cubicBezTo>
                <a:cubicBezTo>
                  <a:pt x="86" y="351"/>
                  <a:pt x="85" y="350"/>
                  <a:pt x="85" y="350"/>
                </a:cubicBezTo>
                <a:cubicBezTo>
                  <a:pt x="85" y="349"/>
                  <a:pt x="84" y="349"/>
                  <a:pt x="84" y="348"/>
                </a:cubicBezTo>
                <a:cubicBezTo>
                  <a:pt x="84" y="348"/>
                  <a:pt x="84" y="348"/>
                  <a:pt x="83" y="348"/>
                </a:cubicBezTo>
                <a:cubicBezTo>
                  <a:pt x="126" y="336"/>
                  <a:pt x="247" y="303"/>
                  <a:pt x="247" y="303"/>
                </a:cubicBezTo>
                <a:cubicBezTo>
                  <a:pt x="253" y="302"/>
                  <a:pt x="256" y="297"/>
                  <a:pt x="257" y="292"/>
                </a:cubicBezTo>
                <a:cubicBezTo>
                  <a:pt x="257" y="291"/>
                  <a:pt x="257" y="291"/>
                  <a:pt x="257" y="291"/>
                </a:cubicBezTo>
                <a:cubicBezTo>
                  <a:pt x="257" y="285"/>
                  <a:pt x="254" y="280"/>
                  <a:pt x="249" y="278"/>
                </a:cubicBezTo>
                <a:cubicBezTo>
                  <a:pt x="249" y="278"/>
                  <a:pt x="51" y="193"/>
                  <a:pt x="50" y="193"/>
                </a:cubicBezTo>
                <a:cubicBezTo>
                  <a:pt x="36" y="186"/>
                  <a:pt x="29" y="181"/>
                  <a:pt x="27" y="158"/>
                </a:cubicBezTo>
                <a:cubicBezTo>
                  <a:pt x="27" y="156"/>
                  <a:pt x="27" y="153"/>
                  <a:pt x="27" y="151"/>
                </a:cubicBezTo>
                <a:cubicBezTo>
                  <a:pt x="27" y="134"/>
                  <a:pt x="33" y="121"/>
                  <a:pt x="43" y="117"/>
                </a:cubicBezTo>
                <a:cubicBezTo>
                  <a:pt x="45" y="117"/>
                  <a:pt x="375" y="28"/>
                  <a:pt x="378" y="27"/>
                </a:cubicBezTo>
                <a:cubicBezTo>
                  <a:pt x="380" y="27"/>
                  <a:pt x="382" y="29"/>
                  <a:pt x="383" y="30"/>
                </a:cubicBezTo>
                <a:cubicBezTo>
                  <a:pt x="389" y="34"/>
                  <a:pt x="396" y="46"/>
                  <a:pt x="398" y="64"/>
                </a:cubicBezTo>
                <a:cubicBezTo>
                  <a:pt x="398" y="65"/>
                  <a:pt x="398" y="65"/>
                  <a:pt x="398" y="65"/>
                </a:cubicBezTo>
                <a:cubicBezTo>
                  <a:pt x="398" y="66"/>
                  <a:pt x="399" y="69"/>
                  <a:pt x="399" y="73"/>
                </a:cubicBezTo>
                <a:cubicBezTo>
                  <a:pt x="399" y="83"/>
                  <a:pt x="396" y="99"/>
                  <a:pt x="382" y="105"/>
                </a:cubicBezTo>
                <a:cubicBezTo>
                  <a:pt x="380" y="106"/>
                  <a:pt x="211" y="157"/>
                  <a:pt x="208" y="158"/>
                </a:cubicBezTo>
                <a:cubicBezTo>
                  <a:pt x="184" y="148"/>
                  <a:pt x="145" y="131"/>
                  <a:pt x="145" y="131"/>
                </a:cubicBezTo>
                <a:cubicBezTo>
                  <a:pt x="138" y="128"/>
                  <a:pt x="130" y="131"/>
                  <a:pt x="127" y="138"/>
                </a:cubicBezTo>
                <a:cubicBezTo>
                  <a:pt x="127" y="139"/>
                  <a:pt x="126" y="141"/>
                  <a:pt x="126" y="143"/>
                </a:cubicBezTo>
                <a:cubicBezTo>
                  <a:pt x="126" y="148"/>
                  <a:pt x="129" y="153"/>
                  <a:pt x="134" y="155"/>
                </a:cubicBezTo>
                <a:cubicBezTo>
                  <a:pt x="386" y="264"/>
                  <a:pt x="386" y="264"/>
                  <a:pt x="386" y="264"/>
                </a:cubicBezTo>
                <a:cubicBezTo>
                  <a:pt x="386" y="264"/>
                  <a:pt x="386" y="264"/>
                  <a:pt x="386" y="265"/>
                </a:cubicBezTo>
                <a:cubicBezTo>
                  <a:pt x="401" y="270"/>
                  <a:pt x="407" y="277"/>
                  <a:pt x="409" y="302"/>
                </a:cubicBezTo>
                <a:cubicBezTo>
                  <a:pt x="410" y="305"/>
                  <a:pt x="410" y="307"/>
                  <a:pt x="410" y="310"/>
                </a:cubicBezTo>
                <a:cubicBezTo>
                  <a:pt x="410" y="327"/>
                  <a:pt x="404" y="339"/>
                  <a:pt x="393" y="343"/>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20" name="Freeform 421"/>
          <p:cNvSpPr>
            <a:spLocks noEditPoints="1"/>
          </p:cNvSpPr>
          <p:nvPr userDrawn="1"/>
        </p:nvSpPr>
        <p:spPr bwMode="auto">
          <a:xfrm>
            <a:off x="6599038" y="3304200"/>
            <a:ext cx="273915" cy="383381"/>
          </a:xfrm>
          <a:custGeom>
            <a:avLst/>
            <a:gdLst/>
            <a:ahLst/>
            <a:cxnLst>
              <a:cxn ang="0">
                <a:pos x="163" y="453"/>
              </a:cxn>
              <a:cxn ang="0">
                <a:pos x="97" y="425"/>
              </a:cxn>
              <a:cxn ang="0">
                <a:pos x="0" y="100"/>
              </a:cxn>
              <a:cxn ang="0">
                <a:pos x="4" y="70"/>
              </a:cxn>
              <a:cxn ang="0">
                <a:pos x="14" y="58"/>
              </a:cxn>
              <a:cxn ang="0">
                <a:pos x="62" y="29"/>
              </a:cxn>
              <a:cxn ang="0">
                <a:pos x="163" y="0"/>
              </a:cxn>
              <a:cxn ang="0">
                <a:pos x="311" y="58"/>
              </a:cxn>
              <a:cxn ang="0">
                <a:pos x="318" y="83"/>
              </a:cxn>
              <a:cxn ang="0">
                <a:pos x="295" y="79"/>
              </a:cxn>
              <a:cxn ang="0">
                <a:pos x="251" y="52"/>
              </a:cxn>
              <a:cxn ang="0">
                <a:pos x="85" y="47"/>
              </a:cxn>
              <a:cxn ang="0">
                <a:pos x="28" y="82"/>
              </a:cxn>
              <a:cxn ang="0">
                <a:pos x="27" y="100"/>
              </a:cxn>
              <a:cxn ang="0">
                <a:pos x="115" y="404"/>
              </a:cxn>
              <a:cxn ang="0">
                <a:pos x="162" y="427"/>
              </a:cxn>
              <a:cxn ang="0">
                <a:pos x="183" y="423"/>
              </a:cxn>
              <a:cxn ang="0">
                <a:pos x="287" y="257"/>
              </a:cxn>
              <a:cxn ang="0">
                <a:pos x="258" y="261"/>
              </a:cxn>
              <a:cxn ang="0">
                <a:pos x="146" y="334"/>
              </a:cxn>
              <a:cxn ang="0">
                <a:pos x="69" y="286"/>
              </a:cxn>
              <a:cxn ang="0">
                <a:pos x="58" y="202"/>
              </a:cxn>
              <a:cxn ang="0">
                <a:pos x="162" y="107"/>
              </a:cxn>
              <a:cxn ang="0">
                <a:pos x="229" y="139"/>
              </a:cxn>
              <a:cxn ang="0">
                <a:pos x="237" y="220"/>
              </a:cxn>
              <a:cxn ang="0">
                <a:pos x="215" y="261"/>
              </a:cxn>
              <a:cxn ang="0">
                <a:pos x="195" y="273"/>
              </a:cxn>
              <a:cxn ang="0">
                <a:pos x="179" y="264"/>
              </a:cxn>
              <a:cxn ang="0">
                <a:pos x="167" y="271"/>
              </a:cxn>
              <a:cxn ang="0">
                <a:pos x="115" y="273"/>
              </a:cxn>
              <a:cxn ang="0">
                <a:pos x="93" y="232"/>
              </a:cxn>
              <a:cxn ang="0">
                <a:pos x="118" y="170"/>
              </a:cxn>
              <a:cxn ang="0">
                <a:pos x="160" y="152"/>
              </a:cxn>
              <a:cxn ang="0">
                <a:pos x="199" y="174"/>
              </a:cxn>
              <a:cxn ang="0">
                <a:pos x="205" y="226"/>
              </a:cxn>
              <a:cxn ang="0">
                <a:pos x="218" y="186"/>
              </a:cxn>
              <a:cxn ang="0">
                <a:pos x="178" y="136"/>
              </a:cxn>
              <a:cxn ang="0">
                <a:pos x="112" y="156"/>
              </a:cxn>
              <a:cxn ang="0">
                <a:pos x="82" y="230"/>
              </a:cxn>
              <a:cxn ang="0">
                <a:pos x="117" y="301"/>
              </a:cxn>
              <a:cxn ang="0">
                <a:pos x="211" y="279"/>
              </a:cxn>
              <a:cxn ang="0">
                <a:pos x="249" y="224"/>
              </a:cxn>
              <a:cxn ang="0">
                <a:pos x="298" y="126"/>
              </a:cxn>
              <a:cxn ang="0">
                <a:pos x="302" y="121"/>
              </a:cxn>
              <a:cxn ang="0">
                <a:pos x="311" y="117"/>
              </a:cxn>
              <a:cxn ang="0">
                <a:pos x="311" y="117"/>
              </a:cxn>
              <a:cxn ang="0">
                <a:pos x="311" y="117"/>
              </a:cxn>
              <a:cxn ang="0">
                <a:pos x="320" y="120"/>
              </a:cxn>
              <a:cxn ang="0">
                <a:pos x="322" y="122"/>
              </a:cxn>
              <a:cxn ang="0">
                <a:pos x="322" y="122"/>
              </a:cxn>
              <a:cxn ang="0">
                <a:pos x="324" y="131"/>
              </a:cxn>
              <a:cxn ang="0">
                <a:pos x="228" y="425"/>
              </a:cxn>
              <a:cxn ang="0">
                <a:pos x="163" y="453"/>
              </a:cxn>
              <a:cxn ang="0">
                <a:pos x="172" y="231"/>
              </a:cxn>
              <a:cxn ang="0">
                <a:pos x="180" y="212"/>
              </a:cxn>
              <a:cxn ang="0">
                <a:pos x="176" y="188"/>
              </a:cxn>
              <a:cxn ang="0">
                <a:pos x="160" y="179"/>
              </a:cxn>
              <a:cxn ang="0">
                <a:pos x="137" y="188"/>
              </a:cxn>
              <a:cxn ang="0">
                <a:pos x="120" y="232"/>
              </a:cxn>
              <a:cxn ang="0">
                <a:pos x="128" y="249"/>
              </a:cxn>
              <a:cxn ang="0">
                <a:pos x="154" y="248"/>
              </a:cxn>
            </a:cxnLst>
            <a:rect l="0" t="0" r="r" b="b"/>
            <a:pathLst>
              <a:path w="324" h="453">
                <a:moveTo>
                  <a:pt x="163" y="453"/>
                </a:moveTo>
                <a:cubicBezTo>
                  <a:pt x="163" y="453"/>
                  <a:pt x="163" y="453"/>
                  <a:pt x="163" y="453"/>
                </a:cubicBezTo>
                <a:cubicBezTo>
                  <a:pt x="163" y="453"/>
                  <a:pt x="163" y="453"/>
                  <a:pt x="163" y="453"/>
                </a:cubicBezTo>
                <a:cubicBezTo>
                  <a:pt x="163" y="453"/>
                  <a:pt x="163" y="453"/>
                  <a:pt x="163" y="453"/>
                </a:cubicBezTo>
                <a:cubicBezTo>
                  <a:pt x="163" y="453"/>
                  <a:pt x="163" y="453"/>
                  <a:pt x="163" y="453"/>
                </a:cubicBezTo>
                <a:cubicBezTo>
                  <a:pt x="154" y="453"/>
                  <a:pt x="144" y="452"/>
                  <a:pt x="133" y="448"/>
                </a:cubicBezTo>
                <a:cubicBezTo>
                  <a:pt x="133" y="448"/>
                  <a:pt x="133" y="448"/>
                  <a:pt x="133" y="448"/>
                </a:cubicBezTo>
                <a:cubicBezTo>
                  <a:pt x="122" y="443"/>
                  <a:pt x="110" y="436"/>
                  <a:pt x="97" y="425"/>
                </a:cubicBezTo>
                <a:cubicBezTo>
                  <a:pt x="97" y="425"/>
                  <a:pt x="97" y="425"/>
                  <a:pt x="97" y="425"/>
                </a:cubicBezTo>
                <a:cubicBezTo>
                  <a:pt x="66" y="398"/>
                  <a:pt x="25" y="347"/>
                  <a:pt x="13" y="261"/>
                </a:cubicBezTo>
                <a:cubicBezTo>
                  <a:pt x="13" y="261"/>
                  <a:pt x="13" y="261"/>
                  <a:pt x="13" y="261"/>
                </a:cubicBezTo>
                <a:cubicBezTo>
                  <a:pt x="8" y="228"/>
                  <a:pt x="0" y="145"/>
                  <a:pt x="0" y="100"/>
                </a:cubicBezTo>
                <a:cubicBezTo>
                  <a:pt x="0" y="100"/>
                  <a:pt x="0" y="100"/>
                  <a:pt x="0" y="100"/>
                </a:cubicBezTo>
                <a:cubicBezTo>
                  <a:pt x="0" y="90"/>
                  <a:pt x="1" y="83"/>
                  <a:pt x="2" y="76"/>
                </a:cubicBezTo>
                <a:cubicBezTo>
                  <a:pt x="2" y="76"/>
                  <a:pt x="2" y="76"/>
                  <a:pt x="2" y="76"/>
                </a:cubicBezTo>
                <a:cubicBezTo>
                  <a:pt x="2" y="74"/>
                  <a:pt x="3" y="72"/>
                  <a:pt x="4" y="70"/>
                </a:cubicBezTo>
                <a:cubicBezTo>
                  <a:pt x="4" y="70"/>
                  <a:pt x="4" y="70"/>
                  <a:pt x="4" y="70"/>
                </a:cubicBezTo>
                <a:cubicBezTo>
                  <a:pt x="4" y="68"/>
                  <a:pt x="5" y="66"/>
                  <a:pt x="7" y="64"/>
                </a:cubicBezTo>
                <a:cubicBezTo>
                  <a:pt x="7" y="64"/>
                  <a:pt x="7" y="64"/>
                  <a:pt x="7" y="64"/>
                </a:cubicBezTo>
                <a:cubicBezTo>
                  <a:pt x="9" y="62"/>
                  <a:pt x="11" y="61"/>
                  <a:pt x="14" y="58"/>
                </a:cubicBezTo>
                <a:cubicBezTo>
                  <a:pt x="14" y="58"/>
                  <a:pt x="14" y="58"/>
                  <a:pt x="14"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0"/>
                  <a:pt x="163" y="0"/>
                </a:cubicBezTo>
                <a:cubicBezTo>
                  <a:pt x="163" y="0"/>
                  <a:pt x="163" y="0"/>
                  <a:pt x="163" y="0"/>
                </a:cubicBezTo>
                <a:cubicBezTo>
                  <a:pt x="163" y="0"/>
                  <a:pt x="163" y="0"/>
                  <a:pt x="163" y="0"/>
                </a:cubicBezTo>
                <a:cubicBezTo>
                  <a:pt x="194" y="0"/>
                  <a:pt x="226" y="11"/>
                  <a:pt x="252" y="23"/>
                </a:cubicBezTo>
                <a:cubicBezTo>
                  <a:pt x="252" y="23"/>
                  <a:pt x="252" y="23"/>
                  <a:pt x="252" y="23"/>
                </a:cubicBezTo>
                <a:cubicBezTo>
                  <a:pt x="279" y="36"/>
                  <a:pt x="300" y="50"/>
                  <a:pt x="311" y="58"/>
                </a:cubicBezTo>
                <a:cubicBezTo>
                  <a:pt x="311" y="58"/>
                  <a:pt x="311" y="58"/>
                  <a:pt x="311" y="58"/>
                </a:cubicBezTo>
                <a:cubicBezTo>
                  <a:pt x="314" y="61"/>
                  <a:pt x="316" y="62"/>
                  <a:pt x="318" y="64"/>
                </a:cubicBezTo>
                <a:cubicBezTo>
                  <a:pt x="318" y="64"/>
                  <a:pt x="318" y="64"/>
                  <a:pt x="318" y="64"/>
                </a:cubicBezTo>
                <a:cubicBezTo>
                  <a:pt x="324" y="70"/>
                  <a:pt x="324" y="78"/>
                  <a:pt x="318" y="83"/>
                </a:cubicBezTo>
                <a:cubicBezTo>
                  <a:pt x="318" y="83"/>
                  <a:pt x="318" y="83"/>
                  <a:pt x="318" y="83"/>
                </a:cubicBezTo>
                <a:cubicBezTo>
                  <a:pt x="313" y="88"/>
                  <a:pt x="305" y="88"/>
                  <a:pt x="300" y="83"/>
                </a:cubicBezTo>
                <a:cubicBezTo>
                  <a:pt x="300" y="83"/>
                  <a:pt x="300" y="83"/>
                  <a:pt x="300" y="83"/>
                </a:cubicBezTo>
                <a:cubicBezTo>
                  <a:pt x="299" y="83"/>
                  <a:pt x="298" y="81"/>
                  <a:pt x="295" y="79"/>
                </a:cubicBezTo>
                <a:cubicBezTo>
                  <a:pt x="295" y="79"/>
                  <a:pt x="295" y="79"/>
                  <a:pt x="295" y="79"/>
                </a:cubicBezTo>
                <a:cubicBezTo>
                  <a:pt x="292" y="77"/>
                  <a:pt x="289" y="75"/>
                  <a:pt x="284" y="72"/>
                </a:cubicBezTo>
                <a:cubicBezTo>
                  <a:pt x="284" y="72"/>
                  <a:pt x="284" y="72"/>
                  <a:pt x="284" y="72"/>
                </a:cubicBezTo>
                <a:cubicBezTo>
                  <a:pt x="276" y="66"/>
                  <a:pt x="264" y="59"/>
                  <a:pt x="251" y="52"/>
                </a:cubicBezTo>
                <a:cubicBezTo>
                  <a:pt x="251" y="52"/>
                  <a:pt x="251" y="52"/>
                  <a:pt x="251" y="52"/>
                </a:cubicBezTo>
                <a:cubicBezTo>
                  <a:pt x="225" y="39"/>
                  <a:pt x="192" y="27"/>
                  <a:pt x="163" y="27"/>
                </a:cubicBezTo>
                <a:cubicBezTo>
                  <a:pt x="163" y="27"/>
                  <a:pt x="163" y="27"/>
                  <a:pt x="163" y="27"/>
                </a:cubicBezTo>
                <a:cubicBezTo>
                  <a:pt x="163" y="27"/>
                  <a:pt x="163" y="27"/>
                  <a:pt x="163" y="27"/>
                </a:cubicBezTo>
                <a:cubicBezTo>
                  <a:pt x="137" y="27"/>
                  <a:pt x="109" y="36"/>
                  <a:pt x="85" y="47"/>
                </a:cubicBezTo>
                <a:cubicBezTo>
                  <a:pt x="85" y="47"/>
                  <a:pt x="85" y="47"/>
                  <a:pt x="85" y="47"/>
                </a:cubicBezTo>
                <a:cubicBezTo>
                  <a:pt x="60" y="59"/>
                  <a:pt x="40" y="72"/>
                  <a:pt x="31" y="79"/>
                </a:cubicBezTo>
                <a:cubicBezTo>
                  <a:pt x="31" y="79"/>
                  <a:pt x="31" y="79"/>
                  <a:pt x="31" y="79"/>
                </a:cubicBezTo>
                <a:cubicBezTo>
                  <a:pt x="30" y="80"/>
                  <a:pt x="29" y="81"/>
                  <a:pt x="28" y="82"/>
                </a:cubicBezTo>
                <a:cubicBezTo>
                  <a:pt x="28" y="82"/>
                  <a:pt x="28" y="82"/>
                  <a:pt x="28" y="82"/>
                </a:cubicBezTo>
                <a:cubicBezTo>
                  <a:pt x="28" y="82"/>
                  <a:pt x="28" y="83"/>
                  <a:pt x="28" y="84"/>
                </a:cubicBezTo>
                <a:cubicBezTo>
                  <a:pt x="28" y="84"/>
                  <a:pt x="28" y="84"/>
                  <a:pt x="28" y="84"/>
                </a:cubicBezTo>
                <a:cubicBezTo>
                  <a:pt x="27" y="87"/>
                  <a:pt x="27" y="93"/>
                  <a:pt x="27" y="100"/>
                </a:cubicBezTo>
                <a:cubicBezTo>
                  <a:pt x="27" y="100"/>
                  <a:pt x="27" y="100"/>
                  <a:pt x="27" y="100"/>
                </a:cubicBezTo>
                <a:cubicBezTo>
                  <a:pt x="27" y="142"/>
                  <a:pt x="34" y="227"/>
                  <a:pt x="39" y="257"/>
                </a:cubicBezTo>
                <a:cubicBezTo>
                  <a:pt x="39" y="257"/>
                  <a:pt x="39" y="257"/>
                  <a:pt x="39" y="257"/>
                </a:cubicBezTo>
                <a:cubicBezTo>
                  <a:pt x="51" y="337"/>
                  <a:pt x="88" y="381"/>
                  <a:pt x="115" y="404"/>
                </a:cubicBezTo>
                <a:cubicBezTo>
                  <a:pt x="115" y="404"/>
                  <a:pt x="115" y="404"/>
                  <a:pt x="115" y="404"/>
                </a:cubicBezTo>
                <a:cubicBezTo>
                  <a:pt x="126" y="414"/>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5" y="426"/>
                  <a:pt x="183" y="423"/>
                </a:cubicBezTo>
                <a:cubicBezTo>
                  <a:pt x="183" y="423"/>
                  <a:pt x="183" y="423"/>
                  <a:pt x="183" y="423"/>
                </a:cubicBezTo>
                <a:cubicBezTo>
                  <a:pt x="190" y="420"/>
                  <a:pt x="200" y="414"/>
                  <a:pt x="211" y="404"/>
                </a:cubicBezTo>
                <a:cubicBezTo>
                  <a:pt x="211" y="404"/>
                  <a:pt x="211" y="404"/>
                  <a:pt x="211" y="404"/>
                </a:cubicBezTo>
                <a:cubicBezTo>
                  <a:pt x="238" y="381"/>
                  <a:pt x="275" y="337"/>
                  <a:pt x="287" y="257"/>
                </a:cubicBezTo>
                <a:cubicBezTo>
                  <a:pt x="287" y="257"/>
                  <a:pt x="287" y="257"/>
                  <a:pt x="287" y="257"/>
                </a:cubicBezTo>
                <a:cubicBezTo>
                  <a:pt x="288" y="245"/>
                  <a:pt x="291" y="224"/>
                  <a:pt x="293" y="200"/>
                </a:cubicBezTo>
                <a:cubicBezTo>
                  <a:pt x="293" y="200"/>
                  <a:pt x="293" y="200"/>
                  <a:pt x="293" y="200"/>
                </a:cubicBezTo>
                <a:cubicBezTo>
                  <a:pt x="282" y="220"/>
                  <a:pt x="270" y="242"/>
                  <a:pt x="258" y="261"/>
                </a:cubicBezTo>
                <a:cubicBezTo>
                  <a:pt x="258" y="261"/>
                  <a:pt x="258" y="261"/>
                  <a:pt x="258" y="261"/>
                </a:cubicBezTo>
                <a:cubicBezTo>
                  <a:pt x="248" y="276"/>
                  <a:pt x="239" y="289"/>
                  <a:pt x="229" y="298"/>
                </a:cubicBezTo>
                <a:cubicBezTo>
                  <a:pt x="229" y="298"/>
                  <a:pt x="229" y="298"/>
                  <a:pt x="229" y="298"/>
                </a:cubicBezTo>
                <a:cubicBezTo>
                  <a:pt x="205" y="322"/>
                  <a:pt x="174" y="334"/>
                  <a:pt x="146" y="334"/>
                </a:cubicBezTo>
                <a:cubicBezTo>
                  <a:pt x="146" y="334"/>
                  <a:pt x="146" y="334"/>
                  <a:pt x="146" y="334"/>
                </a:cubicBezTo>
                <a:cubicBezTo>
                  <a:pt x="131" y="334"/>
                  <a:pt x="117" y="331"/>
                  <a:pt x="104" y="324"/>
                </a:cubicBezTo>
                <a:cubicBezTo>
                  <a:pt x="104" y="324"/>
                  <a:pt x="104" y="324"/>
                  <a:pt x="104" y="324"/>
                </a:cubicBezTo>
                <a:cubicBezTo>
                  <a:pt x="90" y="316"/>
                  <a:pt x="78" y="303"/>
                  <a:pt x="69" y="286"/>
                </a:cubicBezTo>
                <a:cubicBezTo>
                  <a:pt x="69" y="286"/>
                  <a:pt x="69" y="286"/>
                  <a:pt x="69" y="286"/>
                </a:cubicBezTo>
                <a:cubicBezTo>
                  <a:pt x="60" y="270"/>
                  <a:pt x="55" y="251"/>
                  <a:pt x="55" y="230"/>
                </a:cubicBezTo>
                <a:cubicBezTo>
                  <a:pt x="55" y="230"/>
                  <a:pt x="55" y="230"/>
                  <a:pt x="55" y="230"/>
                </a:cubicBezTo>
                <a:cubicBezTo>
                  <a:pt x="55" y="221"/>
                  <a:pt x="56" y="211"/>
                  <a:pt x="58" y="202"/>
                </a:cubicBezTo>
                <a:cubicBezTo>
                  <a:pt x="58" y="202"/>
                  <a:pt x="58" y="202"/>
                  <a:pt x="58" y="202"/>
                </a:cubicBezTo>
                <a:cubicBezTo>
                  <a:pt x="64" y="178"/>
                  <a:pt x="76" y="155"/>
                  <a:pt x="93" y="138"/>
                </a:cubicBezTo>
                <a:cubicBezTo>
                  <a:pt x="93" y="138"/>
                  <a:pt x="93" y="138"/>
                  <a:pt x="93" y="138"/>
                </a:cubicBezTo>
                <a:cubicBezTo>
                  <a:pt x="111" y="120"/>
                  <a:pt x="134" y="107"/>
                  <a:pt x="162" y="107"/>
                </a:cubicBezTo>
                <a:cubicBezTo>
                  <a:pt x="162" y="107"/>
                  <a:pt x="162" y="107"/>
                  <a:pt x="162" y="107"/>
                </a:cubicBezTo>
                <a:cubicBezTo>
                  <a:pt x="169" y="107"/>
                  <a:pt x="176" y="108"/>
                  <a:pt x="184" y="110"/>
                </a:cubicBezTo>
                <a:cubicBezTo>
                  <a:pt x="184" y="110"/>
                  <a:pt x="184" y="110"/>
                  <a:pt x="184" y="110"/>
                </a:cubicBezTo>
                <a:cubicBezTo>
                  <a:pt x="204" y="114"/>
                  <a:pt x="219" y="125"/>
                  <a:pt x="229" y="139"/>
                </a:cubicBezTo>
                <a:cubicBezTo>
                  <a:pt x="229" y="139"/>
                  <a:pt x="229" y="139"/>
                  <a:pt x="229" y="139"/>
                </a:cubicBezTo>
                <a:cubicBezTo>
                  <a:pt x="240" y="152"/>
                  <a:pt x="245" y="169"/>
                  <a:pt x="245" y="186"/>
                </a:cubicBezTo>
                <a:cubicBezTo>
                  <a:pt x="245" y="186"/>
                  <a:pt x="245" y="186"/>
                  <a:pt x="245" y="186"/>
                </a:cubicBezTo>
                <a:cubicBezTo>
                  <a:pt x="245" y="197"/>
                  <a:pt x="242" y="209"/>
                  <a:pt x="237" y="220"/>
                </a:cubicBezTo>
                <a:cubicBezTo>
                  <a:pt x="237" y="220"/>
                  <a:pt x="237" y="220"/>
                  <a:pt x="237" y="220"/>
                </a:cubicBezTo>
                <a:cubicBezTo>
                  <a:pt x="234" y="227"/>
                  <a:pt x="231" y="235"/>
                  <a:pt x="227" y="242"/>
                </a:cubicBezTo>
                <a:cubicBezTo>
                  <a:pt x="227" y="242"/>
                  <a:pt x="227" y="242"/>
                  <a:pt x="227" y="242"/>
                </a:cubicBezTo>
                <a:cubicBezTo>
                  <a:pt x="223" y="249"/>
                  <a:pt x="219" y="255"/>
                  <a:pt x="215" y="261"/>
                </a:cubicBezTo>
                <a:cubicBezTo>
                  <a:pt x="215" y="261"/>
                  <a:pt x="215" y="261"/>
                  <a:pt x="215" y="261"/>
                </a:cubicBezTo>
                <a:cubicBezTo>
                  <a:pt x="212" y="264"/>
                  <a:pt x="210" y="268"/>
                  <a:pt x="205" y="270"/>
                </a:cubicBezTo>
                <a:cubicBezTo>
                  <a:pt x="205" y="270"/>
                  <a:pt x="205" y="270"/>
                  <a:pt x="205" y="270"/>
                </a:cubicBezTo>
                <a:cubicBezTo>
                  <a:pt x="203" y="272"/>
                  <a:pt x="199" y="273"/>
                  <a:pt x="195" y="273"/>
                </a:cubicBezTo>
                <a:cubicBezTo>
                  <a:pt x="195" y="273"/>
                  <a:pt x="195" y="273"/>
                  <a:pt x="195" y="273"/>
                </a:cubicBezTo>
                <a:cubicBezTo>
                  <a:pt x="191" y="274"/>
                  <a:pt x="188" y="272"/>
                  <a:pt x="185" y="270"/>
                </a:cubicBezTo>
                <a:cubicBezTo>
                  <a:pt x="185" y="270"/>
                  <a:pt x="185" y="270"/>
                  <a:pt x="185" y="270"/>
                </a:cubicBezTo>
                <a:cubicBezTo>
                  <a:pt x="182" y="269"/>
                  <a:pt x="180" y="266"/>
                  <a:pt x="179" y="264"/>
                </a:cubicBezTo>
                <a:cubicBezTo>
                  <a:pt x="179" y="264"/>
                  <a:pt x="179" y="264"/>
                  <a:pt x="179" y="264"/>
                </a:cubicBezTo>
                <a:cubicBezTo>
                  <a:pt x="179" y="264"/>
                  <a:pt x="179" y="264"/>
                  <a:pt x="179" y="263"/>
                </a:cubicBezTo>
                <a:cubicBezTo>
                  <a:pt x="179" y="263"/>
                  <a:pt x="179" y="263"/>
                  <a:pt x="179" y="263"/>
                </a:cubicBezTo>
                <a:cubicBezTo>
                  <a:pt x="175" y="266"/>
                  <a:pt x="172" y="269"/>
                  <a:pt x="167" y="271"/>
                </a:cubicBezTo>
                <a:cubicBezTo>
                  <a:pt x="167" y="271"/>
                  <a:pt x="167" y="271"/>
                  <a:pt x="167" y="271"/>
                </a:cubicBezTo>
                <a:cubicBezTo>
                  <a:pt x="159" y="276"/>
                  <a:pt x="149" y="279"/>
                  <a:pt x="139" y="279"/>
                </a:cubicBezTo>
                <a:cubicBezTo>
                  <a:pt x="139" y="279"/>
                  <a:pt x="139" y="279"/>
                  <a:pt x="139" y="279"/>
                </a:cubicBezTo>
                <a:cubicBezTo>
                  <a:pt x="131" y="279"/>
                  <a:pt x="123" y="277"/>
                  <a:pt x="115" y="273"/>
                </a:cubicBezTo>
                <a:cubicBezTo>
                  <a:pt x="115" y="273"/>
                  <a:pt x="115" y="273"/>
                  <a:pt x="115" y="273"/>
                </a:cubicBezTo>
                <a:cubicBezTo>
                  <a:pt x="107" y="269"/>
                  <a:pt x="100" y="262"/>
                  <a:pt x="97" y="253"/>
                </a:cubicBezTo>
                <a:cubicBezTo>
                  <a:pt x="97" y="253"/>
                  <a:pt x="97" y="253"/>
                  <a:pt x="97" y="253"/>
                </a:cubicBezTo>
                <a:cubicBezTo>
                  <a:pt x="94" y="246"/>
                  <a:pt x="93" y="239"/>
                  <a:pt x="93" y="232"/>
                </a:cubicBezTo>
                <a:cubicBezTo>
                  <a:pt x="93" y="232"/>
                  <a:pt x="93" y="232"/>
                  <a:pt x="93" y="232"/>
                </a:cubicBezTo>
                <a:cubicBezTo>
                  <a:pt x="93" y="219"/>
                  <a:pt x="96" y="207"/>
                  <a:pt x="101" y="196"/>
                </a:cubicBezTo>
                <a:cubicBezTo>
                  <a:pt x="101" y="196"/>
                  <a:pt x="101" y="196"/>
                  <a:pt x="101" y="196"/>
                </a:cubicBezTo>
                <a:cubicBezTo>
                  <a:pt x="106" y="186"/>
                  <a:pt x="111" y="176"/>
                  <a:pt x="118" y="170"/>
                </a:cubicBezTo>
                <a:cubicBezTo>
                  <a:pt x="118" y="170"/>
                  <a:pt x="118" y="170"/>
                  <a:pt x="118" y="170"/>
                </a:cubicBezTo>
                <a:cubicBezTo>
                  <a:pt x="123" y="165"/>
                  <a:pt x="129" y="161"/>
                  <a:pt x="136" y="157"/>
                </a:cubicBezTo>
                <a:cubicBezTo>
                  <a:pt x="136" y="157"/>
                  <a:pt x="136" y="157"/>
                  <a:pt x="136" y="157"/>
                </a:cubicBezTo>
                <a:cubicBezTo>
                  <a:pt x="143" y="154"/>
                  <a:pt x="151" y="152"/>
                  <a:pt x="160" y="152"/>
                </a:cubicBezTo>
                <a:cubicBezTo>
                  <a:pt x="160" y="152"/>
                  <a:pt x="160" y="152"/>
                  <a:pt x="160" y="152"/>
                </a:cubicBezTo>
                <a:cubicBezTo>
                  <a:pt x="167" y="152"/>
                  <a:pt x="174" y="154"/>
                  <a:pt x="181" y="157"/>
                </a:cubicBezTo>
                <a:cubicBezTo>
                  <a:pt x="181" y="157"/>
                  <a:pt x="181" y="157"/>
                  <a:pt x="181" y="157"/>
                </a:cubicBezTo>
                <a:cubicBezTo>
                  <a:pt x="188" y="161"/>
                  <a:pt x="194" y="166"/>
                  <a:pt x="199" y="174"/>
                </a:cubicBezTo>
                <a:cubicBezTo>
                  <a:pt x="199" y="174"/>
                  <a:pt x="199" y="174"/>
                  <a:pt x="199" y="174"/>
                </a:cubicBezTo>
                <a:cubicBezTo>
                  <a:pt x="205" y="184"/>
                  <a:pt x="207" y="195"/>
                  <a:pt x="207" y="205"/>
                </a:cubicBezTo>
                <a:cubicBezTo>
                  <a:pt x="207" y="205"/>
                  <a:pt x="207" y="205"/>
                  <a:pt x="207" y="205"/>
                </a:cubicBezTo>
                <a:cubicBezTo>
                  <a:pt x="207" y="212"/>
                  <a:pt x="206" y="219"/>
                  <a:pt x="205" y="226"/>
                </a:cubicBezTo>
                <a:cubicBezTo>
                  <a:pt x="205" y="226"/>
                  <a:pt x="205" y="226"/>
                  <a:pt x="205" y="226"/>
                </a:cubicBezTo>
                <a:cubicBezTo>
                  <a:pt x="208" y="220"/>
                  <a:pt x="210" y="215"/>
                  <a:pt x="213" y="209"/>
                </a:cubicBezTo>
                <a:cubicBezTo>
                  <a:pt x="213" y="209"/>
                  <a:pt x="213" y="209"/>
                  <a:pt x="213" y="209"/>
                </a:cubicBezTo>
                <a:cubicBezTo>
                  <a:pt x="216" y="201"/>
                  <a:pt x="218" y="193"/>
                  <a:pt x="218" y="186"/>
                </a:cubicBezTo>
                <a:cubicBezTo>
                  <a:pt x="218" y="186"/>
                  <a:pt x="218" y="186"/>
                  <a:pt x="218" y="186"/>
                </a:cubicBezTo>
                <a:cubicBezTo>
                  <a:pt x="218" y="174"/>
                  <a:pt x="215" y="163"/>
                  <a:pt x="208" y="155"/>
                </a:cubicBezTo>
                <a:cubicBezTo>
                  <a:pt x="208" y="155"/>
                  <a:pt x="208" y="155"/>
                  <a:pt x="208" y="155"/>
                </a:cubicBezTo>
                <a:cubicBezTo>
                  <a:pt x="201" y="146"/>
                  <a:pt x="192" y="139"/>
                  <a:pt x="178" y="136"/>
                </a:cubicBezTo>
                <a:cubicBezTo>
                  <a:pt x="178" y="136"/>
                  <a:pt x="178" y="136"/>
                  <a:pt x="178" y="136"/>
                </a:cubicBezTo>
                <a:cubicBezTo>
                  <a:pt x="172" y="135"/>
                  <a:pt x="167" y="134"/>
                  <a:pt x="162" y="134"/>
                </a:cubicBezTo>
                <a:cubicBezTo>
                  <a:pt x="162" y="134"/>
                  <a:pt x="162" y="134"/>
                  <a:pt x="162" y="134"/>
                </a:cubicBezTo>
                <a:cubicBezTo>
                  <a:pt x="143" y="134"/>
                  <a:pt x="126" y="143"/>
                  <a:pt x="112" y="156"/>
                </a:cubicBezTo>
                <a:cubicBezTo>
                  <a:pt x="112" y="156"/>
                  <a:pt x="112" y="156"/>
                  <a:pt x="112" y="156"/>
                </a:cubicBezTo>
                <a:cubicBezTo>
                  <a:pt x="99" y="170"/>
                  <a:pt x="89" y="189"/>
                  <a:pt x="84" y="208"/>
                </a:cubicBezTo>
                <a:cubicBezTo>
                  <a:pt x="84" y="208"/>
                  <a:pt x="84" y="208"/>
                  <a:pt x="84" y="208"/>
                </a:cubicBezTo>
                <a:cubicBezTo>
                  <a:pt x="83" y="215"/>
                  <a:pt x="82" y="223"/>
                  <a:pt x="82" y="230"/>
                </a:cubicBezTo>
                <a:cubicBezTo>
                  <a:pt x="82" y="230"/>
                  <a:pt x="82" y="230"/>
                  <a:pt x="82" y="230"/>
                </a:cubicBezTo>
                <a:cubicBezTo>
                  <a:pt x="82" y="246"/>
                  <a:pt x="86" y="262"/>
                  <a:pt x="92" y="274"/>
                </a:cubicBezTo>
                <a:cubicBezTo>
                  <a:pt x="92" y="274"/>
                  <a:pt x="92" y="274"/>
                  <a:pt x="92" y="274"/>
                </a:cubicBezTo>
                <a:cubicBezTo>
                  <a:pt x="99" y="286"/>
                  <a:pt x="108" y="296"/>
                  <a:pt x="117" y="301"/>
                </a:cubicBezTo>
                <a:cubicBezTo>
                  <a:pt x="117" y="301"/>
                  <a:pt x="117" y="301"/>
                  <a:pt x="117" y="301"/>
                </a:cubicBezTo>
                <a:cubicBezTo>
                  <a:pt x="125" y="305"/>
                  <a:pt x="135" y="308"/>
                  <a:pt x="146" y="308"/>
                </a:cubicBezTo>
                <a:cubicBezTo>
                  <a:pt x="146" y="308"/>
                  <a:pt x="146" y="308"/>
                  <a:pt x="146" y="308"/>
                </a:cubicBezTo>
                <a:cubicBezTo>
                  <a:pt x="167" y="308"/>
                  <a:pt x="191" y="299"/>
                  <a:pt x="211" y="279"/>
                </a:cubicBezTo>
                <a:cubicBezTo>
                  <a:pt x="211" y="279"/>
                  <a:pt x="211" y="279"/>
                  <a:pt x="211" y="279"/>
                </a:cubicBezTo>
                <a:cubicBezTo>
                  <a:pt x="216" y="274"/>
                  <a:pt x="222" y="266"/>
                  <a:pt x="229" y="256"/>
                </a:cubicBezTo>
                <a:cubicBezTo>
                  <a:pt x="229" y="256"/>
                  <a:pt x="229" y="256"/>
                  <a:pt x="229" y="256"/>
                </a:cubicBezTo>
                <a:cubicBezTo>
                  <a:pt x="235" y="247"/>
                  <a:pt x="242" y="235"/>
                  <a:pt x="249" y="224"/>
                </a:cubicBezTo>
                <a:cubicBezTo>
                  <a:pt x="249" y="224"/>
                  <a:pt x="249" y="224"/>
                  <a:pt x="249" y="224"/>
                </a:cubicBezTo>
                <a:cubicBezTo>
                  <a:pt x="263" y="200"/>
                  <a:pt x="276" y="174"/>
                  <a:pt x="286" y="154"/>
                </a:cubicBezTo>
                <a:cubicBezTo>
                  <a:pt x="286" y="154"/>
                  <a:pt x="286" y="154"/>
                  <a:pt x="286" y="154"/>
                </a:cubicBezTo>
                <a:cubicBezTo>
                  <a:pt x="292" y="141"/>
                  <a:pt x="297" y="130"/>
                  <a:pt x="298" y="126"/>
                </a:cubicBezTo>
                <a:cubicBezTo>
                  <a:pt x="298" y="126"/>
                  <a:pt x="298" y="126"/>
                  <a:pt x="298" y="126"/>
                </a:cubicBezTo>
                <a:cubicBezTo>
                  <a:pt x="298" y="126"/>
                  <a:pt x="298" y="126"/>
                  <a:pt x="298" y="126"/>
                </a:cubicBezTo>
                <a:cubicBezTo>
                  <a:pt x="299" y="124"/>
                  <a:pt x="300" y="122"/>
                  <a:pt x="302" y="121"/>
                </a:cubicBezTo>
                <a:cubicBezTo>
                  <a:pt x="302" y="121"/>
                  <a:pt x="302" y="121"/>
                  <a:pt x="302" y="121"/>
                </a:cubicBezTo>
                <a:cubicBezTo>
                  <a:pt x="304" y="118"/>
                  <a:pt x="308"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5" y="117"/>
                  <a:pt x="318" y="118"/>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1" y="121"/>
                  <a:pt x="321"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3"/>
                  <a:pt x="322" y="123"/>
                </a:cubicBezTo>
                <a:cubicBezTo>
                  <a:pt x="322" y="123"/>
                  <a:pt x="322" y="123"/>
                  <a:pt x="322" y="123"/>
                </a:cubicBezTo>
                <a:cubicBezTo>
                  <a:pt x="324" y="125"/>
                  <a:pt x="324" y="128"/>
                  <a:pt x="324" y="131"/>
                </a:cubicBezTo>
                <a:cubicBezTo>
                  <a:pt x="324" y="131"/>
                  <a:pt x="324" y="131"/>
                  <a:pt x="324" y="131"/>
                </a:cubicBezTo>
                <a:cubicBezTo>
                  <a:pt x="322" y="176"/>
                  <a:pt x="317" y="235"/>
                  <a:pt x="313" y="261"/>
                </a:cubicBezTo>
                <a:cubicBezTo>
                  <a:pt x="313" y="261"/>
                  <a:pt x="313" y="261"/>
                  <a:pt x="313" y="261"/>
                </a:cubicBezTo>
                <a:cubicBezTo>
                  <a:pt x="300" y="347"/>
                  <a:pt x="259" y="398"/>
                  <a:pt x="228" y="425"/>
                </a:cubicBezTo>
                <a:cubicBezTo>
                  <a:pt x="228" y="425"/>
                  <a:pt x="228" y="425"/>
                  <a:pt x="228" y="425"/>
                </a:cubicBezTo>
                <a:cubicBezTo>
                  <a:pt x="215" y="436"/>
                  <a:pt x="204" y="443"/>
                  <a:pt x="193" y="448"/>
                </a:cubicBezTo>
                <a:cubicBezTo>
                  <a:pt x="193" y="448"/>
                  <a:pt x="193" y="448"/>
                  <a:pt x="193" y="448"/>
                </a:cubicBezTo>
                <a:cubicBezTo>
                  <a:pt x="182" y="452"/>
                  <a:pt x="172" y="453"/>
                  <a:pt x="163" y="453"/>
                </a:cubicBezTo>
                <a:cubicBezTo>
                  <a:pt x="163" y="453"/>
                  <a:pt x="163" y="453"/>
                  <a:pt x="163" y="453"/>
                </a:cubicBezTo>
                <a:cubicBezTo>
                  <a:pt x="163" y="453"/>
                  <a:pt x="163" y="453"/>
                  <a:pt x="163" y="453"/>
                </a:cubicBezTo>
                <a:close/>
                <a:moveTo>
                  <a:pt x="154" y="248"/>
                </a:moveTo>
                <a:cubicBezTo>
                  <a:pt x="162" y="243"/>
                  <a:pt x="168" y="237"/>
                  <a:pt x="172" y="231"/>
                </a:cubicBezTo>
                <a:cubicBezTo>
                  <a:pt x="172" y="231"/>
                  <a:pt x="172" y="231"/>
                  <a:pt x="172" y="231"/>
                </a:cubicBezTo>
                <a:cubicBezTo>
                  <a:pt x="176" y="225"/>
                  <a:pt x="178" y="220"/>
                  <a:pt x="179" y="216"/>
                </a:cubicBezTo>
                <a:cubicBezTo>
                  <a:pt x="179" y="216"/>
                  <a:pt x="179" y="216"/>
                  <a:pt x="179" y="216"/>
                </a:cubicBezTo>
                <a:cubicBezTo>
                  <a:pt x="180" y="214"/>
                  <a:pt x="180" y="213"/>
                  <a:pt x="180" y="212"/>
                </a:cubicBezTo>
                <a:cubicBezTo>
                  <a:pt x="180" y="212"/>
                  <a:pt x="180" y="212"/>
                  <a:pt x="180" y="212"/>
                </a:cubicBezTo>
                <a:cubicBezTo>
                  <a:pt x="180" y="210"/>
                  <a:pt x="180" y="207"/>
                  <a:pt x="180" y="205"/>
                </a:cubicBezTo>
                <a:cubicBezTo>
                  <a:pt x="180" y="205"/>
                  <a:pt x="180" y="205"/>
                  <a:pt x="180" y="205"/>
                </a:cubicBezTo>
                <a:cubicBezTo>
                  <a:pt x="180" y="198"/>
                  <a:pt x="179" y="193"/>
                  <a:pt x="176" y="188"/>
                </a:cubicBezTo>
                <a:cubicBezTo>
                  <a:pt x="176" y="188"/>
                  <a:pt x="176" y="188"/>
                  <a:pt x="176" y="188"/>
                </a:cubicBezTo>
                <a:cubicBezTo>
                  <a:pt x="174" y="185"/>
                  <a:pt x="171" y="182"/>
                  <a:pt x="169" y="181"/>
                </a:cubicBezTo>
                <a:cubicBezTo>
                  <a:pt x="169" y="181"/>
                  <a:pt x="169" y="181"/>
                  <a:pt x="169" y="181"/>
                </a:cubicBezTo>
                <a:cubicBezTo>
                  <a:pt x="166" y="180"/>
                  <a:pt x="163" y="179"/>
                  <a:pt x="160" y="179"/>
                </a:cubicBezTo>
                <a:cubicBezTo>
                  <a:pt x="160" y="179"/>
                  <a:pt x="160" y="179"/>
                  <a:pt x="160" y="179"/>
                </a:cubicBezTo>
                <a:cubicBezTo>
                  <a:pt x="156" y="179"/>
                  <a:pt x="151" y="180"/>
                  <a:pt x="147" y="182"/>
                </a:cubicBezTo>
                <a:cubicBezTo>
                  <a:pt x="147" y="182"/>
                  <a:pt x="147" y="182"/>
                  <a:pt x="147" y="182"/>
                </a:cubicBezTo>
                <a:cubicBezTo>
                  <a:pt x="143" y="184"/>
                  <a:pt x="139" y="186"/>
                  <a:pt x="137" y="188"/>
                </a:cubicBezTo>
                <a:cubicBezTo>
                  <a:pt x="137" y="188"/>
                  <a:pt x="137" y="188"/>
                  <a:pt x="137" y="188"/>
                </a:cubicBezTo>
                <a:cubicBezTo>
                  <a:pt x="134" y="192"/>
                  <a:pt x="129" y="199"/>
                  <a:pt x="125" y="207"/>
                </a:cubicBezTo>
                <a:cubicBezTo>
                  <a:pt x="125" y="207"/>
                  <a:pt x="125" y="207"/>
                  <a:pt x="125" y="207"/>
                </a:cubicBezTo>
                <a:cubicBezTo>
                  <a:pt x="122" y="215"/>
                  <a:pt x="120" y="224"/>
                  <a:pt x="120" y="232"/>
                </a:cubicBezTo>
                <a:cubicBezTo>
                  <a:pt x="120" y="232"/>
                  <a:pt x="120" y="232"/>
                  <a:pt x="120" y="232"/>
                </a:cubicBezTo>
                <a:cubicBezTo>
                  <a:pt x="120" y="236"/>
                  <a:pt x="120" y="240"/>
                  <a:pt x="122" y="243"/>
                </a:cubicBezTo>
                <a:cubicBezTo>
                  <a:pt x="122" y="243"/>
                  <a:pt x="122" y="243"/>
                  <a:pt x="122" y="243"/>
                </a:cubicBezTo>
                <a:cubicBezTo>
                  <a:pt x="123" y="246"/>
                  <a:pt x="125" y="248"/>
                  <a:pt x="128" y="249"/>
                </a:cubicBezTo>
                <a:cubicBezTo>
                  <a:pt x="128" y="249"/>
                  <a:pt x="128" y="249"/>
                  <a:pt x="128" y="249"/>
                </a:cubicBezTo>
                <a:cubicBezTo>
                  <a:pt x="131" y="251"/>
                  <a:pt x="135" y="252"/>
                  <a:pt x="139" y="252"/>
                </a:cubicBezTo>
                <a:cubicBezTo>
                  <a:pt x="139" y="252"/>
                  <a:pt x="139" y="252"/>
                  <a:pt x="139" y="252"/>
                </a:cubicBezTo>
                <a:cubicBezTo>
                  <a:pt x="145" y="252"/>
                  <a:pt x="150" y="250"/>
                  <a:pt x="154" y="24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21" name="Freeform 533"/>
          <p:cNvSpPr>
            <a:spLocks/>
          </p:cNvSpPr>
          <p:nvPr userDrawn="1"/>
        </p:nvSpPr>
        <p:spPr bwMode="auto">
          <a:xfrm>
            <a:off x="6541873" y="2314656"/>
            <a:ext cx="388245" cy="242888"/>
          </a:xfrm>
          <a:custGeom>
            <a:avLst/>
            <a:gdLst/>
            <a:ahLst/>
            <a:cxnLst>
              <a:cxn ang="0">
                <a:pos x="225" y="0"/>
              </a:cxn>
              <a:cxn ang="0">
                <a:pos x="199" y="31"/>
              </a:cxn>
              <a:cxn ang="0">
                <a:pos x="199" y="39"/>
              </a:cxn>
              <a:cxn ang="0">
                <a:pos x="122" y="39"/>
              </a:cxn>
              <a:cxn ang="0">
                <a:pos x="92" y="70"/>
              </a:cxn>
              <a:cxn ang="0">
                <a:pos x="92" y="70"/>
              </a:cxn>
              <a:cxn ang="0">
                <a:pos x="105" y="84"/>
              </a:cxn>
              <a:cxn ang="0">
                <a:pos x="118" y="70"/>
              </a:cxn>
              <a:cxn ang="0">
                <a:pos x="118" y="70"/>
              </a:cxn>
              <a:cxn ang="0">
                <a:pos x="122" y="66"/>
              </a:cxn>
              <a:cxn ang="0">
                <a:pos x="213" y="66"/>
              </a:cxn>
              <a:cxn ang="0">
                <a:pos x="226" y="53"/>
              </a:cxn>
              <a:cxn ang="0">
                <a:pos x="226" y="31"/>
              </a:cxn>
              <a:cxn ang="0">
                <a:pos x="227" y="26"/>
              </a:cxn>
              <a:cxn ang="0">
                <a:pos x="323" y="26"/>
              </a:cxn>
              <a:cxn ang="0">
                <a:pos x="324" y="31"/>
              </a:cxn>
              <a:cxn ang="0">
                <a:pos x="324" y="53"/>
              </a:cxn>
              <a:cxn ang="0">
                <a:pos x="337" y="66"/>
              </a:cxn>
              <a:cxn ang="0">
                <a:pos x="428" y="66"/>
              </a:cxn>
              <a:cxn ang="0">
                <a:pos x="431" y="70"/>
              </a:cxn>
              <a:cxn ang="0">
                <a:pos x="431" y="257"/>
              </a:cxn>
              <a:cxn ang="0">
                <a:pos x="428" y="261"/>
              </a:cxn>
              <a:cxn ang="0">
                <a:pos x="122" y="261"/>
              </a:cxn>
              <a:cxn ang="0">
                <a:pos x="111" y="251"/>
              </a:cxn>
              <a:cxn ang="0">
                <a:pos x="111" y="250"/>
              </a:cxn>
              <a:cxn ang="0">
                <a:pos x="35" y="125"/>
              </a:cxn>
              <a:cxn ang="0">
                <a:pos x="34" y="124"/>
              </a:cxn>
              <a:cxn ang="0">
                <a:pos x="32" y="120"/>
              </a:cxn>
              <a:cxn ang="0">
                <a:pos x="331" y="120"/>
              </a:cxn>
              <a:cxn ang="0">
                <a:pos x="396" y="236"/>
              </a:cxn>
              <a:cxn ang="0">
                <a:pos x="414" y="241"/>
              </a:cxn>
              <a:cxn ang="0">
                <a:pos x="419" y="222"/>
              </a:cxn>
              <a:cxn ang="0">
                <a:pos x="351" y="100"/>
              </a:cxn>
              <a:cxn ang="0">
                <a:pos x="339" y="94"/>
              </a:cxn>
              <a:cxn ang="0">
                <a:pos x="31" y="94"/>
              </a:cxn>
              <a:cxn ang="0">
                <a:pos x="7" y="106"/>
              </a:cxn>
              <a:cxn ang="0">
                <a:pos x="12" y="139"/>
              </a:cxn>
              <a:cxn ang="0">
                <a:pos x="12" y="139"/>
              </a:cxn>
              <a:cxn ang="0">
                <a:pos x="88" y="264"/>
              </a:cxn>
              <a:cxn ang="0">
                <a:pos x="88" y="264"/>
              </a:cxn>
              <a:cxn ang="0">
                <a:pos x="122" y="288"/>
              </a:cxn>
              <a:cxn ang="0">
                <a:pos x="428" y="288"/>
              </a:cxn>
              <a:cxn ang="0">
                <a:pos x="458" y="257"/>
              </a:cxn>
              <a:cxn ang="0">
                <a:pos x="458" y="70"/>
              </a:cxn>
              <a:cxn ang="0">
                <a:pos x="428" y="39"/>
              </a:cxn>
              <a:cxn ang="0">
                <a:pos x="350" y="39"/>
              </a:cxn>
              <a:cxn ang="0">
                <a:pos x="350" y="31"/>
              </a:cxn>
              <a:cxn ang="0">
                <a:pos x="325" y="0"/>
              </a:cxn>
              <a:cxn ang="0">
                <a:pos x="225" y="0"/>
              </a:cxn>
            </a:cxnLst>
            <a:rect l="0" t="0" r="r" b="b"/>
            <a:pathLst>
              <a:path w="458" h="288">
                <a:moveTo>
                  <a:pt x="225" y="0"/>
                </a:moveTo>
                <a:cubicBezTo>
                  <a:pt x="211" y="0"/>
                  <a:pt x="199" y="13"/>
                  <a:pt x="199" y="31"/>
                </a:cubicBezTo>
                <a:cubicBezTo>
                  <a:pt x="199" y="31"/>
                  <a:pt x="199" y="35"/>
                  <a:pt x="199" y="39"/>
                </a:cubicBezTo>
                <a:cubicBezTo>
                  <a:pt x="180" y="39"/>
                  <a:pt x="122" y="39"/>
                  <a:pt x="122" y="39"/>
                </a:cubicBezTo>
                <a:cubicBezTo>
                  <a:pt x="105" y="39"/>
                  <a:pt x="92" y="53"/>
                  <a:pt x="92" y="70"/>
                </a:cubicBezTo>
                <a:cubicBezTo>
                  <a:pt x="92" y="70"/>
                  <a:pt x="92" y="70"/>
                  <a:pt x="92" y="70"/>
                </a:cubicBezTo>
                <a:cubicBezTo>
                  <a:pt x="92" y="78"/>
                  <a:pt x="98" y="84"/>
                  <a:pt x="105" y="84"/>
                </a:cubicBezTo>
                <a:cubicBezTo>
                  <a:pt x="112" y="84"/>
                  <a:pt x="118" y="78"/>
                  <a:pt x="118" y="70"/>
                </a:cubicBezTo>
                <a:cubicBezTo>
                  <a:pt x="118" y="70"/>
                  <a:pt x="118" y="70"/>
                  <a:pt x="118" y="70"/>
                </a:cubicBezTo>
                <a:cubicBezTo>
                  <a:pt x="118" y="68"/>
                  <a:pt x="120" y="66"/>
                  <a:pt x="122" y="66"/>
                </a:cubicBezTo>
                <a:cubicBezTo>
                  <a:pt x="213" y="66"/>
                  <a:pt x="213" y="66"/>
                  <a:pt x="213" y="66"/>
                </a:cubicBezTo>
                <a:cubicBezTo>
                  <a:pt x="220" y="66"/>
                  <a:pt x="226" y="60"/>
                  <a:pt x="226" y="53"/>
                </a:cubicBezTo>
                <a:cubicBezTo>
                  <a:pt x="226" y="31"/>
                  <a:pt x="226" y="31"/>
                  <a:pt x="226" y="31"/>
                </a:cubicBezTo>
                <a:cubicBezTo>
                  <a:pt x="226" y="29"/>
                  <a:pt x="227" y="27"/>
                  <a:pt x="227" y="26"/>
                </a:cubicBezTo>
                <a:cubicBezTo>
                  <a:pt x="231" y="26"/>
                  <a:pt x="319" y="26"/>
                  <a:pt x="323" y="26"/>
                </a:cubicBezTo>
                <a:cubicBezTo>
                  <a:pt x="323" y="27"/>
                  <a:pt x="324" y="29"/>
                  <a:pt x="324" y="31"/>
                </a:cubicBezTo>
                <a:cubicBezTo>
                  <a:pt x="324" y="53"/>
                  <a:pt x="324" y="53"/>
                  <a:pt x="324" y="53"/>
                </a:cubicBezTo>
                <a:cubicBezTo>
                  <a:pt x="324" y="60"/>
                  <a:pt x="330" y="66"/>
                  <a:pt x="337" y="66"/>
                </a:cubicBezTo>
                <a:cubicBezTo>
                  <a:pt x="428" y="66"/>
                  <a:pt x="428" y="66"/>
                  <a:pt x="428" y="66"/>
                </a:cubicBezTo>
                <a:cubicBezTo>
                  <a:pt x="430" y="66"/>
                  <a:pt x="431" y="68"/>
                  <a:pt x="431" y="70"/>
                </a:cubicBezTo>
                <a:cubicBezTo>
                  <a:pt x="431" y="257"/>
                  <a:pt x="431" y="257"/>
                  <a:pt x="431" y="257"/>
                </a:cubicBezTo>
                <a:cubicBezTo>
                  <a:pt x="431" y="259"/>
                  <a:pt x="430" y="261"/>
                  <a:pt x="428" y="261"/>
                </a:cubicBezTo>
                <a:cubicBezTo>
                  <a:pt x="122" y="261"/>
                  <a:pt x="122" y="261"/>
                  <a:pt x="122" y="261"/>
                </a:cubicBezTo>
                <a:cubicBezTo>
                  <a:pt x="120" y="261"/>
                  <a:pt x="115" y="257"/>
                  <a:pt x="111" y="251"/>
                </a:cubicBezTo>
                <a:cubicBezTo>
                  <a:pt x="111" y="250"/>
                  <a:pt x="111" y="250"/>
                  <a:pt x="111" y="250"/>
                </a:cubicBezTo>
                <a:cubicBezTo>
                  <a:pt x="35" y="125"/>
                  <a:pt x="35" y="125"/>
                  <a:pt x="35" y="125"/>
                </a:cubicBezTo>
                <a:cubicBezTo>
                  <a:pt x="35" y="125"/>
                  <a:pt x="34" y="125"/>
                  <a:pt x="34" y="124"/>
                </a:cubicBezTo>
                <a:cubicBezTo>
                  <a:pt x="34" y="123"/>
                  <a:pt x="33" y="122"/>
                  <a:pt x="32" y="120"/>
                </a:cubicBezTo>
                <a:cubicBezTo>
                  <a:pt x="34" y="120"/>
                  <a:pt x="316" y="120"/>
                  <a:pt x="331" y="120"/>
                </a:cubicBezTo>
                <a:cubicBezTo>
                  <a:pt x="338" y="132"/>
                  <a:pt x="396" y="236"/>
                  <a:pt x="396" y="236"/>
                </a:cubicBezTo>
                <a:cubicBezTo>
                  <a:pt x="400" y="242"/>
                  <a:pt x="408" y="244"/>
                  <a:pt x="414" y="241"/>
                </a:cubicBezTo>
                <a:cubicBezTo>
                  <a:pt x="421" y="237"/>
                  <a:pt x="423" y="229"/>
                  <a:pt x="419" y="222"/>
                </a:cubicBezTo>
                <a:cubicBezTo>
                  <a:pt x="351" y="100"/>
                  <a:pt x="351" y="100"/>
                  <a:pt x="351" y="100"/>
                </a:cubicBezTo>
                <a:cubicBezTo>
                  <a:pt x="348" y="96"/>
                  <a:pt x="344" y="94"/>
                  <a:pt x="339" y="94"/>
                </a:cubicBezTo>
                <a:cubicBezTo>
                  <a:pt x="31" y="94"/>
                  <a:pt x="31" y="94"/>
                  <a:pt x="31" y="94"/>
                </a:cubicBezTo>
                <a:cubicBezTo>
                  <a:pt x="17" y="94"/>
                  <a:pt x="10" y="100"/>
                  <a:pt x="7" y="106"/>
                </a:cubicBezTo>
                <a:cubicBezTo>
                  <a:pt x="0" y="119"/>
                  <a:pt x="10" y="136"/>
                  <a:pt x="12" y="139"/>
                </a:cubicBezTo>
                <a:cubicBezTo>
                  <a:pt x="12" y="139"/>
                  <a:pt x="12" y="139"/>
                  <a:pt x="12" y="139"/>
                </a:cubicBezTo>
                <a:cubicBezTo>
                  <a:pt x="88" y="264"/>
                  <a:pt x="88" y="264"/>
                  <a:pt x="88" y="264"/>
                </a:cubicBezTo>
                <a:cubicBezTo>
                  <a:pt x="88" y="264"/>
                  <a:pt x="88" y="264"/>
                  <a:pt x="88" y="264"/>
                </a:cubicBezTo>
                <a:cubicBezTo>
                  <a:pt x="96" y="279"/>
                  <a:pt x="109" y="288"/>
                  <a:pt x="122" y="288"/>
                </a:cubicBezTo>
                <a:cubicBezTo>
                  <a:pt x="428" y="288"/>
                  <a:pt x="428" y="288"/>
                  <a:pt x="428" y="288"/>
                </a:cubicBezTo>
                <a:cubicBezTo>
                  <a:pt x="444" y="288"/>
                  <a:pt x="458" y="274"/>
                  <a:pt x="458" y="257"/>
                </a:cubicBezTo>
                <a:cubicBezTo>
                  <a:pt x="458" y="70"/>
                  <a:pt x="458" y="70"/>
                  <a:pt x="458" y="70"/>
                </a:cubicBezTo>
                <a:cubicBezTo>
                  <a:pt x="458" y="53"/>
                  <a:pt x="444" y="39"/>
                  <a:pt x="428" y="39"/>
                </a:cubicBezTo>
                <a:cubicBezTo>
                  <a:pt x="428" y="39"/>
                  <a:pt x="370" y="39"/>
                  <a:pt x="350" y="39"/>
                </a:cubicBezTo>
                <a:cubicBezTo>
                  <a:pt x="350" y="35"/>
                  <a:pt x="350" y="31"/>
                  <a:pt x="350" y="31"/>
                </a:cubicBezTo>
                <a:cubicBezTo>
                  <a:pt x="350" y="13"/>
                  <a:pt x="339" y="0"/>
                  <a:pt x="325" y="0"/>
                </a:cubicBezTo>
                <a:lnTo>
                  <a:pt x="225" y="0"/>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22" name="Freeform 568"/>
          <p:cNvSpPr>
            <a:spLocks/>
          </p:cNvSpPr>
          <p:nvPr userDrawn="1"/>
        </p:nvSpPr>
        <p:spPr bwMode="auto">
          <a:xfrm>
            <a:off x="6567478" y="3823845"/>
            <a:ext cx="337035" cy="336947"/>
          </a:xfrm>
          <a:custGeom>
            <a:avLst/>
            <a:gdLst/>
            <a:ahLst/>
            <a:cxnLst>
              <a:cxn ang="0">
                <a:pos x="22" y="290"/>
              </a:cxn>
              <a:cxn ang="0">
                <a:pos x="52" y="66"/>
              </a:cxn>
              <a:cxn ang="0">
                <a:pos x="40" y="127"/>
              </a:cxn>
              <a:cxn ang="0">
                <a:pos x="130" y="361"/>
              </a:cxn>
              <a:cxn ang="0">
                <a:pos x="186" y="339"/>
              </a:cxn>
              <a:cxn ang="0">
                <a:pos x="183" y="322"/>
              </a:cxn>
              <a:cxn ang="0">
                <a:pos x="154" y="278"/>
              </a:cxn>
              <a:cxn ang="0">
                <a:pos x="163" y="257"/>
              </a:cxn>
              <a:cxn ang="0">
                <a:pos x="103" y="213"/>
              </a:cxn>
              <a:cxn ang="0">
                <a:pos x="69" y="113"/>
              </a:cxn>
              <a:cxn ang="0">
                <a:pos x="84" y="69"/>
              </a:cxn>
              <a:cxn ang="0">
                <a:pos x="93" y="31"/>
              </a:cxn>
              <a:cxn ang="0">
                <a:pos x="127" y="19"/>
              </a:cxn>
              <a:cxn ang="0">
                <a:pos x="147" y="29"/>
              </a:cxn>
              <a:cxn ang="0">
                <a:pos x="199" y="41"/>
              </a:cxn>
              <a:cxn ang="0">
                <a:pos x="249" y="91"/>
              </a:cxn>
              <a:cxn ang="0">
                <a:pos x="250" y="102"/>
              </a:cxn>
              <a:cxn ang="0">
                <a:pos x="238" y="119"/>
              </a:cxn>
              <a:cxn ang="0">
                <a:pos x="181" y="172"/>
              </a:cxn>
              <a:cxn ang="0">
                <a:pos x="172" y="167"/>
              </a:cxn>
              <a:cxn ang="0">
                <a:pos x="165" y="161"/>
              </a:cxn>
              <a:cxn ang="0">
                <a:pos x="151" y="167"/>
              </a:cxn>
              <a:cxn ang="0">
                <a:pos x="156" y="181"/>
              </a:cxn>
              <a:cxn ang="0">
                <a:pos x="177" y="197"/>
              </a:cxn>
              <a:cxn ang="0">
                <a:pos x="188" y="213"/>
              </a:cxn>
              <a:cxn ang="0">
                <a:pos x="201" y="208"/>
              </a:cxn>
              <a:cxn ang="0">
                <a:pos x="256" y="225"/>
              </a:cxn>
              <a:cxn ang="0">
                <a:pos x="330" y="259"/>
              </a:cxn>
              <a:cxn ang="0">
                <a:pos x="315" y="307"/>
              </a:cxn>
              <a:cxn ang="0">
                <a:pos x="283" y="354"/>
              </a:cxn>
              <a:cxn ang="0">
                <a:pos x="352" y="113"/>
              </a:cxn>
              <a:cxn ang="0">
                <a:pos x="170" y="26"/>
              </a:cxn>
              <a:cxn ang="0">
                <a:pos x="199" y="0"/>
              </a:cxn>
              <a:cxn ang="0">
                <a:pos x="399" y="200"/>
              </a:cxn>
              <a:cxn ang="0">
                <a:pos x="222" y="398"/>
              </a:cxn>
              <a:cxn ang="0">
                <a:pos x="265" y="324"/>
              </a:cxn>
              <a:cxn ang="0">
                <a:pos x="309" y="273"/>
              </a:cxn>
              <a:cxn ang="0">
                <a:pos x="208" y="233"/>
              </a:cxn>
              <a:cxn ang="0">
                <a:pos x="166" y="226"/>
              </a:cxn>
              <a:cxn ang="0">
                <a:pos x="132" y="192"/>
              </a:cxn>
              <a:cxn ang="0">
                <a:pos x="148" y="140"/>
              </a:cxn>
              <a:cxn ang="0">
                <a:pos x="182" y="144"/>
              </a:cxn>
              <a:cxn ang="0">
                <a:pos x="225" y="97"/>
              </a:cxn>
              <a:cxn ang="0">
                <a:pos x="185" y="62"/>
              </a:cxn>
              <a:cxn ang="0">
                <a:pos x="110" y="48"/>
              </a:cxn>
              <a:cxn ang="0">
                <a:pos x="95" y="111"/>
              </a:cxn>
              <a:cxn ang="0">
                <a:pos x="102" y="179"/>
              </a:cxn>
              <a:cxn ang="0">
                <a:pos x="159" y="224"/>
              </a:cxn>
              <a:cxn ang="0">
                <a:pos x="189" y="256"/>
              </a:cxn>
              <a:cxn ang="0">
                <a:pos x="178" y="276"/>
              </a:cxn>
              <a:cxn ang="0">
                <a:pos x="183" y="287"/>
              </a:cxn>
              <a:cxn ang="0">
                <a:pos x="210" y="332"/>
              </a:cxn>
              <a:cxn ang="0">
                <a:pos x="184" y="398"/>
              </a:cxn>
            </a:cxnLst>
            <a:rect l="0" t="0" r="r" b="b"/>
            <a:pathLst>
              <a:path w="399" h="398">
                <a:moveTo>
                  <a:pt x="183" y="398"/>
                </a:moveTo>
                <a:cubicBezTo>
                  <a:pt x="182" y="398"/>
                  <a:pt x="156" y="397"/>
                  <a:pt x="122" y="384"/>
                </a:cubicBezTo>
                <a:cubicBezTo>
                  <a:pt x="89" y="370"/>
                  <a:pt x="48" y="342"/>
                  <a:pt x="22" y="290"/>
                </a:cubicBezTo>
                <a:cubicBezTo>
                  <a:pt x="6" y="259"/>
                  <a:pt x="0" y="228"/>
                  <a:pt x="0" y="200"/>
                </a:cubicBezTo>
                <a:cubicBezTo>
                  <a:pt x="0" y="168"/>
                  <a:pt x="8" y="140"/>
                  <a:pt x="18" y="117"/>
                </a:cubicBezTo>
                <a:cubicBezTo>
                  <a:pt x="29" y="94"/>
                  <a:pt x="41" y="77"/>
                  <a:pt x="52" y="66"/>
                </a:cubicBezTo>
                <a:cubicBezTo>
                  <a:pt x="56" y="61"/>
                  <a:pt x="64" y="61"/>
                  <a:pt x="68" y="66"/>
                </a:cubicBezTo>
                <a:cubicBezTo>
                  <a:pt x="73" y="70"/>
                  <a:pt x="73" y="78"/>
                  <a:pt x="69" y="82"/>
                </a:cubicBezTo>
                <a:cubicBezTo>
                  <a:pt x="61" y="90"/>
                  <a:pt x="49" y="106"/>
                  <a:pt x="40" y="127"/>
                </a:cubicBezTo>
                <a:cubicBezTo>
                  <a:pt x="31" y="147"/>
                  <a:pt x="24" y="172"/>
                  <a:pt x="24" y="200"/>
                </a:cubicBezTo>
                <a:cubicBezTo>
                  <a:pt x="24" y="225"/>
                  <a:pt x="29" y="251"/>
                  <a:pt x="43" y="279"/>
                </a:cubicBezTo>
                <a:cubicBezTo>
                  <a:pt x="66" y="325"/>
                  <a:pt x="100" y="349"/>
                  <a:pt x="130" y="361"/>
                </a:cubicBezTo>
                <a:cubicBezTo>
                  <a:pt x="149" y="369"/>
                  <a:pt x="166" y="373"/>
                  <a:pt x="176" y="374"/>
                </a:cubicBezTo>
                <a:cubicBezTo>
                  <a:pt x="176" y="372"/>
                  <a:pt x="177" y="370"/>
                  <a:pt x="178" y="368"/>
                </a:cubicBezTo>
                <a:cubicBezTo>
                  <a:pt x="181" y="359"/>
                  <a:pt x="184" y="348"/>
                  <a:pt x="186" y="339"/>
                </a:cubicBezTo>
                <a:cubicBezTo>
                  <a:pt x="187" y="336"/>
                  <a:pt x="187" y="334"/>
                  <a:pt x="187" y="332"/>
                </a:cubicBezTo>
                <a:cubicBezTo>
                  <a:pt x="187" y="330"/>
                  <a:pt x="187" y="329"/>
                  <a:pt x="186" y="328"/>
                </a:cubicBezTo>
                <a:cubicBezTo>
                  <a:pt x="186" y="326"/>
                  <a:pt x="185" y="324"/>
                  <a:pt x="183" y="322"/>
                </a:cubicBezTo>
                <a:cubicBezTo>
                  <a:pt x="180" y="318"/>
                  <a:pt x="174" y="312"/>
                  <a:pt x="166" y="303"/>
                </a:cubicBezTo>
                <a:cubicBezTo>
                  <a:pt x="162" y="299"/>
                  <a:pt x="159" y="295"/>
                  <a:pt x="157" y="290"/>
                </a:cubicBezTo>
                <a:cubicBezTo>
                  <a:pt x="155" y="286"/>
                  <a:pt x="154" y="282"/>
                  <a:pt x="154" y="278"/>
                </a:cubicBezTo>
                <a:cubicBezTo>
                  <a:pt x="154" y="274"/>
                  <a:pt x="155" y="270"/>
                  <a:pt x="156" y="267"/>
                </a:cubicBezTo>
                <a:cubicBezTo>
                  <a:pt x="158" y="264"/>
                  <a:pt x="159" y="262"/>
                  <a:pt x="161" y="260"/>
                </a:cubicBezTo>
                <a:cubicBezTo>
                  <a:pt x="161" y="259"/>
                  <a:pt x="162" y="258"/>
                  <a:pt x="163" y="257"/>
                </a:cubicBezTo>
                <a:cubicBezTo>
                  <a:pt x="163" y="257"/>
                  <a:pt x="163" y="256"/>
                  <a:pt x="162" y="256"/>
                </a:cubicBezTo>
                <a:cubicBezTo>
                  <a:pt x="159" y="253"/>
                  <a:pt x="153" y="249"/>
                  <a:pt x="147" y="244"/>
                </a:cubicBezTo>
                <a:cubicBezTo>
                  <a:pt x="133" y="235"/>
                  <a:pt x="117" y="224"/>
                  <a:pt x="103" y="213"/>
                </a:cubicBezTo>
                <a:cubicBezTo>
                  <a:pt x="94" y="205"/>
                  <a:pt x="86" y="198"/>
                  <a:pt x="81" y="190"/>
                </a:cubicBezTo>
                <a:cubicBezTo>
                  <a:pt x="72" y="173"/>
                  <a:pt x="67" y="151"/>
                  <a:pt x="67" y="131"/>
                </a:cubicBezTo>
                <a:cubicBezTo>
                  <a:pt x="67" y="125"/>
                  <a:pt x="67" y="119"/>
                  <a:pt x="69" y="113"/>
                </a:cubicBezTo>
                <a:cubicBezTo>
                  <a:pt x="70" y="107"/>
                  <a:pt x="72" y="102"/>
                  <a:pt x="76" y="97"/>
                </a:cubicBezTo>
                <a:cubicBezTo>
                  <a:pt x="77" y="95"/>
                  <a:pt x="79" y="91"/>
                  <a:pt x="81" y="86"/>
                </a:cubicBezTo>
                <a:cubicBezTo>
                  <a:pt x="82" y="81"/>
                  <a:pt x="83" y="75"/>
                  <a:pt x="84" y="69"/>
                </a:cubicBezTo>
                <a:cubicBezTo>
                  <a:pt x="86" y="58"/>
                  <a:pt x="87" y="47"/>
                  <a:pt x="87" y="43"/>
                </a:cubicBezTo>
                <a:cubicBezTo>
                  <a:pt x="87" y="41"/>
                  <a:pt x="87" y="41"/>
                  <a:pt x="87" y="41"/>
                </a:cubicBezTo>
                <a:cubicBezTo>
                  <a:pt x="87" y="37"/>
                  <a:pt x="90" y="33"/>
                  <a:pt x="93" y="31"/>
                </a:cubicBezTo>
                <a:cubicBezTo>
                  <a:pt x="115" y="19"/>
                  <a:pt x="115" y="19"/>
                  <a:pt x="115" y="19"/>
                </a:cubicBezTo>
                <a:cubicBezTo>
                  <a:pt x="119" y="17"/>
                  <a:pt x="124" y="17"/>
                  <a:pt x="127" y="19"/>
                </a:cubicBezTo>
                <a:cubicBezTo>
                  <a:pt x="127" y="19"/>
                  <a:pt x="127" y="19"/>
                  <a:pt x="127" y="19"/>
                </a:cubicBezTo>
                <a:cubicBezTo>
                  <a:pt x="128" y="20"/>
                  <a:pt x="128" y="20"/>
                  <a:pt x="128" y="20"/>
                </a:cubicBezTo>
                <a:cubicBezTo>
                  <a:pt x="129" y="21"/>
                  <a:pt x="131" y="21"/>
                  <a:pt x="133" y="22"/>
                </a:cubicBezTo>
                <a:cubicBezTo>
                  <a:pt x="136" y="24"/>
                  <a:pt x="141" y="27"/>
                  <a:pt x="147" y="29"/>
                </a:cubicBezTo>
                <a:cubicBezTo>
                  <a:pt x="158" y="34"/>
                  <a:pt x="173" y="39"/>
                  <a:pt x="185" y="39"/>
                </a:cubicBezTo>
                <a:cubicBezTo>
                  <a:pt x="186" y="39"/>
                  <a:pt x="188" y="39"/>
                  <a:pt x="190" y="39"/>
                </a:cubicBezTo>
                <a:cubicBezTo>
                  <a:pt x="193" y="38"/>
                  <a:pt x="196" y="39"/>
                  <a:pt x="199" y="41"/>
                </a:cubicBezTo>
                <a:cubicBezTo>
                  <a:pt x="199" y="41"/>
                  <a:pt x="217" y="57"/>
                  <a:pt x="232" y="70"/>
                </a:cubicBezTo>
                <a:cubicBezTo>
                  <a:pt x="237" y="75"/>
                  <a:pt x="241" y="80"/>
                  <a:pt x="244" y="84"/>
                </a:cubicBezTo>
                <a:cubicBezTo>
                  <a:pt x="246" y="86"/>
                  <a:pt x="248" y="88"/>
                  <a:pt x="249" y="91"/>
                </a:cubicBezTo>
                <a:cubicBezTo>
                  <a:pt x="250" y="93"/>
                  <a:pt x="251" y="94"/>
                  <a:pt x="251" y="98"/>
                </a:cubicBezTo>
                <a:cubicBezTo>
                  <a:pt x="251" y="99"/>
                  <a:pt x="251" y="101"/>
                  <a:pt x="251" y="102"/>
                </a:cubicBezTo>
                <a:cubicBezTo>
                  <a:pt x="250" y="102"/>
                  <a:pt x="250" y="102"/>
                  <a:pt x="250" y="102"/>
                </a:cubicBezTo>
                <a:cubicBezTo>
                  <a:pt x="249" y="105"/>
                  <a:pt x="249" y="106"/>
                  <a:pt x="248" y="107"/>
                </a:cubicBezTo>
                <a:cubicBezTo>
                  <a:pt x="247" y="108"/>
                  <a:pt x="246" y="109"/>
                  <a:pt x="245" y="110"/>
                </a:cubicBezTo>
                <a:cubicBezTo>
                  <a:pt x="243" y="113"/>
                  <a:pt x="241" y="115"/>
                  <a:pt x="238" y="119"/>
                </a:cubicBezTo>
                <a:cubicBezTo>
                  <a:pt x="233" y="125"/>
                  <a:pt x="225" y="132"/>
                  <a:pt x="218" y="140"/>
                </a:cubicBezTo>
                <a:cubicBezTo>
                  <a:pt x="204" y="155"/>
                  <a:pt x="190" y="169"/>
                  <a:pt x="190" y="169"/>
                </a:cubicBezTo>
                <a:cubicBezTo>
                  <a:pt x="188" y="171"/>
                  <a:pt x="184" y="173"/>
                  <a:pt x="181" y="172"/>
                </a:cubicBezTo>
                <a:cubicBezTo>
                  <a:pt x="177" y="172"/>
                  <a:pt x="174" y="170"/>
                  <a:pt x="172" y="167"/>
                </a:cubicBezTo>
                <a:cubicBezTo>
                  <a:pt x="172" y="167"/>
                  <a:pt x="172" y="167"/>
                  <a:pt x="172" y="167"/>
                </a:cubicBezTo>
                <a:cubicBezTo>
                  <a:pt x="172" y="167"/>
                  <a:pt x="172" y="167"/>
                  <a:pt x="172" y="167"/>
                </a:cubicBezTo>
                <a:cubicBezTo>
                  <a:pt x="172" y="167"/>
                  <a:pt x="172" y="166"/>
                  <a:pt x="172" y="166"/>
                </a:cubicBezTo>
                <a:cubicBezTo>
                  <a:pt x="171" y="166"/>
                  <a:pt x="171" y="165"/>
                  <a:pt x="170" y="164"/>
                </a:cubicBezTo>
                <a:cubicBezTo>
                  <a:pt x="169" y="163"/>
                  <a:pt x="167" y="161"/>
                  <a:pt x="165" y="161"/>
                </a:cubicBezTo>
                <a:cubicBezTo>
                  <a:pt x="164" y="160"/>
                  <a:pt x="163" y="160"/>
                  <a:pt x="162" y="160"/>
                </a:cubicBezTo>
                <a:cubicBezTo>
                  <a:pt x="161" y="160"/>
                  <a:pt x="160" y="160"/>
                  <a:pt x="158" y="161"/>
                </a:cubicBezTo>
                <a:cubicBezTo>
                  <a:pt x="157" y="162"/>
                  <a:pt x="154" y="164"/>
                  <a:pt x="151" y="167"/>
                </a:cubicBezTo>
                <a:cubicBezTo>
                  <a:pt x="148" y="171"/>
                  <a:pt x="148" y="173"/>
                  <a:pt x="148" y="173"/>
                </a:cubicBezTo>
                <a:cubicBezTo>
                  <a:pt x="148" y="174"/>
                  <a:pt x="148" y="174"/>
                  <a:pt x="149" y="176"/>
                </a:cubicBezTo>
                <a:cubicBezTo>
                  <a:pt x="151" y="178"/>
                  <a:pt x="153" y="180"/>
                  <a:pt x="156" y="181"/>
                </a:cubicBezTo>
                <a:cubicBezTo>
                  <a:pt x="162" y="185"/>
                  <a:pt x="169" y="187"/>
                  <a:pt x="169" y="187"/>
                </a:cubicBezTo>
                <a:cubicBezTo>
                  <a:pt x="169" y="187"/>
                  <a:pt x="169" y="187"/>
                  <a:pt x="169" y="187"/>
                </a:cubicBezTo>
                <a:cubicBezTo>
                  <a:pt x="173" y="188"/>
                  <a:pt x="177" y="192"/>
                  <a:pt x="177" y="197"/>
                </a:cubicBezTo>
                <a:cubicBezTo>
                  <a:pt x="178" y="203"/>
                  <a:pt x="181" y="207"/>
                  <a:pt x="183" y="210"/>
                </a:cubicBezTo>
                <a:cubicBezTo>
                  <a:pt x="185" y="212"/>
                  <a:pt x="188" y="213"/>
                  <a:pt x="188" y="213"/>
                </a:cubicBezTo>
                <a:cubicBezTo>
                  <a:pt x="188" y="213"/>
                  <a:pt x="188" y="213"/>
                  <a:pt x="188" y="213"/>
                </a:cubicBezTo>
                <a:cubicBezTo>
                  <a:pt x="188" y="213"/>
                  <a:pt x="188" y="213"/>
                  <a:pt x="188" y="213"/>
                </a:cubicBezTo>
                <a:cubicBezTo>
                  <a:pt x="191" y="211"/>
                  <a:pt x="193" y="210"/>
                  <a:pt x="195" y="209"/>
                </a:cubicBezTo>
                <a:cubicBezTo>
                  <a:pt x="197" y="209"/>
                  <a:pt x="199" y="208"/>
                  <a:pt x="201" y="208"/>
                </a:cubicBezTo>
                <a:cubicBezTo>
                  <a:pt x="205" y="208"/>
                  <a:pt x="208" y="209"/>
                  <a:pt x="212" y="210"/>
                </a:cubicBezTo>
                <a:cubicBezTo>
                  <a:pt x="216" y="211"/>
                  <a:pt x="221" y="212"/>
                  <a:pt x="225" y="214"/>
                </a:cubicBezTo>
                <a:cubicBezTo>
                  <a:pt x="235" y="217"/>
                  <a:pt x="245" y="221"/>
                  <a:pt x="256" y="225"/>
                </a:cubicBezTo>
                <a:cubicBezTo>
                  <a:pt x="277" y="234"/>
                  <a:pt x="300" y="244"/>
                  <a:pt x="312" y="249"/>
                </a:cubicBezTo>
                <a:cubicBezTo>
                  <a:pt x="316" y="250"/>
                  <a:pt x="319" y="251"/>
                  <a:pt x="320" y="252"/>
                </a:cubicBezTo>
                <a:cubicBezTo>
                  <a:pt x="324" y="253"/>
                  <a:pt x="327" y="255"/>
                  <a:pt x="330" y="259"/>
                </a:cubicBezTo>
                <a:cubicBezTo>
                  <a:pt x="332" y="262"/>
                  <a:pt x="333" y="266"/>
                  <a:pt x="333" y="270"/>
                </a:cubicBezTo>
                <a:cubicBezTo>
                  <a:pt x="333" y="277"/>
                  <a:pt x="331" y="282"/>
                  <a:pt x="328" y="288"/>
                </a:cubicBezTo>
                <a:cubicBezTo>
                  <a:pt x="324" y="294"/>
                  <a:pt x="320" y="301"/>
                  <a:pt x="315" y="307"/>
                </a:cubicBezTo>
                <a:cubicBezTo>
                  <a:pt x="305" y="319"/>
                  <a:pt x="293" y="332"/>
                  <a:pt x="279" y="343"/>
                </a:cubicBezTo>
                <a:cubicBezTo>
                  <a:pt x="269" y="351"/>
                  <a:pt x="259" y="360"/>
                  <a:pt x="252" y="368"/>
                </a:cubicBezTo>
                <a:cubicBezTo>
                  <a:pt x="261" y="365"/>
                  <a:pt x="272" y="360"/>
                  <a:pt x="283" y="354"/>
                </a:cubicBezTo>
                <a:cubicBezTo>
                  <a:pt x="305" y="343"/>
                  <a:pt x="328" y="324"/>
                  <a:pt x="346" y="298"/>
                </a:cubicBezTo>
                <a:cubicBezTo>
                  <a:pt x="363" y="272"/>
                  <a:pt x="375" y="239"/>
                  <a:pt x="375" y="200"/>
                </a:cubicBezTo>
                <a:cubicBezTo>
                  <a:pt x="375" y="166"/>
                  <a:pt x="366" y="137"/>
                  <a:pt x="352" y="113"/>
                </a:cubicBezTo>
                <a:cubicBezTo>
                  <a:pt x="338" y="89"/>
                  <a:pt x="319" y="69"/>
                  <a:pt x="300" y="55"/>
                </a:cubicBezTo>
                <a:cubicBezTo>
                  <a:pt x="269" y="34"/>
                  <a:pt x="234" y="24"/>
                  <a:pt x="199" y="24"/>
                </a:cubicBezTo>
                <a:cubicBezTo>
                  <a:pt x="189" y="24"/>
                  <a:pt x="179" y="25"/>
                  <a:pt x="170" y="26"/>
                </a:cubicBezTo>
                <a:cubicBezTo>
                  <a:pt x="163" y="27"/>
                  <a:pt x="157" y="23"/>
                  <a:pt x="156" y="16"/>
                </a:cubicBezTo>
                <a:cubicBezTo>
                  <a:pt x="155" y="10"/>
                  <a:pt x="160" y="4"/>
                  <a:pt x="166" y="3"/>
                </a:cubicBezTo>
                <a:cubicBezTo>
                  <a:pt x="177" y="1"/>
                  <a:pt x="188" y="0"/>
                  <a:pt x="199" y="0"/>
                </a:cubicBezTo>
                <a:cubicBezTo>
                  <a:pt x="238" y="0"/>
                  <a:pt x="278" y="12"/>
                  <a:pt x="313" y="36"/>
                </a:cubicBezTo>
                <a:cubicBezTo>
                  <a:pt x="335" y="52"/>
                  <a:pt x="357" y="74"/>
                  <a:pt x="372" y="101"/>
                </a:cubicBezTo>
                <a:cubicBezTo>
                  <a:pt x="388" y="129"/>
                  <a:pt x="399" y="162"/>
                  <a:pt x="399" y="200"/>
                </a:cubicBezTo>
                <a:cubicBezTo>
                  <a:pt x="399" y="244"/>
                  <a:pt x="385" y="282"/>
                  <a:pt x="365" y="311"/>
                </a:cubicBezTo>
                <a:cubicBezTo>
                  <a:pt x="345" y="340"/>
                  <a:pt x="319" y="361"/>
                  <a:pt x="294" y="375"/>
                </a:cubicBezTo>
                <a:cubicBezTo>
                  <a:pt x="257" y="395"/>
                  <a:pt x="223" y="398"/>
                  <a:pt x="222" y="398"/>
                </a:cubicBezTo>
                <a:cubicBezTo>
                  <a:pt x="217" y="398"/>
                  <a:pt x="213" y="396"/>
                  <a:pt x="211" y="392"/>
                </a:cubicBezTo>
                <a:cubicBezTo>
                  <a:pt x="208" y="388"/>
                  <a:pt x="209" y="383"/>
                  <a:pt x="211" y="379"/>
                </a:cubicBezTo>
                <a:cubicBezTo>
                  <a:pt x="212" y="379"/>
                  <a:pt x="232" y="349"/>
                  <a:pt x="265" y="324"/>
                </a:cubicBezTo>
                <a:cubicBezTo>
                  <a:pt x="274" y="317"/>
                  <a:pt x="282" y="309"/>
                  <a:pt x="290" y="301"/>
                </a:cubicBezTo>
                <a:cubicBezTo>
                  <a:pt x="297" y="292"/>
                  <a:pt x="304" y="284"/>
                  <a:pt x="307" y="277"/>
                </a:cubicBezTo>
                <a:cubicBezTo>
                  <a:pt x="308" y="276"/>
                  <a:pt x="309" y="274"/>
                  <a:pt x="309" y="273"/>
                </a:cubicBezTo>
                <a:cubicBezTo>
                  <a:pt x="305" y="271"/>
                  <a:pt x="300" y="269"/>
                  <a:pt x="294" y="266"/>
                </a:cubicBezTo>
                <a:cubicBezTo>
                  <a:pt x="285" y="263"/>
                  <a:pt x="276" y="259"/>
                  <a:pt x="265" y="254"/>
                </a:cubicBezTo>
                <a:cubicBezTo>
                  <a:pt x="244" y="246"/>
                  <a:pt x="222" y="236"/>
                  <a:pt x="208" y="233"/>
                </a:cubicBezTo>
                <a:cubicBezTo>
                  <a:pt x="206" y="232"/>
                  <a:pt x="203" y="232"/>
                  <a:pt x="202" y="232"/>
                </a:cubicBezTo>
                <a:cubicBezTo>
                  <a:pt x="198" y="235"/>
                  <a:pt x="193" y="236"/>
                  <a:pt x="188" y="236"/>
                </a:cubicBezTo>
                <a:cubicBezTo>
                  <a:pt x="179" y="236"/>
                  <a:pt x="172" y="232"/>
                  <a:pt x="166" y="226"/>
                </a:cubicBezTo>
                <a:cubicBezTo>
                  <a:pt x="161" y="221"/>
                  <a:pt x="158" y="214"/>
                  <a:pt x="156" y="207"/>
                </a:cubicBezTo>
                <a:cubicBezTo>
                  <a:pt x="154" y="207"/>
                  <a:pt x="153" y="206"/>
                  <a:pt x="151" y="205"/>
                </a:cubicBezTo>
                <a:cubicBezTo>
                  <a:pt x="145" y="203"/>
                  <a:pt x="138" y="199"/>
                  <a:pt x="132" y="192"/>
                </a:cubicBezTo>
                <a:cubicBezTo>
                  <a:pt x="128" y="187"/>
                  <a:pt x="124" y="181"/>
                  <a:pt x="124" y="173"/>
                </a:cubicBezTo>
                <a:cubicBezTo>
                  <a:pt x="124" y="165"/>
                  <a:pt x="128" y="158"/>
                  <a:pt x="134" y="151"/>
                </a:cubicBezTo>
                <a:cubicBezTo>
                  <a:pt x="138" y="146"/>
                  <a:pt x="143" y="143"/>
                  <a:pt x="148" y="140"/>
                </a:cubicBezTo>
                <a:cubicBezTo>
                  <a:pt x="152" y="138"/>
                  <a:pt x="157" y="136"/>
                  <a:pt x="162" y="136"/>
                </a:cubicBezTo>
                <a:cubicBezTo>
                  <a:pt x="167" y="136"/>
                  <a:pt x="172" y="138"/>
                  <a:pt x="176" y="139"/>
                </a:cubicBezTo>
                <a:cubicBezTo>
                  <a:pt x="178" y="141"/>
                  <a:pt x="180" y="142"/>
                  <a:pt x="182" y="144"/>
                </a:cubicBezTo>
                <a:cubicBezTo>
                  <a:pt x="186" y="140"/>
                  <a:pt x="190" y="136"/>
                  <a:pt x="194" y="131"/>
                </a:cubicBezTo>
                <a:cubicBezTo>
                  <a:pt x="206" y="119"/>
                  <a:pt x="219" y="105"/>
                  <a:pt x="225" y="98"/>
                </a:cubicBezTo>
                <a:cubicBezTo>
                  <a:pt x="225" y="97"/>
                  <a:pt x="225" y="97"/>
                  <a:pt x="225" y="97"/>
                </a:cubicBezTo>
                <a:cubicBezTo>
                  <a:pt x="222" y="93"/>
                  <a:pt x="217" y="89"/>
                  <a:pt x="212" y="84"/>
                </a:cubicBezTo>
                <a:cubicBezTo>
                  <a:pt x="203" y="76"/>
                  <a:pt x="193" y="67"/>
                  <a:pt x="188" y="62"/>
                </a:cubicBezTo>
                <a:cubicBezTo>
                  <a:pt x="187" y="62"/>
                  <a:pt x="186" y="62"/>
                  <a:pt x="185" y="62"/>
                </a:cubicBezTo>
                <a:cubicBezTo>
                  <a:pt x="167" y="62"/>
                  <a:pt x="150" y="56"/>
                  <a:pt x="137" y="51"/>
                </a:cubicBezTo>
                <a:cubicBezTo>
                  <a:pt x="131" y="48"/>
                  <a:pt x="125" y="45"/>
                  <a:pt x="121" y="43"/>
                </a:cubicBezTo>
                <a:cubicBezTo>
                  <a:pt x="110" y="48"/>
                  <a:pt x="110" y="48"/>
                  <a:pt x="110" y="48"/>
                </a:cubicBezTo>
                <a:cubicBezTo>
                  <a:pt x="110" y="51"/>
                  <a:pt x="110" y="54"/>
                  <a:pt x="109" y="58"/>
                </a:cubicBezTo>
                <a:cubicBezTo>
                  <a:pt x="108" y="67"/>
                  <a:pt x="107" y="79"/>
                  <a:pt x="104" y="90"/>
                </a:cubicBezTo>
                <a:cubicBezTo>
                  <a:pt x="102" y="97"/>
                  <a:pt x="99" y="104"/>
                  <a:pt x="95" y="111"/>
                </a:cubicBezTo>
                <a:cubicBezTo>
                  <a:pt x="93" y="112"/>
                  <a:pt x="92" y="115"/>
                  <a:pt x="91" y="118"/>
                </a:cubicBezTo>
                <a:cubicBezTo>
                  <a:pt x="91" y="122"/>
                  <a:pt x="90" y="126"/>
                  <a:pt x="90" y="131"/>
                </a:cubicBezTo>
                <a:cubicBezTo>
                  <a:pt x="90" y="147"/>
                  <a:pt x="95" y="166"/>
                  <a:pt x="102" y="179"/>
                </a:cubicBezTo>
                <a:cubicBezTo>
                  <a:pt x="103" y="180"/>
                  <a:pt x="106" y="184"/>
                  <a:pt x="109" y="187"/>
                </a:cubicBezTo>
                <a:cubicBezTo>
                  <a:pt x="113" y="191"/>
                  <a:pt x="118" y="195"/>
                  <a:pt x="124" y="199"/>
                </a:cubicBezTo>
                <a:cubicBezTo>
                  <a:pt x="135" y="208"/>
                  <a:pt x="148" y="216"/>
                  <a:pt x="159" y="224"/>
                </a:cubicBezTo>
                <a:cubicBezTo>
                  <a:pt x="166" y="230"/>
                  <a:pt x="173" y="234"/>
                  <a:pt x="178" y="239"/>
                </a:cubicBezTo>
                <a:cubicBezTo>
                  <a:pt x="181" y="242"/>
                  <a:pt x="184" y="244"/>
                  <a:pt x="186" y="248"/>
                </a:cubicBezTo>
                <a:cubicBezTo>
                  <a:pt x="187" y="250"/>
                  <a:pt x="188" y="252"/>
                  <a:pt x="189" y="256"/>
                </a:cubicBezTo>
                <a:cubicBezTo>
                  <a:pt x="189" y="258"/>
                  <a:pt x="188" y="260"/>
                  <a:pt x="187" y="262"/>
                </a:cubicBezTo>
                <a:cubicBezTo>
                  <a:pt x="185" y="266"/>
                  <a:pt x="183" y="269"/>
                  <a:pt x="181" y="271"/>
                </a:cubicBezTo>
                <a:cubicBezTo>
                  <a:pt x="179" y="274"/>
                  <a:pt x="178" y="275"/>
                  <a:pt x="178" y="276"/>
                </a:cubicBezTo>
                <a:cubicBezTo>
                  <a:pt x="178" y="277"/>
                  <a:pt x="178" y="277"/>
                  <a:pt x="178" y="278"/>
                </a:cubicBezTo>
                <a:cubicBezTo>
                  <a:pt x="178" y="278"/>
                  <a:pt x="178" y="279"/>
                  <a:pt x="178" y="280"/>
                </a:cubicBezTo>
                <a:cubicBezTo>
                  <a:pt x="179" y="282"/>
                  <a:pt x="181" y="284"/>
                  <a:pt x="183" y="287"/>
                </a:cubicBezTo>
                <a:cubicBezTo>
                  <a:pt x="189" y="293"/>
                  <a:pt x="194" y="298"/>
                  <a:pt x="198" y="303"/>
                </a:cubicBezTo>
                <a:cubicBezTo>
                  <a:pt x="202" y="308"/>
                  <a:pt x="206" y="313"/>
                  <a:pt x="208" y="319"/>
                </a:cubicBezTo>
                <a:cubicBezTo>
                  <a:pt x="210" y="323"/>
                  <a:pt x="210" y="328"/>
                  <a:pt x="210" y="332"/>
                </a:cubicBezTo>
                <a:cubicBezTo>
                  <a:pt x="210" y="336"/>
                  <a:pt x="210" y="340"/>
                  <a:pt x="209" y="344"/>
                </a:cubicBezTo>
                <a:cubicBezTo>
                  <a:pt x="204" y="364"/>
                  <a:pt x="195" y="390"/>
                  <a:pt x="195" y="391"/>
                </a:cubicBezTo>
                <a:cubicBezTo>
                  <a:pt x="193" y="395"/>
                  <a:pt x="189" y="398"/>
                  <a:pt x="184" y="398"/>
                </a:cubicBezTo>
                <a:lnTo>
                  <a:pt x="183" y="398"/>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23" name="Freeform 572"/>
          <p:cNvSpPr>
            <a:spLocks/>
          </p:cNvSpPr>
          <p:nvPr userDrawn="1"/>
        </p:nvSpPr>
        <p:spPr bwMode="auto">
          <a:xfrm>
            <a:off x="6563904" y="2806049"/>
            <a:ext cx="344181" cy="292894"/>
          </a:xfrm>
          <a:custGeom>
            <a:avLst/>
            <a:gdLst/>
            <a:ahLst/>
            <a:cxnLst>
              <a:cxn ang="0">
                <a:pos x="406" y="233"/>
              </a:cxn>
              <a:cxn ang="0">
                <a:pos x="383" y="124"/>
              </a:cxn>
              <a:cxn ang="0">
                <a:pos x="342" y="120"/>
              </a:cxn>
              <a:cxn ang="0">
                <a:pos x="333" y="124"/>
              </a:cxn>
              <a:cxn ang="0">
                <a:pos x="274" y="147"/>
              </a:cxn>
              <a:cxn ang="0">
                <a:pos x="241" y="103"/>
              </a:cxn>
              <a:cxn ang="0">
                <a:pos x="370" y="61"/>
              </a:cxn>
              <a:cxn ang="0">
                <a:pos x="240" y="19"/>
              </a:cxn>
              <a:cxn ang="0">
                <a:pos x="195" y="0"/>
              </a:cxn>
              <a:cxn ang="0">
                <a:pos x="83" y="29"/>
              </a:cxn>
              <a:cxn ang="0">
                <a:pos x="84" y="93"/>
              </a:cxn>
              <a:cxn ang="0">
                <a:pos x="165" y="129"/>
              </a:cxn>
              <a:cxn ang="0">
                <a:pos x="85" y="147"/>
              </a:cxn>
              <a:cxn ang="0">
                <a:pos x="73" y="123"/>
              </a:cxn>
              <a:cxn ang="0">
                <a:pos x="64" y="120"/>
              </a:cxn>
              <a:cxn ang="0">
                <a:pos x="23" y="124"/>
              </a:cxn>
              <a:cxn ang="0">
                <a:pos x="23" y="343"/>
              </a:cxn>
              <a:cxn ang="0">
                <a:pos x="64" y="346"/>
              </a:cxn>
              <a:cxn ang="0">
                <a:pos x="73" y="343"/>
              </a:cxn>
              <a:cxn ang="0">
                <a:pos x="82" y="220"/>
              </a:cxn>
              <a:cxn ang="0">
                <a:pos x="57" y="319"/>
              </a:cxn>
              <a:cxn ang="0">
                <a:pos x="36" y="310"/>
              </a:cxn>
              <a:cxn ang="0">
                <a:pos x="39" y="147"/>
              </a:cxn>
              <a:cxn ang="0">
                <a:pos x="62" y="163"/>
              </a:cxn>
              <a:cxn ang="0">
                <a:pos x="136" y="174"/>
              </a:cxn>
              <a:cxn ang="0">
                <a:pos x="137" y="174"/>
              </a:cxn>
              <a:cxn ang="0">
                <a:pos x="145" y="171"/>
              </a:cxn>
              <a:cxn ang="0">
                <a:pos x="182" y="153"/>
              </a:cxn>
              <a:cxn ang="0">
                <a:pos x="192" y="139"/>
              </a:cxn>
              <a:cxn ang="0">
                <a:pos x="179" y="77"/>
              </a:cxn>
              <a:cxn ang="0">
                <a:pos x="71" y="60"/>
              </a:cxn>
              <a:cxn ang="0">
                <a:pos x="177" y="45"/>
              </a:cxn>
              <a:cxn ang="0">
                <a:pos x="190" y="32"/>
              </a:cxn>
              <a:cxn ang="0">
                <a:pos x="211" y="27"/>
              </a:cxn>
              <a:cxn ang="0">
                <a:pos x="216" y="32"/>
              </a:cxn>
              <a:cxn ang="0">
                <a:pos x="228" y="45"/>
              </a:cxn>
              <a:cxn ang="0">
                <a:pos x="335" y="60"/>
              </a:cxn>
              <a:cxn ang="0">
                <a:pos x="227" y="77"/>
              </a:cxn>
              <a:cxn ang="0">
                <a:pos x="214" y="90"/>
              </a:cxn>
              <a:cxn ang="0">
                <a:pos x="224" y="152"/>
              </a:cxn>
              <a:cxn ang="0">
                <a:pos x="261" y="171"/>
              </a:cxn>
              <a:cxn ang="0">
                <a:pos x="261" y="171"/>
              </a:cxn>
              <a:cxn ang="0">
                <a:pos x="332" y="174"/>
              </a:cxn>
              <a:cxn ang="0">
                <a:pos x="344" y="164"/>
              </a:cxn>
              <a:cxn ang="0">
                <a:pos x="366" y="147"/>
              </a:cxn>
              <a:cxn ang="0">
                <a:pos x="366" y="319"/>
              </a:cxn>
              <a:cxn ang="0">
                <a:pos x="344" y="303"/>
              </a:cxn>
              <a:cxn ang="0">
                <a:pos x="331" y="293"/>
              </a:cxn>
              <a:cxn ang="0">
                <a:pos x="123" y="293"/>
              </a:cxn>
              <a:cxn ang="0">
                <a:pos x="123" y="320"/>
              </a:cxn>
              <a:cxn ang="0">
                <a:pos x="333" y="343"/>
              </a:cxn>
              <a:cxn ang="0">
                <a:pos x="342" y="346"/>
              </a:cxn>
              <a:cxn ang="0">
                <a:pos x="383" y="343"/>
              </a:cxn>
              <a:cxn ang="0">
                <a:pos x="406" y="233"/>
              </a:cxn>
              <a:cxn ang="0">
                <a:pos x="406" y="233"/>
              </a:cxn>
              <a:cxn ang="0">
                <a:pos x="406" y="233"/>
              </a:cxn>
              <a:cxn ang="0">
                <a:pos x="406" y="233"/>
              </a:cxn>
              <a:cxn ang="0">
                <a:pos x="406" y="233"/>
              </a:cxn>
            </a:cxnLst>
            <a:rect l="0" t="0" r="r" b="b"/>
            <a:pathLst>
              <a:path w="406" h="346">
                <a:moveTo>
                  <a:pt x="406" y="233"/>
                </a:moveTo>
                <a:cubicBezTo>
                  <a:pt x="406" y="233"/>
                  <a:pt x="406" y="233"/>
                  <a:pt x="406" y="233"/>
                </a:cubicBezTo>
                <a:cubicBezTo>
                  <a:pt x="406" y="233"/>
                  <a:pt x="406" y="233"/>
                  <a:pt x="406" y="233"/>
                </a:cubicBezTo>
                <a:cubicBezTo>
                  <a:pt x="406" y="149"/>
                  <a:pt x="386" y="127"/>
                  <a:pt x="383" y="124"/>
                </a:cubicBezTo>
                <a:cubicBezTo>
                  <a:pt x="380" y="122"/>
                  <a:pt x="377" y="120"/>
                  <a:pt x="374" y="120"/>
                </a:cubicBezTo>
                <a:cubicBezTo>
                  <a:pt x="342" y="120"/>
                  <a:pt x="342" y="120"/>
                  <a:pt x="342" y="120"/>
                </a:cubicBezTo>
                <a:cubicBezTo>
                  <a:pt x="339" y="120"/>
                  <a:pt x="336" y="122"/>
                  <a:pt x="333" y="124"/>
                </a:cubicBezTo>
                <a:cubicBezTo>
                  <a:pt x="333" y="124"/>
                  <a:pt x="333" y="124"/>
                  <a:pt x="333" y="124"/>
                </a:cubicBezTo>
                <a:cubicBezTo>
                  <a:pt x="331" y="126"/>
                  <a:pt x="325" y="132"/>
                  <a:pt x="320" y="147"/>
                </a:cubicBezTo>
                <a:cubicBezTo>
                  <a:pt x="274" y="147"/>
                  <a:pt x="274" y="147"/>
                  <a:pt x="274" y="147"/>
                </a:cubicBezTo>
                <a:cubicBezTo>
                  <a:pt x="264" y="139"/>
                  <a:pt x="253" y="133"/>
                  <a:pt x="241" y="129"/>
                </a:cubicBezTo>
                <a:cubicBezTo>
                  <a:pt x="241" y="103"/>
                  <a:pt x="241" y="103"/>
                  <a:pt x="241" y="103"/>
                </a:cubicBezTo>
                <a:cubicBezTo>
                  <a:pt x="272" y="102"/>
                  <a:pt x="301" y="98"/>
                  <a:pt x="322" y="93"/>
                </a:cubicBezTo>
                <a:cubicBezTo>
                  <a:pt x="344" y="88"/>
                  <a:pt x="370" y="80"/>
                  <a:pt x="370" y="61"/>
                </a:cubicBezTo>
                <a:cubicBezTo>
                  <a:pt x="370" y="42"/>
                  <a:pt x="345" y="34"/>
                  <a:pt x="323" y="29"/>
                </a:cubicBezTo>
                <a:cubicBezTo>
                  <a:pt x="301" y="24"/>
                  <a:pt x="272" y="20"/>
                  <a:pt x="240" y="19"/>
                </a:cubicBezTo>
                <a:cubicBezTo>
                  <a:pt x="235" y="8"/>
                  <a:pt x="224" y="0"/>
                  <a:pt x="211" y="0"/>
                </a:cubicBezTo>
                <a:cubicBezTo>
                  <a:pt x="195" y="0"/>
                  <a:pt x="195" y="0"/>
                  <a:pt x="195" y="0"/>
                </a:cubicBezTo>
                <a:cubicBezTo>
                  <a:pt x="182" y="0"/>
                  <a:pt x="171" y="8"/>
                  <a:pt x="166" y="19"/>
                </a:cubicBezTo>
                <a:cubicBezTo>
                  <a:pt x="134" y="20"/>
                  <a:pt x="105" y="24"/>
                  <a:pt x="83" y="29"/>
                </a:cubicBezTo>
                <a:cubicBezTo>
                  <a:pt x="61" y="34"/>
                  <a:pt x="36" y="42"/>
                  <a:pt x="36" y="61"/>
                </a:cubicBezTo>
                <a:cubicBezTo>
                  <a:pt x="36" y="80"/>
                  <a:pt x="61" y="88"/>
                  <a:pt x="84" y="93"/>
                </a:cubicBezTo>
                <a:cubicBezTo>
                  <a:pt x="105" y="98"/>
                  <a:pt x="134" y="102"/>
                  <a:pt x="165" y="103"/>
                </a:cubicBezTo>
                <a:cubicBezTo>
                  <a:pt x="165" y="129"/>
                  <a:pt x="165" y="129"/>
                  <a:pt x="165" y="129"/>
                </a:cubicBezTo>
                <a:cubicBezTo>
                  <a:pt x="153" y="133"/>
                  <a:pt x="142" y="139"/>
                  <a:pt x="131" y="147"/>
                </a:cubicBezTo>
                <a:cubicBezTo>
                  <a:pt x="85" y="147"/>
                  <a:pt x="85" y="147"/>
                  <a:pt x="85" y="147"/>
                </a:cubicBezTo>
                <a:cubicBezTo>
                  <a:pt x="80" y="132"/>
                  <a:pt x="75" y="126"/>
                  <a:pt x="73" y="124"/>
                </a:cubicBezTo>
                <a:cubicBezTo>
                  <a:pt x="73" y="124"/>
                  <a:pt x="73" y="124"/>
                  <a:pt x="73" y="123"/>
                </a:cubicBezTo>
                <a:cubicBezTo>
                  <a:pt x="70" y="121"/>
                  <a:pt x="67" y="120"/>
                  <a:pt x="64" y="120"/>
                </a:cubicBezTo>
                <a:cubicBezTo>
                  <a:pt x="64" y="120"/>
                  <a:pt x="64" y="120"/>
                  <a:pt x="64" y="120"/>
                </a:cubicBezTo>
                <a:cubicBezTo>
                  <a:pt x="32" y="120"/>
                  <a:pt x="32" y="120"/>
                  <a:pt x="32" y="120"/>
                </a:cubicBezTo>
                <a:cubicBezTo>
                  <a:pt x="29" y="120"/>
                  <a:pt x="26" y="121"/>
                  <a:pt x="23" y="124"/>
                </a:cubicBezTo>
                <a:cubicBezTo>
                  <a:pt x="19" y="127"/>
                  <a:pt x="0" y="148"/>
                  <a:pt x="0" y="233"/>
                </a:cubicBezTo>
                <a:cubicBezTo>
                  <a:pt x="0" y="318"/>
                  <a:pt x="19" y="339"/>
                  <a:pt x="23" y="343"/>
                </a:cubicBezTo>
                <a:cubicBezTo>
                  <a:pt x="26" y="345"/>
                  <a:pt x="29" y="346"/>
                  <a:pt x="32" y="346"/>
                </a:cubicBezTo>
                <a:cubicBezTo>
                  <a:pt x="64" y="346"/>
                  <a:pt x="64" y="346"/>
                  <a:pt x="64" y="346"/>
                </a:cubicBezTo>
                <a:cubicBezTo>
                  <a:pt x="67" y="346"/>
                  <a:pt x="70" y="345"/>
                  <a:pt x="73" y="343"/>
                </a:cubicBezTo>
                <a:cubicBezTo>
                  <a:pt x="73" y="343"/>
                  <a:pt x="73" y="343"/>
                  <a:pt x="73" y="343"/>
                </a:cubicBezTo>
                <a:cubicBezTo>
                  <a:pt x="77" y="339"/>
                  <a:pt x="96" y="318"/>
                  <a:pt x="96" y="233"/>
                </a:cubicBezTo>
                <a:cubicBezTo>
                  <a:pt x="96" y="226"/>
                  <a:pt x="90" y="220"/>
                  <a:pt x="82" y="220"/>
                </a:cubicBezTo>
                <a:cubicBezTo>
                  <a:pt x="75" y="220"/>
                  <a:pt x="69" y="226"/>
                  <a:pt x="69" y="233"/>
                </a:cubicBezTo>
                <a:cubicBezTo>
                  <a:pt x="69" y="287"/>
                  <a:pt x="61" y="311"/>
                  <a:pt x="57" y="319"/>
                </a:cubicBezTo>
                <a:cubicBezTo>
                  <a:pt x="39" y="319"/>
                  <a:pt x="39" y="319"/>
                  <a:pt x="39" y="319"/>
                </a:cubicBezTo>
                <a:cubicBezTo>
                  <a:pt x="38" y="317"/>
                  <a:pt x="37" y="314"/>
                  <a:pt x="36" y="310"/>
                </a:cubicBezTo>
                <a:cubicBezTo>
                  <a:pt x="32" y="297"/>
                  <a:pt x="27" y="274"/>
                  <a:pt x="27" y="233"/>
                </a:cubicBezTo>
                <a:cubicBezTo>
                  <a:pt x="27" y="179"/>
                  <a:pt x="35" y="156"/>
                  <a:pt x="39" y="147"/>
                </a:cubicBezTo>
                <a:cubicBezTo>
                  <a:pt x="57" y="147"/>
                  <a:pt x="57" y="147"/>
                  <a:pt x="57" y="147"/>
                </a:cubicBezTo>
                <a:cubicBezTo>
                  <a:pt x="58" y="150"/>
                  <a:pt x="60" y="155"/>
                  <a:pt x="62" y="163"/>
                </a:cubicBezTo>
                <a:cubicBezTo>
                  <a:pt x="63" y="169"/>
                  <a:pt x="69" y="174"/>
                  <a:pt x="75" y="174"/>
                </a:cubicBezTo>
                <a:cubicBezTo>
                  <a:pt x="136" y="174"/>
                  <a:pt x="136" y="174"/>
                  <a:pt x="136" y="174"/>
                </a:cubicBezTo>
                <a:cubicBezTo>
                  <a:pt x="136" y="174"/>
                  <a:pt x="136" y="174"/>
                  <a:pt x="136" y="174"/>
                </a:cubicBezTo>
                <a:cubicBezTo>
                  <a:pt x="137" y="174"/>
                  <a:pt x="137" y="174"/>
                  <a:pt x="137" y="174"/>
                </a:cubicBezTo>
                <a:cubicBezTo>
                  <a:pt x="140" y="174"/>
                  <a:pt x="142" y="173"/>
                  <a:pt x="145" y="171"/>
                </a:cubicBezTo>
                <a:cubicBezTo>
                  <a:pt x="145" y="171"/>
                  <a:pt x="145" y="171"/>
                  <a:pt x="145" y="171"/>
                </a:cubicBezTo>
                <a:cubicBezTo>
                  <a:pt x="145" y="171"/>
                  <a:pt x="145" y="171"/>
                  <a:pt x="145" y="171"/>
                </a:cubicBezTo>
                <a:cubicBezTo>
                  <a:pt x="155" y="162"/>
                  <a:pt x="168" y="156"/>
                  <a:pt x="182" y="153"/>
                </a:cubicBezTo>
                <a:cubicBezTo>
                  <a:pt x="182" y="152"/>
                  <a:pt x="182" y="152"/>
                  <a:pt x="182" y="152"/>
                </a:cubicBezTo>
                <a:cubicBezTo>
                  <a:pt x="188" y="151"/>
                  <a:pt x="192" y="145"/>
                  <a:pt x="192" y="139"/>
                </a:cubicBezTo>
                <a:cubicBezTo>
                  <a:pt x="192" y="139"/>
                  <a:pt x="192" y="90"/>
                  <a:pt x="192" y="90"/>
                </a:cubicBezTo>
                <a:cubicBezTo>
                  <a:pt x="192" y="83"/>
                  <a:pt x="186" y="77"/>
                  <a:pt x="179" y="77"/>
                </a:cubicBezTo>
                <a:cubicBezTo>
                  <a:pt x="121" y="75"/>
                  <a:pt x="86" y="68"/>
                  <a:pt x="71" y="62"/>
                </a:cubicBezTo>
                <a:cubicBezTo>
                  <a:pt x="70" y="62"/>
                  <a:pt x="70" y="60"/>
                  <a:pt x="71" y="60"/>
                </a:cubicBezTo>
                <a:cubicBezTo>
                  <a:pt x="86" y="55"/>
                  <a:pt x="120" y="47"/>
                  <a:pt x="177" y="45"/>
                </a:cubicBezTo>
                <a:cubicBezTo>
                  <a:pt x="177" y="45"/>
                  <a:pt x="177" y="45"/>
                  <a:pt x="177" y="45"/>
                </a:cubicBezTo>
                <a:cubicBezTo>
                  <a:pt x="184" y="45"/>
                  <a:pt x="190" y="39"/>
                  <a:pt x="190" y="32"/>
                </a:cubicBezTo>
                <a:cubicBezTo>
                  <a:pt x="190" y="32"/>
                  <a:pt x="190" y="32"/>
                  <a:pt x="190" y="32"/>
                </a:cubicBezTo>
                <a:cubicBezTo>
                  <a:pt x="190" y="29"/>
                  <a:pt x="192" y="27"/>
                  <a:pt x="195" y="27"/>
                </a:cubicBezTo>
                <a:cubicBezTo>
                  <a:pt x="211" y="27"/>
                  <a:pt x="211" y="27"/>
                  <a:pt x="211" y="27"/>
                </a:cubicBezTo>
                <a:cubicBezTo>
                  <a:pt x="214" y="27"/>
                  <a:pt x="216" y="29"/>
                  <a:pt x="216" y="32"/>
                </a:cubicBezTo>
                <a:cubicBezTo>
                  <a:pt x="216" y="32"/>
                  <a:pt x="216" y="32"/>
                  <a:pt x="216" y="32"/>
                </a:cubicBezTo>
                <a:cubicBezTo>
                  <a:pt x="216" y="38"/>
                  <a:pt x="220" y="44"/>
                  <a:pt x="226" y="45"/>
                </a:cubicBezTo>
                <a:cubicBezTo>
                  <a:pt x="227" y="45"/>
                  <a:pt x="228" y="45"/>
                  <a:pt x="228" y="45"/>
                </a:cubicBezTo>
                <a:cubicBezTo>
                  <a:pt x="229" y="45"/>
                  <a:pt x="229" y="45"/>
                  <a:pt x="229" y="45"/>
                </a:cubicBezTo>
                <a:cubicBezTo>
                  <a:pt x="285" y="47"/>
                  <a:pt x="320" y="55"/>
                  <a:pt x="335" y="60"/>
                </a:cubicBezTo>
                <a:cubicBezTo>
                  <a:pt x="336" y="60"/>
                  <a:pt x="336" y="62"/>
                  <a:pt x="335" y="62"/>
                </a:cubicBezTo>
                <a:cubicBezTo>
                  <a:pt x="319" y="68"/>
                  <a:pt x="285" y="75"/>
                  <a:pt x="227" y="77"/>
                </a:cubicBezTo>
                <a:cubicBezTo>
                  <a:pt x="227" y="77"/>
                  <a:pt x="226" y="77"/>
                  <a:pt x="226" y="77"/>
                </a:cubicBezTo>
                <a:cubicBezTo>
                  <a:pt x="219" y="77"/>
                  <a:pt x="214" y="83"/>
                  <a:pt x="214" y="90"/>
                </a:cubicBezTo>
                <a:cubicBezTo>
                  <a:pt x="214" y="90"/>
                  <a:pt x="214" y="139"/>
                  <a:pt x="214" y="139"/>
                </a:cubicBezTo>
                <a:cubicBezTo>
                  <a:pt x="214" y="145"/>
                  <a:pt x="218" y="151"/>
                  <a:pt x="224" y="152"/>
                </a:cubicBezTo>
                <a:cubicBezTo>
                  <a:pt x="224" y="152"/>
                  <a:pt x="224" y="152"/>
                  <a:pt x="224" y="153"/>
                </a:cubicBezTo>
                <a:cubicBezTo>
                  <a:pt x="238" y="156"/>
                  <a:pt x="250" y="162"/>
                  <a:pt x="261" y="171"/>
                </a:cubicBezTo>
                <a:cubicBezTo>
                  <a:pt x="261" y="171"/>
                  <a:pt x="261" y="171"/>
                  <a:pt x="261" y="171"/>
                </a:cubicBezTo>
                <a:cubicBezTo>
                  <a:pt x="261" y="171"/>
                  <a:pt x="261" y="171"/>
                  <a:pt x="261" y="171"/>
                </a:cubicBezTo>
                <a:cubicBezTo>
                  <a:pt x="263" y="173"/>
                  <a:pt x="266" y="174"/>
                  <a:pt x="268" y="174"/>
                </a:cubicBezTo>
                <a:cubicBezTo>
                  <a:pt x="269" y="174"/>
                  <a:pt x="331" y="174"/>
                  <a:pt x="332" y="174"/>
                </a:cubicBezTo>
                <a:cubicBezTo>
                  <a:pt x="337" y="173"/>
                  <a:pt x="342" y="169"/>
                  <a:pt x="344" y="164"/>
                </a:cubicBezTo>
                <a:cubicBezTo>
                  <a:pt x="344" y="164"/>
                  <a:pt x="344" y="164"/>
                  <a:pt x="344" y="164"/>
                </a:cubicBezTo>
                <a:cubicBezTo>
                  <a:pt x="346" y="156"/>
                  <a:pt x="348" y="151"/>
                  <a:pt x="349" y="147"/>
                </a:cubicBezTo>
                <a:cubicBezTo>
                  <a:pt x="366" y="147"/>
                  <a:pt x="366" y="147"/>
                  <a:pt x="366" y="147"/>
                </a:cubicBezTo>
                <a:cubicBezTo>
                  <a:pt x="371" y="156"/>
                  <a:pt x="379" y="179"/>
                  <a:pt x="379" y="233"/>
                </a:cubicBezTo>
                <a:cubicBezTo>
                  <a:pt x="379" y="287"/>
                  <a:pt x="371" y="311"/>
                  <a:pt x="366" y="319"/>
                </a:cubicBezTo>
                <a:cubicBezTo>
                  <a:pt x="349" y="319"/>
                  <a:pt x="349" y="319"/>
                  <a:pt x="349" y="319"/>
                </a:cubicBezTo>
                <a:cubicBezTo>
                  <a:pt x="348" y="316"/>
                  <a:pt x="346" y="311"/>
                  <a:pt x="344" y="303"/>
                </a:cubicBezTo>
                <a:cubicBezTo>
                  <a:pt x="344" y="303"/>
                  <a:pt x="344" y="303"/>
                  <a:pt x="344" y="302"/>
                </a:cubicBezTo>
                <a:cubicBezTo>
                  <a:pt x="342" y="297"/>
                  <a:pt x="337" y="293"/>
                  <a:pt x="331" y="293"/>
                </a:cubicBezTo>
                <a:cubicBezTo>
                  <a:pt x="331" y="293"/>
                  <a:pt x="331" y="293"/>
                  <a:pt x="331" y="293"/>
                </a:cubicBezTo>
                <a:cubicBezTo>
                  <a:pt x="123" y="293"/>
                  <a:pt x="123" y="293"/>
                  <a:pt x="123" y="293"/>
                </a:cubicBezTo>
                <a:cubicBezTo>
                  <a:pt x="116" y="293"/>
                  <a:pt x="110" y="299"/>
                  <a:pt x="110" y="306"/>
                </a:cubicBezTo>
                <a:cubicBezTo>
                  <a:pt x="110" y="314"/>
                  <a:pt x="116" y="320"/>
                  <a:pt x="123" y="320"/>
                </a:cubicBezTo>
                <a:cubicBezTo>
                  <a:pt x="320" y="320"/>
                  <a:pt x="320" y="320"/>
                  <a:pt x="320" y="320"/>
                </a:cubicBezTo>
                <a:cubicBezTo>
                  <a:pt x="325" y="334"/>
                  <a:pt x="331" y="341"/>
                  <a:pt x="333" y="343"/>
                </a:cubicBezTo>
                <a:cubicBezTo>
                  <a:pt x="333" y="343"/>
                  <a:pt x="333" y="343"/>
                  <a:pt x="333" y="343"/>
                </a:cubicBezTo>
                <a:cubicBezTo>
                  <a:pt x="336" y="345"/>
                  <a:pt x="339" y="346"/>
                  <a:pt x="342" y="346"/>
                </a:cubicBezTo>
                <a:cubicBezTo>
                  <a:pt x="374" y="346"/>
                  <a:pt x="374" y="346"/>
                  <a:pt x="374" y="346"/>
                </a:cubicBezTo>
                <a:cubicBezTo>
                  <a:pt x="377" y="346"/>
                  <a:pt x="380" y="345"/>
                  <a:pt x="383" y="343"/>
                </a:cubicBezTo>
                <a:cubicBezTo>
                  <a:pt x="386" y="339"/>
                  <a:pt x="406" y="318"/>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24" name="Freeform 632"/>
          <p:cNvSpPr>
            <a:spLocks/>
          </p:cNvSpPr>
          <p:nvPr userDrawn="1"/>
        </p:nvSpPr>
        <p:spPr bwMode="auto">
          <a:xfrm>
            <a:off x="6630002" y="1874803"/>
            <a:ext cx="211986" cy="213122"/>
          </a:xfrm>
          <a:custGeom>
            <a:avLst/>
            <a:gdLst/>
            <a:ahLst/>
            <a:cxnLst>
              <a:cxn ang="0">
                <a:pos x="112" y="242"/>
              </a:cxn>
              <a:cxn ang="0">
                <a:pos x="103" y="214"/>
              </a:cxn>
              <a:cxn ang="0">
                <a:pos x="103" y="214"/>
              </a:cxn>
              <a:cxn ang="0">
                <a:pos x="103" y="214"/>
              </a:cxn>
              <a:cxn ang="0">
                <a:pos x="98" y="138"/>
              </a:cxn>
              <a:cxn ang="0">
                <a:pos x="91" y="141"/>
              </a:cxn>
              <a:cxn ang="0">
                <a:pos x="82" y="142"/>
              </a:cxn>
              <a:cxn ang="0">
                <a:pos x="64" y="136"/>
              </a:cxn>
              <a:cxn ang="0">
                <a:pos x="52" y="118"/>
              </a:cxn>
              <a:cxn ang="0">
                <a:pos x="51" y="110"/>
              </a:cxn>
              <a:cxn ang="0">
                <a:pos x="69" y="80"/>
              </a:cxn>
              <a:cxn ang="0">
                <a:pos x="69" y="80"/>
              </a:cxn>
              <a:cxn ang="0">
                <a:pos x="134" y="45"/>
              </a:cxn>
              <a:cxn ang="0">
                <a:pos x="135" y="45"/>
              </a:cxn>
              <a:cxn ang="0">
                <a:pos x="144" y="43"/>
              </a:cxn>
              <a:cxn ang="0">
                <a:pos x="166" y="53"/>
              </a:cxn>
              <a:cxn ang="0">
                <a:pos x="174" y="76"/>
              </a:cxn>
              <a:cxn ang="0">
                <a:pos x="174" y="195"/>
              </a:cxn>
              <a:cxn ang="0">
                <a:pos x="164" y="205"/>
              </a:cxn>
              <a:cxn ang="0">
                <a:pos x="155" y="195"/>
              </a:cxn>
              <a:cxn ang="0">
                <a:pos x="155" y="76"/>
              </a:cxn>
              <a:cxn ang="0">
                <a:pos x="152" y="65"/>
              </a:cxn>
              <a:cxn ang="0">
                <a:pos x="144" y="62"/>
              </a:cxn>
              <a:cxn ang="0">
                <a:pos x="139" y="63"/>
              </a:cxn>
              <a:cxn ang="0">
                <a:pos x="117" y="73"/>
              </a:cxn>
              <a:cxn ang="0">
                <a:pos x="117" y="73"/>
              </a:cxn>
              <a:cxn ang="0">
                <a:pos x="78" y="96"/>
              </a:cxn>
              <a:cxn ang="0">
                <a:pos x="70" y="110"/>
              </a:cxn>
              <a:cxn ang="0">
                <a:pos x="70" y="114"/>
              </a:cxn>
              <a:cxn ang="0">
                <a:pos x="75" y="121"/>
              </a:cxn>
              <a:cxn ang="0">
                <a:pos x="82" y="124"/>
              </a:cxn>
              <a:cxn ang="0">
                <a:pos x="86" y="123"/>
              </a:cxn>
              <a:cxn ang="0">
                <a:pos x="90" y="122"/>
              </a:cxn>
              <a:cxn ang="0">
                <a:pos x="122" y="214"/>
              </a:cxn>
              <a:cxn ang="0">
                <a:pos x="122" y="214"/>
              </a:cxn>
              <a:cxn ang="0">
                <a:pos x="125" y="228"/>
              </a:cxn>
              <a:cxn ang="0">
                <a:pos x="130" y="232"/>
              </a:cxn>
              <a:cxn ang="0">
                <a:pos x="136" y="233"/>
              </a:cxn>
              <a:cxn ang="0">
                <a:pos x="141" y="233"/>
              </a:cxn>
              <a:cxn ang="0">
                <a:pos x="141" y="233"/>
              </a:cxn>
              <a:cxn ang="0">
                <a:pos x="207" y="199"/>
              </a:cxn>
              <a:cxn ang="0">
                <a:pos x="232" y="127"/>
              </a:cxn>
              <a:cxn ang="0">
                <a:pos x="203" y="49"/>
              </a:cxn>
              <a:cxn ang="0">
                <a:pos x="126" y="19"/>
              </a:cxn>
              <a:cxn ang="0">
                <a:pos x="48" y="49"/>
              </a:cxn>
              <a:cxn ang="0">
                <a:pos x="19" y="126"/>
              </a:cxn>
              <a:cxn ang="0">
                <a:pos x="77" y="224"/>
              </a:cxn>
              <a:cxn ang="0">
                <a:pos x="82" y="236"/>
              </a:cxn>
              <a:cxn ang="0">
                <a:pos x="69" y="241"/>
              </a:cxn>
              <a:cxn ang="0">
                <a:pos x="0" y="126"/>
              </a:cxn>
              <a:cxn ang="0">
                <a:pos x="35" y="36"/>
              </a:cxn>
              <a:cxn ang="0">
                <a:pos x="126" y="0"/>
              </a:cxn>
              <a:cxn ang="0">
                <a:pos x="216" y="36"/>
              </a:cxn>
              <a:cxn ang="0">
                <a:pos x="251" y="127"/>
              </a:cxn>
              <a:cxn ang="0">
                <a:pos x="221" y="211"/>
              </a:cxn>
              <a:cxn ang="0">
                <a:pos x="144" y="251"/>
              </a:cxn>
              <a:cxn ang="0">
                <a:pos x="143" y="251"/>
              </a:cxn>
              <a:cxn ang="0">
                <a:pos x="136" y="252"/>
              </a:cxn>
              <a:cxn ang="0">
                <a:pos x="123" y="250"/>
              </a:cxn>
            </a:cxnLst>
            <a:rect l="0" t="0" r="r" b="b"/>
            <a:pathLst>
              <a:path w="251" h="252">
                <a:moveTo>
                  <a:pt x="123" y="250"/>
                </a:moveTo>
                <a:cubicBezTo>
                  <a:pt x="119" y="248"/>
                  <a:pt x="115" y="246"/>
                  <a:pt x="112" y="242"/>
                </a:cubicBezTo>
                <a:cubicBezTo>
                  <a:pt x="112" y="242"/>
                  <a:pt x="112" y="242"/>
                  <a:pt x="112" y="242"/>
                </a:cubicBezTo>
                <a:cubicBezTo>
                  <a:pt x="106" y="235"/>
                  <a:pt x="103" y="226"/>
                  <a:pt x="103" y="214"/>
                </a:cubicBezTo>
                <a:cubicBezTo>
                  <a:pt x="103" y="214"/>
                  <a:pt x="103" y="214"/>
                  <a:pt x="103" y="214"/>
                </a:cubicBezTo>
                <a:cubicBezTo>
                  <a:pt x="103" y="214"/>
                  <a:pt x="103" y="214"/>
                  <a:pt x="103" y="214"/>
                </a:cubicBezTo>
                <a:cubicBezTo>
                  <a:pt x="103" y="214"/>
                  <a:pt x="103" y="214"/>
                  <a:pt x="103" y="214"/>
                </a:cubicBezTo>
                <a:cubicBezTo>
                  <a:pt x="103" y="214"/>
                  <a:pt x="103" y="214"/>
                  <a:pt x="103" y="214"/>
                </a:cubicBezTo>
                <a:cubicBezTo>
                  <a:pt x="103" y="135"/>
                  <a:pt x="103" y="135"/>
                  <a:pt x="103" y="135"/>
                </a:cubicBezTo>
                <a:cubicBezTo>
                  <a:pt x="98" y="138"/>
                  <a:pt x="98" y="138"/>
                  <a:pt x="98" y="138"/>
                </a:cubicBezTo>
                <a:cubicBezTo>
                  <a:pt x="98" y="138"/>
                  <a:pt x="98" y="138"/>
                  <a:pt x="98" y="138"/>
                </a:cubicBezTo>
                <a:cubicBezTo>
                  <a:pt x="96" y="139"/>
                  <a:pt x="94" y="140"/>
                  <a:pt x="91" y="141"/>
                </a:cubicBezTo>
                <a:cubicBezTo>
                  <a:pt x="91" y="141"/>
                  <a:pt x="91" y="141"/>
                  <a:pt x="91" y="141"/>
                </a:cubicBezTo>
                <a:cubicBezTo>
                  <a:pt x="88" y="142"/>
                  <a:pt x="85" y="142"/>
                  <a:pt x="82" y="142"/>
                </a:cubicBezTo>
                <a:cubicBezTo>
                  <a:pt x="82" y="142"/>
                  <a:pt x="82" y="142"/>
                  <a:pt x="82" y="142"/>
                </a:cubicBezTo>
                <a:cubicBezTo>
                  <a:pt x="76" y="142"/>
                  <a:pt x="69" y="140"/>
                  <a:pt x="64" y="136"/>
                </a:cubicBezTo>
                <a:cubicBezTo>
                  <a:pt x="64" y="136"/>
                  <a:pt x="64" y="136"/>
                  <a:pt x="64" y="136"/>
                </a:cubicBezTo>
                <a:cubicBezTo>
                  <a:pt x="59" y="132"/>
                  <a:pt x="54" y="126"/>
                  <a:pt x="52" y="118"/>
                </a:cubicBezTo>
                <a:cubicBezTo>
                  <a:pt x="52" y="118"/>
                  <a:pt x="52" y="118"/>
                  <a:pt x="52" y="118"/>
                </a:cubicBezTo>
                <a:cubicBezTo>
                  <a:pt x="52" y="116"/>
                  <a:pt x="51" y="113"/>
                  <a:pt x="51" y="110"/>
                </a:cubicBezTo>
                <a:cubicBezTo>
                  <a:pt x="51" y="110"/>
                  <a:pt x="51" y="110"/>
                  <a:pt x="51" y="110"/>
                </a:cubicBezTo>
                <a:cubicBezTo>
                  <a:pt x="51" y="98"/>
                  <a:pt x="57" y="86"/>
                  <a:pt x="69" y="80"/>
                </a:cubicBezTo>
                <a:cubicBezTo>
                  <a:pt x="69" y="80"/>
                  <a:pt x="69" y="80"/>
                  <a:pt x="69" y="80"/>
                </a:cubicBezTo>
                <a:cubicBezTo>
                  <a:pt x="69" y="80"/>
                  <a:pt x="69" y="80"/>
                  <a:pt x="69" y="80"/>
                </a:cubicBezTo>
                <a:cubicBezTo>
                  <a:pt x="107" y="57"/>
                  <a:pt x="107" y="57"/>
                  <a:pt x="107" y="57"/>
                </a:cubicBezTo>
                <a:cubicBezTo>
                  <a:pt x="117" y="51"/>
                  <a:pt x="126" y="47"/>
                  <a:pt x="134" y="45"/>
                </a:cubicBezTo>
                <a:cubicBezTo>
                  <a:pt x="134" y="45"/>
                  <a:pt x="134" y="45"/>
                  <a:pt x="134" y="45"/>
                </a:cubicBezTo>
                <a:cubicBezTo>
                  <a:pt x="135" y="45"/>
                  <a:pt x="135" y="45"/>
                  <a:pt x="135" y="45"/>
                </a:cubicBezTo>
                <a:cubicBezTo>
                  <a:pt x="138" y="44"/>
                  <a:pt x="141" y="43"/>
                  <a:pt x="144" y="43"/>
                </a:cubicBezTo>
                <a:cubicBezTo>
                  <a:pt x="144" y="43"/>
                  <a:pt x="144" y="43"/>
                  <a:pt x="144" y="43"/>
                </a:cubicBezTo>
                <a:cubicBezTo>
                  <a:pt x="153" y="43"/>
                  <a:pt x="161" y="47"/>
                  <a:pt x="166" y="53"/>
                </a:cubicBezTo>
                <a:cubicBezTo>
                  <a:pt x="166" y="53"/>
                  <a:pt x="166" y="53"/>
                  <a:pt x="166" y="53"/>
                </a:cubicBezTo>
                <a:cubicBezTo>
                  <a:pt x="171" y="59"/>
                  <a:pt x="174" y="67"/>
                  <a:pt x="174" y="76"/>
                </a:cubicBezTo>
                <a:cubicBezTo>
                  <a:pt x="174" y="76"/>
                  <a:pt x="174" y="76"/>
                  <a:pt x="174" y="76"/>
                </a:cubicBezTo>
                <a:cubicBezTo>
                  <a:pt x="174" y="76"/>
                  <a:pt x="174" y="76"/>
                  <a:pt x="174" y="76"/>
                </a:cubicBezTo>
                <a:cubicBezTo>
                  <a:pt x="174" y="195"/>
                  <a:pt x="174" y="195"/>
                  <a:pt x="174" y="195"/>
                </a:cubicBezTo>
                <a:cubicBezTo>
                  <a:pt x="174" y="200"/>
                  <a:pt x="170" y="205"/>
                  <a:pt x="164" y="205"/>
                </a:cubicBezTo>
                <a:cubicBezTo>
                  <a:pt x="164" y="205"/>
                  <a:pt x="164" y="205"/>
                  <a:pt x="164" y="205"/>
                </a:cubicBezTo>
                <a:cubicBezTo>
                  <a:pt x="159" y="205"/>
                  <a:pt x="155" y="200"/>
                  <a:pt x="155" y="195"/>
                </a:cubicBezTo>
                <a:cubicBezTo>
                  <a:pt x="155" y="195"/>
                  <a:pt x="155" y="195"/>
                  <a:pt x="155" y="195"/>
                </a:cubicBezTo>
                <a:cubicBezTo>
                  <a:pt x="155" y="76"/>
                  <a:pt x="155" y="76"/>
                  <a:pt x="155" y="76"/>
                </a:cubicBezTo>
                <a:cubicBezTo>
                  <a:pt x="155" y="76"/>
                  <a:pt x="155" y="76"/>
                  <a:pt x="155" y="76"/>
                </a:cubicBezTo>
                <a:cubicBezTo>
                  <a:pt x="155" y="71"/>
                  <a:pt x="153" y="67"/>
                  <a:pt x="152" y="65"/>
                </a:cubicBezTo>
                <a:cubicBezTo>
                  <a:pt x="152" y="65"/>
                  <a:pt x="152" y="65"/>
                  <a:pt x="152" y="65"/>
                </a:cubicBezTo>
                <a:cubicBezTo>
                  <a:pt x="150" y="63"/>
                  <a:pt x="148" y="62"/>
                  <a:pt x="144" y="62"/>
                </a:cubicBezTo>
                <a:cubicBezTo>
                  <a:pt x="144" y="62"/>
                  <a:pt x="144" y="62"/>
                  <a:pt x="144" y="62"/>
                </a:cubicBezTo>
                <a:cubicBezTo>
                  <a:pt x="143" y="62"/>
                  <a:pt x="141" y="62"/>
                  <a:pt x="139" y="63"/>
                </a:cubicBezTo>
                <a:cubicBezTo>
                  <a:pt x="139" y="63"/>
                  <a:pt x="139" y="63"/>
                  <a:pt x="139" y="63"/>
                </a:cubicBezTo>
                <a:cubicBezTo>
                  <a:pt x="139" y="63"/>
                  <a:pt x="139" y="63"/>
                  <a:pt x="139" y="63"/>
                </a:cubicBezTo>
                <a:cubicBezTo>
                  <a:pt x="133" y="64"/>
                  <a:pt x="126" y="68"/>
                  <a:pt x="117" y="73"/>
                </a:cubicBezTo>
                <a:cubicBezTo>
                  <a:pt x="117" y="73"/>
                  <a:pt x="117" y="73"/>
                  <a:pt x="117" y="73"/>
                </a:cubicBezTo>
                <a:cubicBezTo>
                  <a:pt x="117" y="73"/>
                  <a:pt x="117" y="73"/>
                  <a:pt x="117" y="73"/>
                </a:cubicBezTo>
                <a:cubicBezTo>
                  <a:pt x="78" y="96"/>
                  <a:pt x="78" y="96"/>
                  <a:pt x="78" y="96"/>
                </a:cubicBezTo>
                <a:cubicBezTo>
                  <a:pt x="78" y="96"/>
                  <a:pt x="78" y="96"/>
                  <a:pt x="78" y="96"/>
                </a:cubicBezTo>
                <a:cubicBezTo>
                  <a:pt x="73" y="99"/>
                  <a:pt x="70" y="104"/>
                  <a:pt x="70" y="110"/>
                </a:cubicBezTo>
                <a:cubicBezTo>
                  <a:pt x="70" y="110"/>
                  <a:pt x="70" y="110"/>
                  <a:pt x="70" y="110"/>
                </a:cubicBezTo>
                <a:cubicBezTo>
                  <a:pt x="70" y="111"/>
                  <a:pt x="70" y="112"/>
                  <a:pt x="70" y="114"/>
                </a:cubicBezTo>
                <a:cubicBezTo>
                  <a:pt x="70" y="114"/>
                  <a:pt x="70" y="114"/>
                  <a:pt x="70" y="114"/>
                </a:cubicBezTo>
                <a:cubicBezTo>
                  <a:pt x="72" y="118"/>
                  <a:pt x="73" y="120"/>
                  <a:pt x="75" y="121"/>
                </a:cubicBezTo>
                <a:cubicBezTo>
                  <a:pt x="75" y="121"/>
                  <a:pt x="75" y="121"/>
                  <a:pt x="75" y="121"/>
                </a:cubicBezTo>
                <a:cubicBezTo>
                  <a:pt x="77" y="123"/>
                  <a:pt x="79" y="124"/>
                  <a:pt x="82" y="124"/>
                </a:cubicBezTo>
                <a:cubicBezTo>
                  <a:pt x="82" y="124"/>
                  <a:pt x="82" y="124"/>
                  <a:pt x="82" y="124"/>
                </a:cubicBezTo>
                <a:cubicBezTo>
                  <a:pt x="83" y="124"/>
                  <a:pt x="85" y="124"/>
                  <a:pt x="86" y="123"/>
                </a:cubicBezTo>
                <a:cubicBezTo>
                  <a:pt x="86" y="123"/>
                  <a:pt x="86" y="123"/>
                  <a:pt x="86" y="123"/>
                </a:cubicBezTo>
                <a:cubicBezTo>
                  <a:pt x="86" y="123"/>
                  <a:pt x="88" y="122"/>
                  <a:pt x="90" y="122"/>
                </a:cubicBezTo>
                <a:cubicBezTo>
                  <a:pt x="90" y="122"/>
                  <a:pt x="90" y="122"/>
                  <a:pt x="90" y="122"/>
                </a:cubicBezTo>
                <a:cubicBezTo>
                  <a:pt x="122" y="104"/>
                  <a:pt x="122" y="104"/>
                  <a:pt x="122" y="104"/>
                </a:cubicBezTo>
                <a:cubicBezTo>
                  <a:pt x="122" y="214"/>
                  <a:pt x="122" y="214"/>
                  <a:pt x="122" y="214"/>
                </a:cubicBezTo>
                <a:cubicBezTo>
                  <a:pt x="122" y="214"/>
                  <a:pt x="122" y="214"/>
                  <a:pt x="122" y="214"/>
                </a:cubicBezTo>
                <a:cubicBezTo>
                  <a:pt x="122" y="214"/>
                  <a:pt x="122" y="214"/>
                  <a:pt x="122" y="214"/>
                </a:cubicBezTo>
                <a:cubicBezTo>
                  <a:pt x="122" y="221"/>
                  <a:pt x="123" y="225"/>
                  <a:pt x="125" y="228"/>
                </a:cubicBezTo>
                <a:cubicBezTo>
                  <a:pt x="125" y="228"/>
                  <a:pt x="125" y="228"/>
                  <a:pt x="125" y="228"/>
                </a:cubicBezTo>
                <a:cubicBezTo>
                  <a:pt x="126" y="230"/>
                  <a:pt x="127" y="231"/>
                  <a:pt x="130" y="232"/>
                </a:cubicBezTo>
                <a:cubicBezTo>
                  <a:pt x="130" y="232"/>
                  <a:pt x="130" y="232"/>
                  <a:pt x="130" y="232"/>
                </a:cubicBezTo>
                <a:cubicBezTo>
                  <a:pt x="131" y="233"/>
                  <a:pt x="133" y="233"/>
                  <a:pt x="136" y="233"/>
                </a:cubicBezTo>
                <a:cubicBezTo>
                  <a:pt x="136" y="233"/>
                  <a:pt x="136" y="233"/>
                  <a:pt x="136" y="233"/>
                </a:cubicBezTo>
                <a:cubicBezTo>
                  <a:pt x="138" y="233"/>
                  <a:pt x="139" y="233"/>
                  <a:pt x="141" y="233"/>
                </a:cubicBezTo>
                <a:cubicBezTo>
                  <a:pt x="141" y="233"/>
                  <a:pt x="141" y="233"/>
                  <a:pt x="141" y="233"/>
                </a:cubicBezTo>
                <a:cubicBezTo>
                  <a:pt x="141" y="233"/>
                  <a:pt x="141" y="233"/>
                  <a:pt x="141" y="233"/>
                </a:cubicBezTo>
                <a:cubicBezTo>
                  <a:pt x="141" y="233"/>
                  <a:pt x="141" y="233"/>
                  <a:pt x="141" y="233"/>
                </a:cubicBezTo>
                <a:cubicBezTo>
                  <a:pt x="169" y="229"/>
                  <a:pt x="191" y="217"/>
                  <a:pt x="207" y="199"/>
                </a:cubicBezTo>
                <a:cubicBezTo>
                  <a:pt x="207" y="199"/>
                  <a:pt x="207" y="199"/>
                  <a:pt x="207" y="199"/>
                </a:cubicBezTo>
                <a:cubicBezTo>
                  <a:pt x="223" y="181"/>
                  <a:pt x="232" y="156"/>
                  <a:pt x="232" y="127"/>
                </a:cubicBezTo>
                <a:cubicBezTo>
                  <a:pt x="232" y="127"/>
                  <a:pt x="232" y="127"/>
                  <a:pt x="232" y="127"/>
                </a:cubicBezTo>
                <a:cubicBezTo>
                  <a:pt x="232" y="95"/>
                  <a:pt x="221" y="68"/>
                  <a:pt x="203" y="49"/>
                </a:cubicBezTo>
                <a:cubicBezTo>
                  <a:pt x="203" y="49"/>
                  <a:pt x="203" y="49"/>
                  <a:pt x="203" y="49"/>
                </a:cubicBezTo>
                <a:cubicBezTo>
                  <a:pt x="184" y="30"/>
                  <a:pt x="158" y="19"/>
                  <a:pt x="126" y="19"/>
                </a:cubicBezTo>
                <a:cubicBezTo>
                  <a:pt x="126" y="19"/>
                  <a:pt x="126" y="19"/>
                  <a:pt x="126" y="19"/>
                </a:cubicBezTo>
                <a:cubicBezTo>
                  <a:pt x="94" y="19"/>
                  <a:pt x="67" y="30"/>
                  <a:pt x="48" y="49"/>
                </a:cubicBezTo>
                <a:cubicBezTo>
                  <a:pt x="48" y="49"/>
                  <a:pt x="48" y="49"/>
                  <a:pt x="48" y="49"/>
                </a:cubicBezTo>
                <a:cubicBezTo>
                  <a:pt x="30" y="68"/>
                  <a:pt x="19" y="94"/>
                  <a:pt x="19" y="126"/>
                </a:cubicBezTo>
                <a:cubicBezTo>
                  <a:pt x="19" y="126"/>
                  <a:pt x="19" y="126"/>
                  <a:pt x="19" y="126"/>
                </a:cubicBezTo>
                <a:cubicBezTo>
                  <a:pt x="19" y="172"/>
                  <a:pt x="41" y="207"/>
                  <a:pt x="77" y="224"/>
                </a:cubicBezTo>
                <a:cubicBezTo>
                  <a:pt x="77" y="224"/>
                  <a:pt x="77" y="224"/>
                  <a:pt x="77" y="224"/>
                </a:cubicBezTo>
                <a:cubicBezTo>
                  <a:pt x="77" y="224"/>
                  <a:pt x="77" y="224"/>
                  <a:pt x="77" y="224"/>
                </a:cubicBezTo>
                <a:cubicBezTo>
                  <a:pt x="82" y="226"/>
                  <a:pt x="84" y="231"/>
                  <a:pt x="82" y="236"/>
                </a:cubicBezTo>
                <a:cubicBezTo>
                  <a:pt x="82" y="236"/>
                  <a:pt x="82" y="236"/>
                  <a:pt x="82" y="236"/>
                </a:cubicBezTo>
                <a:cubicBezTo>
                  <a:pt x="80" y="241"/>
                  <a:pt x="74" y="243"/>
                  <a:pt x="69" y="241"/>
                </a:cubicBezTo>
                <a:cubicBezTo>
                  <a:pt x="69" y="241"/>
                  <a:pt x="69" y="241"/>
                  <a:pt x="69" y="241"/>
                </a:cubicBezTo>
                <a:cubicBezTo>
                  <a:pt x="27" y="221"/>
                  <a:pt x="0" y="178"/>
                  <a:pt x="0" y="126"/>
                </a:cubicBezTo>
                <a:cubicBezTo>
                  <a:pt x="0" y="126"/>
                  <a:pt x="0" y="126"/>
                  <a:pt x="0" y="126"/>
                </a:cubicBezTo>
                <a:cubicBezTo>
                  <a:pt x="0" y="90"/>
                  <a:pt x="13" y="58"/>
                  <a:pt x="35" y="36"/>
                </a:cubicBezTo>
                <a:cubicBezTo>
                  <a:pt x="35" y="36"/>
                  <a:pt x="35" y="36"/>
                  <a:pt x="35" y="36"/>
                </a:cubicBezTo>
                <a:cubicBezTo>
                  <a:pt x="58" y="13"/>
                  <a:pt x="89" y="0"/>
                  <a:pt x="126" y="0"/>
                </a:cubicBezTo>
                <a:cubicBezTo>
                  <a:pt x="126" y="0"/>
                  <a:pt x="126" y="0"/>
                  <a:pt x="126" y="0"/>
                </a:cubicBezTo>
                <a:cubicBezTo>
                  <a:pt x="162" y="0"/>
                  <a:pt x="194" y="14"/>
                  <a:pt x="216" y="36"/>
                </a:cubicBezTo>
                <a:cubicBezTo>
                  <a:pt x="216" y="36"/>
                  <a:pt x="216" y="36"/>
                  <a:pt x="216" y="36"/>
                </a:cubicBezTo>
                <a:cubicBezTo>
                  <a:pt x="238" y="59"/>
                  <a:pt x="251" y="91"/>
                  <a:pt x="251" y="127"/>
                </a:cubicBezTo>
                <a:cubicBezTo>
                  <a:pt x="251" y="127"/>
                  <a:pt x="251" y="127"/>
                  <a:pt x="251" y="127"/>
                </a:cubicBezTo>
                <a:cubicBezTo>
                  <a:pt x="251" y="160"/>
                  <a:pt x="240" y="189"/>
                  <a:pt x="221" y="211"/>
                </a:cubicBezTo>
                <a:cubicBezTo>
                  <a:pt x="221" y="211"/>
                  <a:pt x="221" y="211"/>
                  <a:pt x="221" y="211"/>
                </a:cubicBezTo>
                <a:cubicBezTo>
                  <a:pt x="202" y="233"/>
                  <a:pt x="175" y="247"/>
                  <a:pt x="144" y="251"/>
                </a:cubicBezTo>
                <a:cubicBezTo>
                  <a:pt x="144" y="251"/>
                  <a:pt x="144" y="251"/>
                  <a:pt x="144" y="251"/>
                </a:cubicBezTo>
                <a:cubicBezTo>
                  <a:pt x="143" y="251"/>
                  <a:pt x="143" y="251"/>
                  <a:pt x="143" y="251"/>
                </a:cubicBezTo>
                <a:cubicBezTo>
                  <a:pt x="143" y="251"/>
                  <a:pt x="143" y="251"/>
                  <a:pt x="143" y="251"/>
                </a:cubicBezTo>
                <a:cubicBezTo>
                  <a:pt x="141" y="252"/>
                  <a:pt x="138" y="252"/>
                  <a:pt x="136" y="252"/>
                </a:cubicBezTo>
                <a:cubicBezTo>
                  <a:pt x="136" y="252"/>
                  <a:pt x="136" y="252"/>
                  <a:pt x="136" y="252"/>
                </a:cubicBezTo>
                <a:cubicBezTo>
                  <a:pt x="132" y="252"/>
                  <a:pt x="127" y="251"/>
                  <a:pt x="123" y="25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25" name="Freeform 640"/>
          <p:cNvSpPr>
            <a:spLocks noEditPoints="1"/>
          </p:cNvSpPr>
          <p:nvPr userDrawn="1"/>
        </p:nvSpPr>
        <p:spPr bwMode="auto">
          <a:xfrm>
            <a:off x="6630596" y="1363790"/>
            <a:ext cx="210796" cy="278606"/>
          </a:xfrm>
          <a:custGeom>
            <a:avLst/>
            <a:gdLst/>
            <a:ahLst/>
            <a:cxnLst>
              <a:cxn ang="0">
                <a:pos x="247" y="39"/>
              </a:cxn>
              <a:cxn ang="0">
                <a:pos x="236" y="28"/>
              </a:cxn>
              <a:cxn ang="0">
                <a:pos x="223" y="35"/>
              </a:cxn>
              <a:cxn ang="0">
                <a:pos x="223" y="35"/>
              </a:cxn>
              <a:cxn ang="0">
                <a:pos x="222" y="36"/>
              </a:cxn>
              <a:cxn ang="0">
                <a:pos x="125" y="53"/>
              </a:cxn>
              <a:cxn ang="0">
                <a:pos x="29" y="39"/>
              </a:cxn>
              <a:cxn ang="0">
                <a:pos x="123" y="25"/>
              </a:cxn>
              <a:cxn ang="0">
                <a:pos x="136" y="12"/>
              </a:cxn>
              <a:cxn ang="0">
                <a:pos x="123" y="0"/>
              </a:cxn>
              <a:cxn ang="0">
                <a:pos x="42" y="8"/>
              </a:cxn>
              <a:cxn ang="0">
                <a:pos x="0" y="39"/>
              </a:cxn>
              <a:cxn ang="0">
                <a:pos x="42" y="70"/>
              </a:cxn>
              <a:cxn ang="0">
                <a:pos x="125" y="78"/>
              </a:cxn>
              <a:cxn ang="0">
                <a:pos x="219" y="66"/>
              </a:cxn>
              <a:cxn ang="0">
                <a:pos x="213" y="126"/>
              </a:cxn>
              <a:cxn ang="0">
                <a:pos x="197" y="121"/>
              </a:cxn>
              <a:cxn ang="0">
                <a:pos x="123" y="113"/>
              </a:cxn>
              <a:cxn ang="0">
                <a:pos x="50" y="121"/>
              </a:cxn>
              <a:cxn ang="0">
                <a:pos x="34" y="126"/>
              </a:cxn>
              <a:cxn ang="0">
                <a:pos x="32" y="106"/>
              </a:cxn>
              <a:cxn ang="0">
                <a:pos x="18" y="94"/>
              </a:cxn>
              <a:cxn ang="0">
                <a:pos x="7" y="108"/>
              </a:cxn>
              <a:cxn ang="0">
                <a:pos x="22" y="291"/>
              </a:cxn>
              <a:cxn ang="0">
                <a:pos x="123" y="329"/>
              </a:cxn>
              <a:cxn ang="0">
                <a:pos x="223" y="291"/>
              </a:cxn>
              <a:cxn ang="0">
                <a:pos x="247" y="42"/>
              </a:cxn>
              <a:cxn ang="0">
                <a:pos x="247" y="39"/>
              </a:cxn>
              <a:cxn ang="0">
                <a:pos x="123" y="139"/>
              </a:cxn>
              <a:cxn ang="0">
                <a:pos x="206" y="151"/>
              </a:cxn>
              <a:cxn ang="0">
                <a:pos x="124" y="163"/>
              </a:cxn>
              <a:cxn ang="0">
                <a:pos x="41" y="150"/>
              </a:cxn>
              <a:cxn ang="0">
                <a:pos x="123" y="139"/>
              </a:cxn>
              <a:cxn ang="0">
                <a:pos x="123" y="304"/>
              </a:cxn>
              <a:cxn ang="0">
                <a:pos x="47" y="289"/>
              </a:cxn>
              <a:cxn ang="0">
                <a:pos x="38" y="177"/>
              </a:cxn>
              <a:cxn ang="0">
                <a:pos x="124" y="188"/>
              </a:cxn>
              <a:cxn ang="0">
                <a:pos x="209" y="177"/>
              </a:cxn>
              <a:cxn ang="0">
                <a:pos x="198" y="289"/>
              </a:cxn>
              <a:cxn ang="0">
                <a:pos x="123" y="304"/>
              </a:cxn>
            </a:cxnLst>
            <a:rect l="0" t="0" r="r" b="b"/>
            <a:pathLst>
              <a:path w="247" h="329">
                <a:moveTo>
                  <a:pt x="247" y="39"/>
                </a:moveTo>
                <a:cubicBezTo>
                  <a:pt x="246" y="33"/>
                  <a:pt x="242" y="28"/>
                  <a:pt x="236" y="28"/>
                </a:cubicBezTo>
                <a:cubicBezTo>
                  <a:pt x="230" y="27"/>
                  <a:pt x="225" y="30"/>
                  <a:pt x="223" y="35"/>
                </a:cubicBezTo>
                <a:cubicBezTo>
                  <a:pt x="223" y="35"/>
                  <a:pt x="223" y="35"/>
                  <a:pt x="223" y="35"/>
                </a:cubicBezTo>
                <a:cubicBezTo>
                  <a:pt x="222" y="36"/>
                  <a:pt x="222" y="36"/>
                  <a:pt x="222" y="36"/>
                </a:cubicBezTo>
                <a:cubicBezTo>
                  <a:pt x="216" y="42"/>
                  <a:pt x="182" y="53"/>
                  <a:pt x="125" y="53"/>
                </a:cubicBezTo>
                <a:cubicBezTo>
                  <a:pt x="76" y="53"/>
                  <a:pt x="41" y="45"/>
                  <a:pt x="29" y="39"/>
                </a:cubicBezTo>
                <a:cubicBezTo>
                  <a:pt x="40" y="33"/>
                  <a:pt x="73" y="25"/>
                  <a:pt x="123" y="25"/>
                </a:cubicBezTo>
                <a:cubicBezTo>
                  <a:pt x="130" y="25"/>
                  <a:pt x="136" y="19"/>
                  <a:pt x="136" y="12"/>
                </a:cubicBezTo>
                <a:cubicBezTo>
                  <a:pt x="136" y="5"/>
                  <a:pt x="130" y="0"/>
                  <a:pt x="123" y="0"/>
                </a:cubicBezTo>
                <a:cubicBezTo>
                  <a:pt x="93" y="0"/>
                  <a:pt x="64" y="3"/>
                  <a:pt x="42" y="8"/>
                </a:cubicBezTo>
                <a:cubicBezTo>
                  <a:pt x="31" y="10"/>
                  <a:pt x="0" y="18"/>
                  <a:pt x="0" y="39"/>
                </a:cubicBezTo>
                <a:cubicBezTo>
                  <a:pt x="0" y="60"/>
                  <a:pt x="32" y="67"/>
                  <a:pt x="42" y="70"/>
                </a:cubicBezTo>
                <a:cubicBezTo>
                  <a:pt x="65" y="75"/>
                  <a:pt x="94" y="78"/>
                  <a:pt x="125" y="78"/>
                </a:cubicBezTo>
                <a:cubicBezTo>
                  <a:pt x="138" y="78"/>
                  <a:pt x="187" y="77"/>
                  <a:pt x="219" y="66"/>
                </a:cubicBezTo>
                <a:cubicBezTo>
                  <a:pt x="218" y="82"/>
                  <a:pt x="216" y="103"/>
                  <a:pt x="213" y="126"/>
                </a:cubicBezTo>
                <a:cubicBezTo>
                  <a:pt x="207" y="123"/>
                  <a:pt x="200" y="122"/>
                  <a:pt x="197" y="121"/>
                </a:cubicBezTo>
                <a:cubicBezTo>
                  <a:pt x="177" y="116"/>
                  <a:pt x="151" y="113"/>
                  <a:pt x="123" y="113"/>
                </a:cubicBezTo>
                <a:cubicBezTo>
                  <a:pt x="96" y="113"/>
                  <a:pt x="70" y="116"/>
                  <a:pt x="50" y="121"/>
                </a:cubicBezTo>
                <a:cubicBezTo>
                  <a:pt x="47" y="122"/>
                  <a:pt x="40" y="123"/>
                  <a:pt x="34" y="126"/>
                </a:cubicBezTo>
                <a:cubicBezTo>
                  <a:pt x="33" y="114"/>
                  <a:pt x="32" y="106"/>
                  <a:pt x="32" y="106"/>
                </a:cubicBezTo>
                <a:cubicBezTo>
                  <a:pt x="31" y="99"/>
                  <a:pt x="25" y="94"/>
                  <a:pt x="18" y="94"/>
                </a:cubicBezTo>
                <a:cubicBezTo>
                  <a:pt x="11" y="95"/>
                  <a:pt x="6" y="101"/>
                  <a:pt x="7" y="108"/>
                </a:cubicBezTo>
                <a:cubicBezTo>
                  <a:pt x="22" y="291"/>
                  <a:pt x="22" y="291"/>
                  <a:pt x="22" y="291"/>
                </a:cubicBezTo>
                <a:cubicBezTo>
                  <a:pt x="23" y="319"/>
                  <a:pt x="77" y="329"/>
                  <a:pt x="123" y="329"/>
                </a:cubicBezTo>
                <a:cubicBezTo>
                  <a:pt x="168" y="329"/>
                  <a:pt x="222" y="319"/>
                  <a:pt x="223" y="291"/>
                </a:cubicBezTo>
                <a:cubicBezTo>
                  <a:pt x="247" y="42"/>
                  <a:pt x="247" y="42"/>
                  <a:pt x="247" y="42"/>
                </a:cubicBezTo>
                <a:cubicBezTo>
                  <a:pt x="247" y="41"/>
                  <a:pt x="247" y="40"/>
                  <a:pt x="247" y="39"/>
                </a:cubicBezTo>
                <a:close/>
                <a:moveTo>
                  <a:pt x="123" y="139"/>
                </a:moveTo>
                <a:cubicBezTo>
                  <a:pt x="166" y="139"/>
                  <a:pt x="195" y="145"/>
                  <a:pt x="206" y="151"/>
                </a:cubicBezTo>
                <a:cubicBezTo>
                  <a:pt x="195" y="156"/>
                  <a:pt x="167" y="163"/>
                  <a:pt x="124" y="163"/>
                </a:cubicBezTo>
                <a:cubicBezTo>
                  <a:pt x="81" y="163"/>
                  <a:pt x="52" y="156"/>
                  <a:pt x="41" y="150"/>
                </a:cubicBezTo>
                <a:cubicBezTo>
                  <a:pt x="52" y="145"/>
                  <a:pt x="81" y="139"/>
                  <a:pt x="123" y="139"/>
                </a:cubicBezTo>
                <a:close/>
                <a:moveTo>
                  <a:pt x="123" y="304"/>
                </a:moveTo>
                <a:cubicBezTo>
                  <a:pt x="77" y="304"/>
                  <a:pt x="51" y="293"/>
                  <a:pt x="47" y="289"/>
                </a:cubicBezTo>
                <a:cubicBezTo>
                  <a:pt x="47" y="288"/>
                  <a:pt x="42" y="228"/>
                  <a:pt x="38" y="177"/>
                </a:cubicBezTo>
                <a:cubicBezTo>
                  <a:pt x="67" y="187"/>
                  <a:pt x="112" y="188"/>
                  <a:pt x="124" y="188"/>
                </a:cubicBezTo>
                <a:cubicBezTo>
                  <a:pt x="136" y="188"/>
                  <a:pt x="180" y="187"/>
                  <a:pt x="209" y="177"/>
                </a:cubicBezTo>
                <a:cubicBezTo>
                  <a:pt x="203" y="235"/>
                  <a:pt x="198" y="288"/>
                  <a:pt x="198" y="289"/>
                </a:cubicBezTo>
                <a:cubicBezTo>
                  <a:pt x="194" y="293"/>
                  <a:pt x="168" y="304"/>
                  <a:pt x="123" y="30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grpSp>
        <p:nvGrpSpPr>
          <p:cNvPr id="82" name="Group 413"/>
          <p:cNvGrpSpPr>
            <a:grpSpLocks noChangeAspect="1"/>
          </p:cNvGrpSpPr>
          <p:nvPr userDrawn="1"/>
        </p:nvGrpSpPr>
        <p:grpSpPr bwMode="auto">
          <a:xfrm>
            <a:off x="7016427" y="3382781"/>
            <a:ext cx="342989" cy="226219"/>
            <a:chOff x="4193" y="3192"/>
            <a:chExt cx="288" cy="190"/>
          </a:xfrm>
          <a:noFill/>
        </p:grpSpPr>
        <p:sp>
          <p:nvSpPr>
            <p:cNvPr id="127"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Line 415"/>
            <p:cNvSpPr>
              <a:spLocks noChangeShapeType="1"/>
            </p:cNvSpPr>
            <p:nvPr/>
          </p:nvSpPr>
          <p:spPr bwMode="auto">
            <a:xfrm flipH="1" flipV="1">
              <a:off x="4232" y="3235"/>
              <a:ext cx="20" cy="19"/>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Line 416"/>
            <p:cNvSpPr>
              <a:spLocks noChangeShapeType="1"/>
            </p:cNvSpPr>
            <p:nvPr/>
          </p:nvSpPr>
          <p:spPr bwMode="auto">
            <a:xfrm flipV="1">
              <a:off x="4335" y="3192"/>
              <a:ext cx="1" cy="28"/>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Line 417"/>
            <p:cNvSpPr>
              <a:spLocks noChangeShapeType="1"/>
            </p:cNvSpPr>
            <p:nvPr/>
          </p:nvSpPr>
          <p:spPr bwMode="auto">
            <a:xfrm flipV="1">
              <a:off x="4424" y="3235"/>
              <a:ext cx="17" cy="21"/>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31" name="Freeform 513"/>
          <p:cNvSpPr>
            <a:spLocks/>
          </p:cNvSpPr>
          <p:nvPr userDrawn="1"/>
        </p:nvSpPr>
        <p:spPr bwMode="auto">
          <a:xfrm>
            <a:off x="6997967" y="1836106"/>
            <a:ext cx="379908" cy="290513"/>
          </a:xfrm>
          <a:custGeom>
            <a:avLst/>
            <a:gdLst/>
            <a:ahLst/>
            <a:cxnLst>
              <a:cxn ang="0">
                <a:pos x="14" y="0"/>
              </a:cxn>
              <a:cxn ang="0">
                <a:pos x="2" y="8"/>
              </a:cxn>
              <a:cxn ang="0">
                <a:pos x="4" y="22"/>
              </a:cxn>
              <a:cxn ang="0">
                <a:pos x="101" y="331"/>
              </a:cxn>
              <a:cxn ang="0">
                <a:pos x="116" y="342"/>
              </a:cxn>
              <a:cxn ang="0">
                <a:pos x="128" y="329"/>
              </a:cxn>
              <a:cxn ang="0">
                <a:pos x="127" y="327"/>
              </a:cxn>
              <a:cxn ang="0">
                <a:pos x="40" y="27"/>
              </a:cxn>
              <a:cxn ang="0">
                <a:pos x="101" y="27"/>
              </a:cxn>
              <a:cxn ang="0">
                <a:pos x="174" y="184"/>
              </a:cxn>
              <a:cxn ang="0">
                <a:pos x="182" y="194"/>
              </a:cxn>
              <a:cxn ang="0">
                <a:pos x="194" y="193"/>
              </a:cxn>
              <a:cxn ang="0">
                <a:pos x="370" y="168"/>
              </a:cxn>
              <a:cxn ang="0">
                <a:pos x="401" y="264"/>
              </a:cxn>
              <a:cxn ang="0">
                <a:pos x="397" y="316"/>
              </a:cxn>
              <a:cxn ang="0">
                <a:pos x="362" y="316"/>
              </a:cxn>
              <a:cxn ang="0">
                <a:pos x="362" y="273"/>
              </a:cxn>
              <a:cxn ang="0">
                <a:pos x="349" y="259"/>
              </a:cxn>
              <a:cxn ang="0">
                <a:pos x="164" y="259"/>
              </a:cxn>
              <a:cxn ang="0">
                <a:pos x="150" y="273"/>
              </a:cxn>
              <a:cxn ang="0">
                <a:pos x="164" y="286"/>
              </a:cxn>
              <a:cxn ang="0">
                <a:pos x="335" y="286"/>
              </a:cxn>
              <a:cxn ang="0">
                <a:pos x="335" y="329"/>
              </a:cxn>
              <a:cxn ang="0">
                <a:pos x="349" y="342"/>
              </a:cxn>
              <a:cxn ang="0">
                <a:pos x="408" y="342"/>
              </a:cxn>
              <a:cxn ang="0">
                <a:pos x="421" y="332"/>
              </a:cxn>
              <a:cxn ang="0">
                <a:pos x="388" y="148"/>
              </a:cxn>
              <a:cxn ang="0">
                <a:pos x="258" y="138"/>
              </a:cxn>
              <a:cxn ang="0">
                <a:pos x="196" y="162"/>
              </a:cxn>
              <a:cxn ang="0">
                <a:pos x="115" y="4"/>
              </a:cxn>
              <a:cxn ang="0">
                <a:pos x="106" y="0"/>
              </a:cxn>
              <a:cxn ang="0">
                <a:pos x="14" y="0"/>
              </a:cxn>
            </a:cxnLst>
            <a:rect l="0" t="0" r="r" b="b"/>
            <a:pathLst>
              <a:path w="449" h="343">
                <a:moveTo>
                  <a:pt x="14" y="0"/>
                </a:moveTo>
                <a:cubicBezTo>
                  <a:pt x="9" y="0"/>
                  <a:pt x="4" y="3"/>
                  <a:pt x="2" y="8"/>
                </a:cubicBezTo>
                <a:cubicBezTo>
                  <a:pt x="0" y="13"/>
                  <a:pt x="1" y="18"/>
                  <a:pt x="4" y="22"/>
                </a:cubicBezTo>
                <a:cubicBezTo>
                  <a:pt x="69" y="98"/>
                  <a:pt x="101" y="328"/>
                  <a:pt x="101" y="331"/>
                </a:cubicBezTo>
                <a:cubicBezTo>
                  <a:pt x="102" y="338"/>
                  <a:pt x="109" y="343"/>
                  <a:pt x="116" y="342"/>
                </a:cubicBezTo>
                <a:cubicBezTo>
                  <a:pt x="123" y="341"/>
                  <a:pt x="128" y="336"/>
                  <a:pt x="128" y="329"/>
                </a:cubicBezTo>
                <a:cubicBezTo>
                  <a:pt x="128" y="328"/>
                  <a:pt x="128" y="328"/>
                  <a:pt x="127" y="327"/>
                </a:cubicBezTo>
                <a:cubicBezTo>
                  <a:pt x="126" y="318"/>
                  <a:pt x="100" y="122"/>
                  <a:pt x="40" y="27"/>
                </a:cubicBezTo>
                <a:cubicBezTo>
                  <a:pt x="65" y="27"/>
                  <a:pt x="94" y="27"/>
                  <a:pt x="101" y="27"/>
                </a:cubicBezTo>
                <a:cubicBezTo>
                  <a:pt x="129" y="55"/>
                  <a:pt x="160" y="120"/>
                  <a:pt x="174" y="184"/>
                </a:cubicBezTo>
                <a:cubicBezTo>
                  <a:pt x="175" y="188"/>
                  <a:pt x="178" y="192"/>
                  <a:pt x="182" y="194"/>
                </a:cubicBezTo>
                <a:cubicBezTo>
                  <a:pt x="185" y="195"/>
                  <a:pt x="190" y="195"/>
                  <a:pt x="194" y="193"/>
                </a:cubicBezTo>
                <a:cubicBezTo>
                  <a:pt x="229" y="174"/>
                  <a:pt x="330" y="132"/>
                  <a:pt x="370" y="168"/>
                </a:cubicBezTo>
                <a:cubicBezTo>
                  <a:pt x="395" y="190"/>
                  <a:pt x="401" y="230"/>
                  <a:pt x="401" y="264"/>
                </a:cubicBezTo>
                <a:cubicBezTo>
                  <a:pt x="401" y="285"/>
                  <a:pt x="399" y="304"/>
                  <a:pt x="397" y="316"/>
                </a:cubicBezTo>
                <a:cubicBezTo>
                  <a:pt x="386" y="316"/>
                  <a:pt x="374" y="316"/>
                  <a:pt x="362" y="316"/>
                </a:cubicBezTo>
                <a:cubicBezTo>
                  <a:pt x="362" y="300"/>
                  <a:pt x="362" y="273"/>
                  <a:pt x="362" y="273"/>
                </a:cubicBezTo>
                <a:cubicBezTo>
                  <a:pt x="362" y="265"/>
                  <a:pt x="356" y="259"/>
                  <a:pt x="349" y="259"/>
                </a:cubicBezTo>
                <a:cubicBezTo>
                  <a:pt x="164" y="259"/>
                  <a:pt x="164" y="259"/>
                  <a:pt x="164" y="259"/>
                </a:cubicBezTo>
                <a:cubicBezTo>
                  <a:pt x="156" y="259"/>
                  <a:pt x="150" y="265"/>
                  <a:pt x="150" y="273"/>
                </a:cubicBezTo>
                <a:cubicBezTo>
                  <a:pt x="150" y="280"/>
                  <a:pt x="156" y="286"/>
                  <a:pt x="164" y="286"/>
                </a:cubicBezTo>
                <a:cubicBezTo>
                  <a:pt x="164" y="286"/>
                  <a:pt x="312" y="286"/>
                  <a:pt x="335" y="286"/>
                </a:cubicBezTo>
                <a:cubicBezTo>
                  <a:pt x="335" y="301"/>
                  <a:pt x="335" y="329"/>
                  <a:pt x="335" y="329"/>
                </a:cubicBezTo>
                <a:cubicBezTo>
                  <a:pt x="335" y="336"/>
                  <a:pt x="341" y="342"/>
                  <a:pt x="349" y="342"/>
                </a:cubicBezTo>
                <a:cubicBezTo>
                  <a:pt x="408" y="342"/>
                  <a:pt x="408" y="342"/>
                  <a:pt x="408" y="342"/>
                </a:cubicBezTo>
                <a:cubicBezTo>
                  <a:pt x="414" y="342"/>
                  <a:pt x="420" y="338"/>
                  <a:pt x="421" y="332"/>
                </a:cubicBezTo>
                <a:cubicBezTo>
                  <a:pt x="422" y="327"/>
                  <a:pt x="449" y="202"/>
                  <a:pt x="388" y="148"/>
                </a:cubicBezTo>
                <a:cubicBezTo>
                  <a:pt x="361" y="124"/>
                  <a:pt x="317" y="121"/>
                  <a:pt x="258" y="138"/>
                </a:cubicBezTo>
                <a:cubicBezTo>
                  <a:pt x="233" y="146"/>
                  <a:pt x="210" y="155"/>
                  <a:pt x="196" y="162"/>
                </a:cubicBezTo>
                <a:cubicBezTo>
                  <a:pt x="178" y="95"/>
                  <a:pt x="146" y="32"/>
                  <a:pt x="115" y="4"/>
                </a:cubicBezTo>
                <a:cubicBezTo>
                  <a:pt x="113" y="1"/>
                  <a:pt x="109" y="0"/>
                  <a:pt x="106" y="0"/>
                </a:cubicBezTo>
                <a:lnTo>
                  <a:pt x="14" y="0"/>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32" name="Freeform 517"/>
          <p:cNvSpPr>
            <a:spLocks noEditPoints="1"/>
          </p:cNvSpPr>
          <p:nvPr userDrawn="1"/>
        </p:nvSpPr>
        <p:spPr bwMode="auto">
          <a:xfrm>
            <a:off x="7070614" y="887315"/>
            <a:ext cx="234615" cy="358379"/>
          </a:xfrm>
          <a:custGeom>
            <a:avLst/>
            <a:gdLst/>
            <a:ahLst/>
            <a:cxnLst>
              <a:cxn ang="0">
                <a:pos x="141" y="1"/>
              </a:cxn>
              <a:cxn ang="0">
                <a:pos x="9" y="49"/>
              </a:cxn>
              <a:cxn ang="0">
                <a:pos x="0" y="62"/>
              </a:cxn>
              <a:cxn ang="0">
                <a:pos x="0" y="202"/>
              </a:cxn>
              <a:cxn ang="0">
                <a:pos x="9" y="214"/>
              </a:cxn>
              <a:cxn ang="0">
                <a:pos x="117" y="272"/>
              </a:cxn>
              <a:cxn ang="0">
                <a:pos x="117" y="387"/>
              </a:cxn>
              <a:cxn ang="0">
                <a:pos x="26" y="339"/>
              </a:cxn>
              <a:cxn ang="0">
                <a:pos x="26" y="266"/>
              </a:cxn>
              <a:cxn ang="0">
                <a:pos x="13" y="253"/>
              </a:cxn>
              <a:cxn ang="0">
                <a:pos x="0" y="266"/>
              </a:cxn>
              <a:cxn ang="0">
                <a:pos x="0" y="347"/>
              </a:cxn>
              <a:cxn ang="0">
                <a:pos x="7" y="359"/>
              </a:cxn>
              <a:cxn ang="0">
                <a:pos x="125" y="421"/>
              </a:cxn>
              <a:cxn ang="0">
                <a:pos x="138" y="420"/>
              </a:cxn>
              <a:cxn ang="0">
                <a:pos x="144" y="409"/>
              </a:cxn>
              <a:cxn ang="0">
                <a:pos x="144" y="264"/>
              </a:cxn>
              <a:cxn ang="0">
                <a:pos x="137" y="252"/>
              </a:cxn>
              <a:cxn ang="0">
                <a:pos x="26" y="194"/>
              </a:cxn>
              <a:cxn ang="0">
                <a:pos x="26" y="71"/>
              </a:cxn>
              <a:cxn ang="0">
                <a:pos x="132" y="33"/>
              </a:cxn>
              <a:cxn ang="0">
                <a:pos x="132" y="154"/>
              </a:cxn>
              <a:cxn ang="0">
                <a:pos x="139" y="165"/>
              </a:cxn>
              <a:cxn ang="0">
                <a:pos x="250" y="224"/>
              </a:cxn>
              <a:cxn ang="0">
                <a:pos x="250" y="342"/>
              </a:cxn>
              <a:cxn ang="0">
                <a:pos x="264" y="355"/>
              </a:cxn>
              <a:cxn ang="0">
                <a:pos x="277" y="342"/>
              </a:cxn>
              <a:cxn ang="0">
                <a:pos x="277" y="216"/>
              </a:cxn>
              <a:cxn ang="0">
                <a:pos x="272" y="206"/>
              </a:cxn>
              <a:cxn ang="0">
                <a:pos x="268" y="203"/>
              </a:cxn>
              <a:cxn ang="0">
                <a:pos x="159" y="146"/>
              </a:cxn>
              <a:cxn ang="0">
                <a:pos x="159" y="14"/>
              </a:cxn>
              <a:cxn ang="0">
                <a:pos x="153" y="3"/>
              </a:cxn>
              <a:cxn ang="0">
                <a:pos x="141" y="1"/>
              </a:cxn>
              <a:cxn ang="0">
                <a:pos x="261" y="229"/>
              </a:cxn>
              <a:cxn ang="0">
                <a:pos x="262" y="229"/>
              </a:cxn>
              <a:cxn ang="0">
                <a:pos x="261" y="229"/>
              </a:cxn>
            </a:cxnLst>
            <a:rect l="0" t="0" r="r" b="b"/>
            <a:pathLst>
              <a:path w="277" h="423">
                <a:moveTo>
                  <a:pt x="141" y="1"/>
                </a:moveTo>
                <a:cubicBezTo>
                  <a:pt x="9" y="49"/>
                  <a:pt x="9" y="49"/>
                  <a:pt x="9" y="49"/>
                </a:cubicBezTo>
                <a:cubicBezTo>
                  <a:pt x="3" y="51"/>
                  <a:pt x="0" y="56"/>
                  <a:pt x="0" y="62"/>
                </a:cubicBezTo>
                <a:cubicBezTo>
                  <a:pt x="0" y="202"/>
                  <a:pt x="0" y="202"/>
                  <a:pt x="0" y="202"/>
                </a:cubicBezTo>
                <a:cubicBezTo>
                  <a:pt x="0" y="208"/>
                  <a:pt x="4" y="212"/>
                  <a:pt x="9" y="214"/>
                </a:cubicBezTo>
                <a:cubicBezTo>
                  <a:pt x="12" y="216"/>
                  <a:pt x="105" y="265"/>
                  <a:pt x="117" y="272"/>
                </a:cubicBezTo>
                <a:cubicBezTo>
                  <a:pt x="117" y="284"/>
                  <a:pt x="117" y="357"/>
                  <a:pt x="117" y="387"/>
                </a:cubicBezTo>
                <a:cubicBezTo>
                  <a:pt x="92" y="374"/>
                  <a:pt x="37" y="345"/>
                  <a:pt x="26" y="339"/>
                </a:cubicBezTo>
                <a:cubicBezTo>
                  <a:pt x="26" y="326"/>
                  <a:pt x="26" y="266"/>
                  <a:pt x="26" y="266"/>
                </a:cubicBezTo>
                <a:cubicBezTo>
                  <a:pt x="26" y="259"/>
                  <a:pt x="20" y="253"/>
                  <a:pt x="13" y="253"/>
                </a:cubicBezTo>
                <a:cubicBezTo>
                  <a:pt x="6" y="253"/>
                  <a:pt x="0" y="259"/>
                  <a:pt x="0" y="266"/>
                </a:cubicBezTo>
                <a:cubicBezTo>
                  <a:pt x="0" y="347"/>
                  <a:pt x="0" y="347"/>
                  <a:pt x="0" y="347"/>
                </a:cubicBezTo>
                <a:cubicBezTo>
                  <a:pt x="0" y="352"/>
                  <a:pt x="3" y="357"/>
                  <a:pt x="7" y="359"/>
                </a:cubicBezTo>
                <a:cubicBezTo>
                  <a:pt x="125" y="421"/>
                  <a:pt x="125" y="421"/>
                  <a:pt x="125" y="421"/>
                </a:cubicBezTo>
                <a:cubicBezTo>
                  <a:pt x="129" y="423"/>
                  <a:pt x="134" y="423"/>
                  <a:pt x="138" y="420"/>
                </a:cubicBezTo>
                <a:cubicBezTo>
                  <a:pt x="142" y="418"/>
                  <a:pt x="144" y="413"/>
                  <a:pt x="144" y="409"/>
                </a:cubicBezTo>
                <a:cubicBezTo>
                  <a:pt x="144" y="264"/>
                  <a:pt x="144" y="264"/>
                  <a:pt x="144" y="264"/>
                </a:cubicBezTo>
                <a:cubicBezTo>
                  <a:pt x="144" y="259"/>
                  <a:pt x="141" y="254"/>
                  <a:pt x="137" y="252"/>
                </a:cubicBezTo>
                <a:cubicBezTo>
                  <a:pt x="137" y="252"/>
                  <a:pt x="39" y="200"/>
                  <a:pt x="26" y="194"/>
                </a:cubicBezTo>
                <a:cubicBezTo>
                  <a:pt x="26" y="180"/>
                  <a:pt x="26" y="86"/>
                  <a:pt x="26" y="71"/>
                </a:cubicBezTo>
                <a:cubicBezTo>
                  <a:pt x="40" y="66"/>
                  <a:pt x="108" y="42"/>
                  <a:pt x="132" y="33"/>
                </a:cubicBezTo>
                <a:cubicBezTo>
                  <a:pt x="132" y="61"/>
                  <a:pt x="132" y="154"/>
                  <a:pt x="132" y="154"/>
                </a:cubicBezTo>
                <a:cubicBezTo>
                  <a:pt x="132" y="159"/>
                  <a:pt x="135" y="163"/>
                  <a:pt x="139" y="165"/>
                </a:cubicBezTo>
                <a:cubicBezTo>
                  <a:pt x="139" y="165"/>
                  <a:pt x="238" y="217"/>
                  <a:pt x="250" y="224"/>
                </a:cubicBezTo>
                <a:cubicBezTo>
                  <a:pt x="250" y="238"/>
                  <a:pt x="250" y="342"/>
                  <a:pt x="250" y="342"/>
                </a:cubicBezTo>
                <a:cubicBezTo>
                  <a:pt x="250" y="349"/>
                  <a:pt x="256" y="355"/>
                  <a:pt x="264" y="355"/>
                </a:cubicBezTo>
                <a:cubicBezTo>
                  <a:pt x="271" y="355"/>
                  <a:pt x="277" y="349"/>
                  <a:pt x="277" y="342"/>
                </a:cubicBezTo>
                <a:cubicBezTo>
                  <a:pt x="277" y="216"/>
                  <a:pt x="277" y="216"/>
                  <a:pt x="277" y="216"/>
                </a:cubicBezTo>
                <a:cubicBezTo>
                  <a:pt x="277" y="212"/>
                  <a:pt x="275" y="208"/>
                  <a:pt x="272" y="206"/>
                </a:cubicBezTo>
                <a:cubicBezTo>
                  <a:pt x="271" y="205"/>
                  <a:pt x="270" y="204"/>
                  <a:pt x="268" y="203"/>
                </a:cubicBezTo>
                <a:cubicBezTo>
                  <a:pt x="265" y="202"/>
                  <a:pt x="171" y="152"/>
                  <a:pt x="159" y="146"/>
                </a:cubicBezTo>
                <a:cubicBezTo>
                  <a:pt x="159" y="131"/>
                  <a:pt x="159" y="14"/>
                  <a:pt x="159" y="14"/>
                </a:cubicBezTo>
                <a:cubicBezTo>
                  <a:pt x="159" y="10"/>
                  <a:pt x="157" y="6"/>
                  <a:pt x="153" y="3"/>
                </a:cubicBezTo>
                <a:cubicBezTo>
                  <a:pt x="150" y="1"/>
                  <a:pt x="145" y="0"/>
                  <a:pt x="141" y="1"/>
                </a:cubicBezTo>
                <a:close/>
                <a:moveTo>
                  <a:pt x="261" y="229"/>
                </a:moveTo>
                <a:cubicBezTo>
                  <a:pt x="261" y="229"/>
                  <a:pt x="261" y="229"/>
                  <a:pt x="262" y="229"/>
                </a:cubicBezTo>
                <a:cubicBezTo>
                  <a:pt x="261" y="229"/>
                  <a:pt x="261" y="229"/>
                  <a:pt x="261" y="229"/>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33" name="Freeform 564"/>
          <p:cNvSpPr>
            <a:spLocks/>
          </p:cNvSpPr>
          <p:nvPr userDrawn="1"/>
        </p:nvSpPr>
        <p:spPr bwMode="auto">
          <a:xfrm>
            <a:off x="7038459" y="3871470"/>
            <a:ext cx="298924" cy="241697"/>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34" name="Freeform 584"/>
          <p:cNvSpPr>
            <a:spLocks/>
          </p:cNvSpPr>
          <p:nvPr userDrawn="1"/>
        </p:nvSpPr>
        <p:spPr bwMode="auto">
          <a:xfrm>
            <a:off x="7051559" y="2761401"/>
            <a:ext cx="272725" cy="382190"/>
          </a:xfrm>
          <a:custGeom>
            <a:avLst/>
            <a:gdLst/>
            <a:ahLst/>
            <a:cxnLst>
              <a:cxn ang="0">
                <a:pos x="311" y="117"/>
              </a:cxn>
              <a:cxn ang="0">
                <a:pos x="246" y="130"/>
              </a:cxn>
              <a:cxn ang="0">
                <a:pos x="209" y="151"/>
              </a:cxn>
              <a:cxn ang="0">
                <a:pos x="153" y="195"/>
              </a:cxn>
              <a:cxn ang="0">
                <a:pos x="151" y="320"/>
              </a:cxn>
              <a:cxn ang="0">
                <a:pos x="116" y="286"/>
              </a:cxn>
              <a:cxn ang="0">
                <a:pos x="100" y="271"/>
              </a:cxn>
              <a:cxn ang="0">
                <a:pos x="132" y="192"/>
              </a:cxn>
              <a:cxn ang="0">
                <a:pos x="148" y="170"/>
              </a:cxn>
              <a:cxn ang="0">
                <a:pos x="66" y="131"/>
              </a:cxn>
              <a:cxn ang="0">
                <a:pos x="74" y="280"/>
              </a:cxn>
              <a:cxn ang="0">
                <a:pos x="88" y="295"/>
              </a:cxn>
              <a:cxn ang="0">
                <a:pos x="147" y="356"/>
              </a:cxn>
              <a:cxn ang="0">
                <a:pos x="154" y="364"/>
              </a:cxn>
              <a:cxn ang="0">
                <a:pos x="155" y="365"/>
              </a:cxn>
              <a:cxn ang="0">
                <a:pos x="156" y="366"/>
              </a:cxn>
              <a:cxn ang="0">
                <a:pos x="157" y="366"/>
              </a:cxn>
              <a:cxn ang="0">
                <a:pos x="159" y="367"/>
              </a:cxn>
              <a:cxn ang="0">
                <a:pos x="159" y="367"/>
              </a:cxn>
              <a:cxn ang="0">
                <a:pos x="161" y="368"/>
              </a:cxn>
              <a:cxn ang="0">
                <a:pos x="162" y="368"/>
              </a:cxn>
              <a:cxn ang="0">
                <a:pos x="163" y="368"/>
              </a:cxn>
              <a:cxn ang="0">
                <a:pos x="164" y="368"/>
              </a:cxn>
              <a:cxn ang="0">
                <a:pos x="167" y="368"/>
              </a:cxn>
              <a:cxn ang="0">
                <a:pos x="168" y="367"/>
              </a:cxn>
              <a:cxn ang="0">
                <a:pos x="169" y="367"/>
              </a:cxn>
              <a:cxn ang="0">
                <a:pos x="171" y="366"/>
              </a:cxn>
              <a:cxn ang="0">
                <a:pos x="172" y="365"/>
              </a:cxn>
              <a:cxn ang="0">
                <a:pos x="173" y="365"/>
              </a:cxn>
              <a:cxn ang="0">
                <a:pos x="174" y="364"/>
              </a:cxn>
              <a:cxn ang="0">
                <a:pos x="174" y="364"/>
              </a:cxn>
              <a:cxn ang="0">
                <a:pos x="217" y="317"/>
              </a:cxn>
              <a:cxn ang="0">
                <a:pos x="247" y="290"/>
              </a:cxn>
              <a:cxn ang="0">
                <a:pos x="263" y="187"/>
              </a:cxn>
              <a:cxn ang="0">
                <a:pos x="237" y="184"/>
              </a:cxn>
              <a:cxn ang="0">
                <a:pos x="223" y="275"/>
              </a:cxn>
              <a:cxn ang="0">
                <a:pos x="177" y="320"/>
              </a:cxn>
              <a:cxn ang="0">
                <a:pos x="194" y="193"/>
              </a:cxn>
              <a:cxn ang="0">
                <a:pos x="252" y="157"/>
              </a:cxn>
              <a:cxn ang="0">
                <a:pos x="258" y="154"/>
              </a:cxn>
              <a:cxn ang="0">
                <a:pos x="286" y="257"/>
              </a:cxn>
              <a:cxn ang="0">
                <a:pos x="182" y="423"/>
              </a:cxn>
              <a:cxn ang="0">
                <a:pos x="161" y="426"/>
              </a:cxn>
              <a:cxn ang="0">
                <a:pos x="114" y="404"/>
              </a:cxn>
              <a:cxn ang="0">
                <a:pos x="26" y="100"/>
              </a:cxn>
              <a:cxn ang="0">
                <a:pos x="27" y="81"/>
              </a:cxn>
              <a:cxn ang="0">
                <a:pos x="84" y="47"/>
              </a:cxn>
              <a:cxn ang="0">
                <a:pos x="162" y="27"/>
              </a:cxn>
              <a:cxn ang="0">
                <a:pos x="284" y="72"/>
              </a:cxn>
              <a:cxn ang="0">
                <a:pos x="299" y="83"/>
              </a:cxn>
              <a:cxn ang="0">
                <a:pos x="318" y="64"/>
              </a:cxn>
              <a:cxn ang="0">
                <a:pos x="251" y="23"/>
              </a:cxn>
              <a:cxn ang="0">
                <a:pos x="162" y="0"/>
              </a:cxn>
              <a:cxn ang="0">
                <a:pos x="25" y="50"/>
              </a:cxn>
              <a:cxn ang="0">
                <a:pos x="6" y="64"/>
              </a:cxn>
              <a:cxn ang="0">
                <a:pos x="1" y="76"/>
              </a:cxn>
              <a:cxn ang="0">
                <a:pos x="12" y="261"/>
              </a:cxn>
              <a:cxn ang="0">
                <a:pos x="132" y="447"/>
              </a:cxn>
              <a:cxn ang="0">
                <a:pos x="162" y="453"/>
              </a:cxn>
              <a:cxn ang="0">
                <a:pos x="162" y="453"/>
              </a:cxn>
              <a:cxn ang="0">
                <a:pos x="228" y="424"/>
              </a:cxn>
              <a:cxn ang="0">
                <a:pos x="324" y="130"/>
              </a:cxn>
            </a:cxnLst>
            <a:rect l="0" t="0" r="r" b="b"/>
            <a:pathLst>
              <a:path w="324" h="453">
                <a:moveTo>
                  <a:pt x="320" y="121"/>
                </a:moveTo>
                <a:cubicBezTo>
                  <a:pt x="317" y="118"/>
                  <a:pt x="314" y="117"/>
                  <a:pt x="311" y="117"/>
                </a:cubicBezTo>
                <a:cubicBezTo>
                  <a:pt x="309" y="116"/>
                  <a:pt x="308" y="116"/>
                  <a:pt x="306" y="116"/>
                </a:cubicBezTo>
                <a:cubicBezTo>
                  <a:pt x="288" y="116"/>
                  <a:pt x="265" y="121"/>
                  <a:pt x="246" y="130"/>
                </a:cubicBezTo>
                <a:cubicBezTo>
                  <a:pt x="246" y="130"/>
                  <a:pt x="246" y="130"/>
                  <a:pt x="246" y="130"/>
                </a:cubicBezTo>
                <a:cubicBezTo>
                  <a:pt x="246" y="130"/>
                  <a:pt x="229" y="139"/>
                  <a:pt x="209" y="151"/>
                </a:cubicBezTo>
                <a:cubicBezTo>
                  <a:pt x="199" y="157"/>
                  <a:pt x="188" y="164"/>
                  <a:pt x="178" y="171"/>
                </a:cubicBezTo>
                <a:cubicBezTo>
                  <a:pt x="168" y="179"/>
                  <a:pt x="159" y="187"/>
                  <a:pt x="153" y="195"/>
                </a:cubicBezTo>
                <a:cubicBezTo>
                  <a:pt x="151" y="198"/>
                  <a:pt x="151" y="200"/>
                  <a:pt x="151" y="203"/>
                </a:cubicBezTo>
                <a:cubicBezTo>
                  <a:pt x="151" y="320"/>
                  <a:pt x="151" y="320"/>
                  <a:pt x="151" y="320"/>
                </a:cubicBezTo>
                <a:cubicBezTo>
                  <a:pt x="148" y="318"/>
                  <a:pt x="145" y="315"/>
                  <a:pt x="142" y="312"/>
                </a:cubicBezTo>
                <a:cubicBezTo>
                  <a:pt x="134" y="303"/>
                  <a:pt x="125" y="293"/>
                  <a:pt x="116" y="286"/>
                </a:cubicBezTo>
                <a:cubicBezTo>
                  <a:pt x="112" y="282"/>
                  <a:pt x="108" y="278"/>
                  <a:pt x="105" y="275"/>
                </a:cubicBezTo>
                <a:cubicBezTo>
                  <a:pt x="103" y="274"/>
                  <a:pt x="102" y="272"/>
                  <a:pt x="100" y="271"/>
                </a:cubicBezTo>
                <a:cubicBezTo>
                  <a:pt x="89" y="165"/>
                  <a:pt x="89" y="165"/>
                  <a:pt x="89" y="165"/>
                </a:cubicBezTo>
                <a:cubicBezTo>
                  <a:pt x="102" y="172"/>
                  <a:pt x="118" y="182"/>
                  <a:pt x="132" y="192"/>
                </a:cubicBezTo>
                <a:cubicBezTo>
                  <a:pt x="138" y="196"/>
                  <a:pt x="146" y="195"/>
                  <a:pt x="151" y="189"/>
                </a:cubicBezTo>
                <a:cubicBezTo>
                  <a:pt x="155" y="183"/>
                  <a:pt x="154" y="174"/>
                  <a:pt x="148" y="170"/>
                </a:cubicBezTo>
                <a:cubicBezTo>
                  <a:pt x="118" y="148"/>
                  <a:pt x="79" y="130"/>
                  <a:pt x="79" y="130"/>
                </a:cubicBezTo>
                <a:cubicBezTo>
                  <a:pt x="75" y="128"/>
                  <a:pt x="70" y="129"/>
                  <a:pt x="66" y="131"/>
                </a:cubicBezTo>
                <a:cubicBezTo>
                  <a:pt x="62" y="134"/>
                  <a:pt x="60" y="139"/>
                  <a:pt x="60" y="144"/>
                </a:cubicBezTo>
                <a:cubicBezTo>
                  <a:pt x="74" y="280"/>
                  <a:pt x="74" y="280"/>
                  <a:pt x="74" y="280"/>
                </a:cubicBezTo>
                <a:cubicBezTo>
                  <a:pt x="75" y="284"/>
                  <a:pt x="77" y="288"/>
                  <a:pt x="81" y="290"/>
                </a:cubicBezTo>
                <a:cubicBezTo>
                  <a:pt x="82" y="291"/>
                  <a:pt x="84" y="293"/>
                  <a:pt x="88" y="295"/>
                </a:cubicBezTo>
                <a:cubicBezTo>
                  <a:pt x="98" y="304"/>
                  <a:pt x="115" y="322"/>
                  <a:pt x="129" y="337"/>
                </a:cubicBezTo>
                <a:cubicBezTo>
                  <a:pt x="136" y="344"/>
                  <a:pt x="142" y="351"/>
                  <a:pt x="147" y="356"/>
                </a:cubicBezTo>
                <a:cubicBezTo>
                  <a:pt x="151" y="361"/>
                  <a:pt x="154" y="364"/>
                  <a:pt x="154" y="364"/>
                </a:cubicBezTo>
                <a:cubicBezTo>
                  <a:pt x="154" y="364"/>
                  <a:pt x="154" y="364"/>
                  <a:pt x="154" y="364"/>
                </a:cubicBezTo>
                <a:cubicBezTo>
                  <a:pt x="154" y="364"/>
                  <a:pt x="155" y="364"/>
                  <a:pt x="155" y="365"/>
                </a:cubicBezTo>
                <a:cubicBezTo>
                  <a:pt x="155" y="365"/>
                  <a:pt x="155" y="365"/>
                  <a:pt x="155" y="365"/>
                </a:cubicBezTo>
                <a:cubicBezTo>
                  <a:pt x="155" y="365"/>
                  <a:pt x="156" y="365"/>
                  <a:pt x="156" y="365"/>
                </a:cubicBezTo>
                <a:cubicBezTo>
                  <a:pt x="156" y="365"/>
                  <a:pt x="156" y="366"/>
                  <a:pt x="156" y="366"/>
                </a:cubicBezTo>
                <a:cubicBezTo>
                  <a:pt x="156" y="366"/>
                  <a:pt x="157" y="366"/>
                  <a:pt x="157" y="366"/>
                </a:cubicBezTo>
                <a:cubicBezTo>
                  <a:pt x="157" y="366"/>
                  <a:pt x="157" y="366"/>
                  <a:pt x="157" y="366"/>
                </a:cubicBezTo>
                <a:cubicBezTo>
                  <a:pt x="158" y="367"/>
                  <a:pt x="158" y="367"/>
                  <a:pt x="158" y="367"/>
                </a:cubicBezTo>
                <a:cubicBezTo>
                  <a:pt x="158" y="367"/>
                  <a:pt x="159" y="367"/>
                  <a:pt x="159" y="367"/>
                </a:cubicBezTo>
                <a:cubicBezTo>
                  <a:pt x="159" y="367"/>
                  <a:pt x="159" y="367"/>
                  <a:pt x="159" y="367"/>
                </a:cubicBezTo>
                <a:cubicBezTo>
                  <a:pt x="159" y="367"/>
                  <a:pt x="159" y="367"/>
                  <a:pt x="159" y="367"/>
                </a:cubicBezTo>
                <a:cubicBezTo>
                  <a:pt x="160" y="367"/>
                  <a:pt x="160" y="367"/>
                  <a:pt x="160" y="367"/>
                </a:cubicBezTo>
                <a:cubicBezTo>
                  <a:pt x="160" y="368"/>
                  <a:pt x="161" y="368"/>
                  <a:pt x="161" y="368"/>
                </a:cubicBezTo>
                <a:cubicBezTo>
                  <a:pt x="161" y="368"/>
                  <a:pt x="161" y="368"/>
                  <a:pt x="161" y="368"/>
                </a:cubicBezTo>
                <a:cubicBezTo>
                  <a:pt x="162" y="368"/>
                  <a:pt x="162" y="368"/>
                  <a:pt x="162" y="368"/>
                </a:cubicBezTo>
                <a:cubicBezTo>
                  <a:pt x="162" y="368"/>
                  <a:pt x="163" y="368"/>
                  <a:pt x="163" y="368"/>
                </a:cubicBezTo>
                <a:cubicBezTo>
                  <a:pt x="163" y="368"/>
                  <a:pt x="163" y="368"/>
                  <a:pt x="163" y="368"/>
                </a:cubicBezTo>
                <a:cubicBezTo>
                  <a:pt x="164" y="368"/>
                  <a:pt x="164" y="368"/>
                  <a:pt x="164" y="368"/>
                </a:cubicBezTo>
                <a:cubicBezTo>
                  <a:pt x="164" y="368"/>
                  <a:pt x="164" y="368"/>
                  <a:pt x="164" y="368"/>
                </a:cubicBezTo>
                <a:cubicBezTo>
                  <a:pt x="164" y="368"/>
                  <a:pt x="164" y="368"/>
                  <a:pt x="164" y="368"/>
                </a:cubicBezTo>
                <a:cubicBezTo>
                  <a:pt x="165" y="368"/>
                  <a:pt x="166" y="368"/>
                  <a:pt x="167" y="368"/>
                </a:cubicBezTo>
                <a:cubicBezTo>
                  <a:pt x="167" y="368"/>
                  <a:pt x="167" y="368"/>
                  <a:pt x="167" y="368"/>
                </a:cubicBezTo>
                <a:cubicBezTo>
                  <a:pt x="167" y="368"/>
                  <a:pt x="168" y="368"/>
                  <a:pt x="168" y="367"/>
                </a:cubicBezTo>
                <a:cubicBezTo>
                  <a:pt x="168" y="367"/>
                  <a:pt x="168" y="367"/>
                  <a:pt x="168" y="367"/>
                </a:cubicBezTo>
                <a:cubicBezTo>
                  <a:pt x="168" y="367"/>
                  <a:pt x="169" y="367"/>
                  <a:pt x="169" y="367"/>
                </a:cubicBezTo>
                <a:cubicBezTo>
                  <a:pt x="169" y="367"/>
                  <a:pt x="169" y="367"/>
                  <a:pt x="169" y="367"/>
                </a:cubicBezTo>
                <a:cubicBezTo>
                  <a:pt x="170" y="367"/>
                  <a:pt x="170" y="366"/>
                  <a:pt x="171" y="366"/>
                </a:cubicBezTo>
                <a:cubicBezTo>
                  <a:pt x="171" y="366"/>
                  <a:pt x="171" y="366"/>
                  <a:pt x="172" y="366"/>
                </a:cubicBezTo>
                <a:cubicBezTo>
                  <a:pt x="172" y="365"/>
                  <a:pt x="172" y="365"/>
                  <a:pt x="172" y="365"/>
                </a:cubicBezTo>
                <a:cubicBezTo>
                  <a:pt x="172" y="365"/>
                  <a:pt x="172" y="365"/>
                  <a:pt x="173" y="365"/>
                </a:cubicBezTo>
                <a:cubicBezTo>
                  <a:pt x="173" y="365"/>
                  <a:pt x="173" y="365"/>
                  <a:pt x="173" y="365"/>
                </a:cubicBezTo>
                <a:cubicBezTo>
                  <a:pt x="173" y="365"/>
                  <a:pt x="173" y="365"/>
                  <a:pt x="173" y="365"/>
                </a:cubicBezTo>
                <a:cubicBezTo>
                  <a:pt x="173" y="364"/>
                  <a:pt x="173" y="364"/>
                  <a:pt x="174" y="364"/>
                </a:cubicBezTo>
                <a:cubicBezTo>
                  <a:pt x="174" y="364"/>
                  <a:pt x="174" y="364"/>
                  <a:pt x="174" y="364"/>
                </a:cubicBezTo>
                <a:cubicBezTo>
                  <a:pt x="174" y="364"/>
                  <a:pt x="174" y="364"/>
                  <a:pt x="174" y="364"/>
                </a:cubicBezTo>
                <a:cubicBezTo>
                  <a:pt x="174" y="364"/>
                  <a:pt x="177" y="360"/>
                  <a:pt x="183" y="353"/>
                </a:cubicBezTo>
                <a:cubicBezTo>
                  <a:pt x="192" y="344"/>
                  <a:pt x="205" y="330"/>
                  <a:pt x="217" y="317"/>
                </a:cubicBezTo>
                <a:cubicBezTo>
                  <a:pt x="224" y="311"/>
                  <a:pt x="230" y="304"/>
                  <a:pt x="235" y="300"/>
                </a:cubicBezTo>
                <a:cubicBezTo>
                  <a:pt x="240" y="295"/>
                  <a:pt x="245" y="291"/>
                  <a:pt x="247" y="290"/>
                </a:cubicBezTo>
                <a:cubicBezTo>
                  <a:pt x="251" y="288"/>
                  <a:pt x="253" y="284"/>
                  <a:pt x="253" y="280"/>
                </a:cubicBezTo>
                <a:cubicBezTo>
                  <a:pt x="263" y="187"/>
                  <a:pt x="263" y="187"/>
                  <a:pt x="263" y="187"/>
                </a:cubicBezTo>
                <a:cubicBezTo>
                  <a:pt x="264" y="179"/>
                  <a:pt x="258" y="173"/>
                  <a:pt x="251" y="172"/>
                </a:cubicBezTo>
                <a:cubicBezTo>
                  <a:pt x="244" y="171"/>
                  <a:pt x="237" y="177"/>
                  <a:pt x="237" y="184"/>
                </a:cubicBezTo>
                <a:cubicBezTo>
                  <a:pt x="227" y="271"/>
                  <a:pt x="227" y="271"/>
                  <a:pt x="227" y="271"/>
                </a:cubicBezTo>
                <a:cubicBezTo>
                  <a:pt x="226" y="272"/>
                  <a:pt x="224" y="274"/>
                  <a:pt x="223" y="275"/>
                </a:cubicBezTo>
                <a:cubicBezTo>
                  <a:pt x="210" y="286"/>
                  <a:pt x="193" y="303"/>
                  <a:pt x="179" y="318"/>
                </a:cubicBezTo>
                <a:cubicBezTo>
                  <a:pt x="179" y="319"/>
                  <a:pt x="178" y="320"/>
                  <a:pt x="177" y="320"/>
                </a:cubicBezTo>
                <a:cubicBezTo>
                  <a:pt x="177" y="208"/>
                  <a:pt x="177" y="208"/>
                  <a:pt x="177" y="208"/>
                </a:cubicBezTo>
                <a:cubicBezTo>
                  <a:pt x="181" y="203"/>
                  <a:pt x="187" y="198"/>
                  <a:pt x="194" y="193"/>
                </a:cubicBezTo>
                <a:cubicBezTo>
                  <a:pt x="207" y="183"/>
                  <a:pt x="223" y="173"/>
                  <a:pt x="236" y="166"/>
                </a:cubicBezTo>
                <a:cubicBezTo>
                  <a:pt x="242" y="162"/>
                  <a:pt x="248" y="159"/>
                  <a:pt x="252" y="157"/>
                </a:cubicBezTo>
                <a:cubicBezTo>
                  <a:pt x="254" y="156"/>
                  <a:pt x="255" y="155"/>
                  <a:pt x="256" y="155"/>
                </a:cubicBezTo>
                <a:cubicBezTo>
                  <a:pt x="257" y="155"/>
                  <a:pt x="257" y="154"/>
                  <a:pt x="258" y="154"/>
                </a:cubicBezTo>
                <a:cubicBezTo>
                  <a:pt x="269" y="149"/>
                  <a:pt x="284" y="145"/>
                  <a:pt x="296" y="144"/>
                </a:cubicBezTo>
                <a:cubicBezTo>
                  <a:pt x="294" y="185"/>
                  <a:pt x="289" y="235"/>
                  <a:pt x="286" y="257"/>
                </a:cubicBezTo>
                <a:cubicBezTo>
                  <a:pt x="274" y="336"/>
                  <a:pt x="237" y="381"/>
                  <a:pt x="210" y="404"/>
                </a:cubicBezTo>
                <a:cubicBezTo>
                  <a:pt x="199" y="414"/>
                  <a:pt x="190" y="419"/>
                  <a:pt x="182" y="423"/>
                </a:cubicBezTo>
                <a:cubicBezTo>
                  <a:pt x="175" y="426"/>
                  <a:pt x="169" y="426"/>
                  <a:pt x="163" y="426"/>
                </a:cubicBezTo>
                <a:cubicBezTo>
                  <a:pt x="162" y="426"/>
                  <a:pt x="162" y="426"/>
                  <a:pt x="161" y="426"/>
                </a:cubicBezTo>
                <a:cubicBezTo>
                  <a:pt x="155" y="426"/>
                  <a:pt x="149" y="426"/>
                  <a:pt x="142" y="423"/>
                </a:cubicBezTo>
                <a:cubicBezTo>
                  <a:pt x="134" y="419"/>
                  <a:pt x="125" y="414"/>
                  <a:pt x="114" y="404"/>
                </a:cubicBezTo>
                <a:cubicBezTo>
                  <a:pt x="87" y="381"/>
                  <a:pt x="50" y="336"/>
                  <a:pt x="38" y="257"/>
                </a:cubicBezTo>
                <a:cubicBezTo>
                  <a:pt x="34" y="226"/>
                  <a:pt x="26" y="142"/>
                  <a:pt x="26" y="100"/>
                </a:cubicBezTo>
                <a:cubicBezTo>
                  <a:pt x="26" y="93"/>
                  <a:pt x="26" y="87"/>
                  <a:pt x="27" y="83"/>
                </a:cubicBezTo>
                <a:cubicBezTo>
                  <a:pt x="27" y="83"/>
                  <a:pt x="27" y="82"/>
                  <a:pt x="27" y="81"/>
                </a:cubicBezTo>
                <a:cubicBezTo>
                  <a:pt x="28" y="81"/>
                  <a:pt x="29" y="80"/>
                  <a:pt x="30" y="79"/>
                </a:cubicBezTo>
                <a:cubicBezTo>
                  <a:pt x="39" y="72"/>
                  <a:pt x="59" y="59"/>
                  <a:pt x="84" y="47"/>
                </a:cubicBezTo>
                <a:cubicBezTo>
                  <a:pt x="108" y="36"/>
                  <a:pt x="137" y="26"/>
                  <a:pt x="162" y="27"/>
                </a:cubicBezTo>
                <a:cubicBezTo>
                  <a:pt x="162" y="27"/>
                  <a:pt x="162" y="27"/>
                  <a:pt x="162" y="27"/>
                </a:cubicBezTo>
                <a:cubicBezTo>
                  <a:pt x="191" y="26"/>
                  <a:pt x="224" y="39"/>
                  <a:pt x="250" y="52"/>
                </a:cubicBezTo>
                <a:cubicBezTo>
                  <a:pt x="263" y="59"/>
                  <a:pt x="275" y="66"/>
                  <a:pt x="284" y="72"/>
                </a:cubicBezTo>
                <a:cubicBezTo>
                  <a:pt x="288" y="75"/>
                  <a:pt x="291" y="77"/>
                  <a:pt x="294" y="79"/>
                </a:cubicBezTo>
                <a:cubicBezTo>
                  <a:pt x="297" y="81"/>
                  <a:pt x="299" y="83"/>
                  <a:pt x="299" y="83"/>
                </a:cubicBezTo>
                <a:cubicBezTo>
                  <a:pt x="304" y="88"/>
                  <a:pt x="312" y="88"/>
                  <a:pt x="318" y="83"/>
                </a:cubicBezTo>
                <a:cubicBezTo>
                  <a:pt x="323" y="78"/>
                  <a:pt x="323" y="69"/>
                  <a:pt x="318" y="64"/>
                </a:cubicBezTo>
                <a:cubicBezTo>
                  <a:pt x="316" y="62"/>
                  <a:pt x="313" y="60"/>
                  <a:pt x="310" y="58"/>
                </a:cubicBezTo>
                <a:cubicBezTo>
                  <a:pt x="299" y="50"/>
                  <a:pt x="278" y="35"/>
                  <a:pt x="251" y="23"/>
                </a:cubicBezTo>
                <a:cubicBezTo>
                  <a:pt x="225" y="11"/>
                  <a:pt x="194" y="0"/>
                  <a:pt x="162" y="0"/>
                </a:cubicBezTo>
                <a:cubicBezTo>
                  <a:pt x="162" y="0"/>
                  <a:pt x="162" y="0"/>
                  <a:pt x="162" y="0"/>
                </a:cubicBezTo>
                <a:cubicBezTo>
                  <a:pt x="126" y="0"/>
                  <a:pt x="90" y="14"/>
                  <a:pt x="61" y="28"/>
                </a:cubicBezTo>
                <a:cubicBezTo>
                  <a:pt x="47" y="36"/>
                  <a:pt x="35" y="43"/>
                  <a:pt x="25" y="50"/>
                </a:cubicBezTo>
                <a:cubicBezTo>
                  <a:pt x="21" y="53"/>
                  <a:pt x="17" y="56"/>
                  <a:pt x="14" y="58"/>
                </a:cubicBezTo>
                <a:cubicBezTo>
                  <a:pt x="10" y="60"/>
                  <a:pt x="8" y="62"/>
                  <a:pt x="6" y="64"/>
                </a:cubicBezTo>
                <a:cubicBezTo>
                  <a:pt x="4" y="66"/>
                  <a:pt x="3" y="68"/>
                  <a:pt x="3" y="69"/>
                </a:cubicBezTo>
                <a:cubicBezTo>
                  <a:pt x="2" y="72"/>
                  <a:pt x="1" y="74"/>
                  <a:pt x="1" y="76"/>
                </a:cubicBezTo>
                <a:cubicBezTo>
                  <a:pt x="0" y="82"/>
                  <a:pt x="0" y="90"/>
                  <a:pt x="0" y="100"/>
                </a:cubicBezTo>
                <a:cubicBezTo>
                  <a:pt x="0" y="145"/>
                  <a:pt x="7" y="228"/>
                  <a:pt x="12" y="261"/>
                </a:cubicBezTo>
                <a:cubicBezTo>
                  <a:pt x="25" y="347"/>
                  <a:pt x="66" y="398"/>
                  <a:pt x="96" y="424"/>
                </a:cubicBezTo>
                <a:cubicBezTo>
                  <a:pt x="109" y="436"/>
                  <a:pt x="121" y="443"/>
                  <a:pt x="132" y="447"/>
                </a:cubicBezTo>
                <a:cubicBezTo>
                  <a:pt x="143" y="452"/>
                  <a:pt x="153" y="453"/>
                  <a:pt x="162" y="453"/>
                </a:cubicBezTo>
                <a:cubicBezTo>
                  <a:pt x="162" y="453"/>
                  <a:pt x="162" y="453"/>
                  <a:pt x="162" y="453"/>
                </a:cubicBezTo>
                <a:cubicBezTo>
                  <a:pt x="162" y="453"/>
                  <a:pt x="162" y="453"/>
                  <a:pt x="162" y="453"/>
                </a:cubicBezTo>
                <a:cubicBezTo>
                  <a:pt x="162" y="453"/>
                  <a:pt x="162" y="453"/>
                  <a:pt x="162" y="453"/>
                </a:cubicBezTo>
                <a:cubicBezTo>
                  <a:pt x="171" y="453"/>
                  <a:pt x="181" y="452"/>
                  <a:pt x="192" y="447"/>
                </a:cubicBezTo>
                <a:cubicBezTo>
                  <a:pt x="203" y="443"/>
                  <a:pt x="215" y="436"/>
                  <a:pt x="228" y="424"/>
                </a:cubicBezTo>
                <a:cubicBezTo>
                  <a:pt x="258" y="398"/>
                  <a:pt x="299" y="347"/>
                  <a:pt x="312" y="261"/>
                </a:cubicBezTo>
                <a:cubicBezTo>
                  <a:pt x="316" y="235"/>
                  <a:pt x="321" y="176"/>
                  <a:pt x="324" y="130"/>
                </a:cubicBezTo>
                <a:cubicBezTo>
                  <a:pt x="324" y="127"/>
                  <a:pt x="322" y="123"/>
                  <a:pt x="320" y="12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35" name="Freeform 592"/>
          <p:cNvSpPr>
            <a:spLocks/>
          </p:cNvSpPr>
          <p:nvPr userDrawn="1"/>
        </p:nvSpPr>
        <p:spPr bwMode="auto">
          <a:xfrm>
            <a:off x="6994395" y="2296201"/>
            <a:ext cx="387054" cy="279797"/>
          </a:xfrm>
          <a:custGeom>
            <a:avLst/>
            <a:gdLst/>
            <a:ahLst/>
            <a:cxnLst>
              <a:cxn ang="0">
                <a:pos x="445" y="331"/>
              </a:cxn>
              <a:cxn ang="0">
                <a:pos x="13" y="331"/>
              </a:cxn>
              <a:cxn ang="0">
                <a:pos x="0" y="317"/>
              </a:cxn>
              <a:cxn ang="0">
                <a:pos x="0" y="282"/>
              </a:cxn>
              <a:cxn ang="0">
                <a:pos x="4" y="272"/>
              </a:cxn>
              <a:cxn ang="0">
                <a:pos x="70" y="207"/>
              </a:cxn>
              <a:cxn ang="0">
                <a:pos x="70" y="13"/>
              </a:cxn>
              <a:cxn ang="0">
                <a:pos x="83" y="0"/>
              </a:cxn>
              <a:cxn ang="0">
                <a:pos x="375" y="0"/>
              </a:cxn>
              <a:cxn ang="0">
                <a:pos x="388" y="13"/>
              </a:cxn>
              <a:cxn ang="0">
                <a:pos x="388" y="188"/>
              </a:cxn>
              <a:cxn ang="0">
                <a:pos x="375" y="202"/>
              </a:cxn>
              <a:cxn ang="0">
                <a:pos x="361" y="188"/>
              </a:cxn>
              <a:cxn ang="0">
                <a:pos x="361" y="27"/>
              </a:cxn>
              <a:cxn ang="0">
                <a:pos x="97" y="27"/>
              </a:cxn>
              <a:cxn ang="0">
                <a:pos x="97" y="213"/>
              </a:cxn>
              <a:cxn ang="0">
                <a:pos x="93" y="222"/>
              </a:cxn>
              <a:cxn ang="0">
                <a:pos x="26" y="288"/>
              </a:cxn>
              <a:cxn ang="0">
                <a:pos x="26" y="304"/>
              </a:cxn>
              <a:cxn ang="0">
                <a:pos x="432" y="304"/>
              </a:cxn>
              <a:cxn ang="0">
                <a:pos x="432" y="288"/>
              </a:cxn>
              <a:cxn ang="0">
                <a:pos x="371" y="240"/>
              </a:cxn>
              <a:cxn ang="0">
                <a:pos x="139" y="240"/>
              </a:cxn>
              <a:cxn ang="0">
                <a:pos x="126" y="254"/>
              </a:cxn>
              <a:cxn ang="0">
                <a:pos x="363" y="254"/>
              </a:cxn>
              <a:cxn ang="0">
                <a:pos x="377" y="267"/>
              </a:cxn>
              <a:cxn ang="0">
                <a:pos x="363" y="280"/>
              </a:cxn>
              <a:cxn ang="0">
                <a:pos x="96" y="280"/>
              </a:cxn>
              <a:cxn ang="0">
                <a:pos x="83" y="272"/>
              </a:cxn>
              <a:cxn ang="0">
                <a:pos x="86" y="258"/>
              </a:cxn>
              <a:cxn ang="0">
                <a:pos x="124" y="217"/>
              </a:cxn>
              <a:cxn ang="0">
                <a:pos x="134" y="213"/>
              </a:cxn>
              <a:cxn ang="0">
                <a:pos x="376" y="213"/>
              </a:cxn>
              <a:cxn ang="0">
                <a:pos x="385" y="216"/>
              </a:cxn>
              <a:cxn ang="0">
                <a:pos x="454" y="272"/>
              </a:cxn>
              <a:cxn ang="0">
                <a:pos x="458" y="282"/>
              </a:cxn>
              <a:cxn ang="0">
                <a:pos x="458" y="317"/>
              </a:cxn>
              <a:cxn ang="0">
                <a:pos x="445" y="331"/>
              </a:cxn>
            </a:cxnLst>
            <a:rect l="0" t="0" r="r" b="b"/>
            <a:pathLst>
              <a:path w="458" h="331">
                <a:moveTo>
                  <a:pt x="445" y="331"/>
                </a:moveTo>
                <a:cubicBezTo>
                  <a:pt x="13" y="331"/>
                  <a:pt x="13" y="331"/>
                  <a:pt x="13" y="331"/>
                </a:cubicBezTo>
                <a:cubicBezTo>
                  <a:pt x="5" y="331"/>
                  <a:pt x="0" y="325"/>
                  <a:pt x="0" y="317"/>
                </a:cubicBezTo>
                <a:cubicBezTo>
                  <a:pt x="0" y="282"/>
                  <a:pt x="0" y="282"/>
                  <a:pt x="0" y="282"/>
                </a:cubicBezTo>
                <a:cubicBezTo>
                  <a:pt x="0" y="278"/>
                  <a:pt x="1" y="275"/>
                  <a:pt x="4" y="272"/>
                </a:cubicBezTo>
                <a:cubicBezTo>
                  <a:pt x="70" y="207"/>
                  <a:pt x="70" y="207"/>
                  <a:pt x="70" y="207"/>
                </a:cubicBezTo>
                <a:cubicBezTo>
                  <a:pt x="70" y="13"/>
                  <a:pt x="70" y="13"/>
                  <a:pt x="70" y="13"/>
                </a:cubicBezTo>
                <a:cubicBezTo>
                  <a:pt x="70" y="6"/>
                  <a:pt x="76" y="0"/>
                  <a:pt x="83" y="0"/>
                </a:cubicBezTo>
                <a:cubicBezTo>
                  <a:pt x="375" y="0"/>
                  <a:pt x="375" y="0"/>
                  <a:pt x="375" y="0"/>
                </a:cubicBezTo>
                <a:cubicBezTo>
                  <a:pt x="382" y="0"/>
                  <a:pt x="388" y="6"/>
                  <a:pt x="388" y="13"/>
                </a:cubicBezTo>
                <a:cubicBezTo>
                  <a:pt x="388" y="188"/>
                  <a:pt x="388" y="188"/>
                  <a:pt x="388" y="188"/>
                </a:cubicBezTo>
                <a:cubicBezTo>
                  <a:pt x="388" y="196"/>
                  <a:pt x="382" y="202"/>
                  <a:pt x="375" y="202"/>
                </a:cubicBezTo>
                <a:cubicBezTo>
                  <a:pt x="367" y="202"/>
                  <a:pt x="361" y="196"/>
                  <a:pt x="361" y="188"/>
                </a:cubicBezTo>
                <a:cubicBezTo>
                  <a:pt x="361" y="27"/>
                  <a:pt x="361" y="27"/>
                  <a:pt x="361" y="27"/>
                </a:cubicBezTo>
                <a:cubicBezTo>
                  <a:pt x="97" y="27"/>
                  <a:pt x="97" y="27"/>
                  <a:pt x="97" y="27"/>
                </a:cubicBezTo>
                <a:cubicBezTo>
                  <a:pt x="97" y="213"/>
                  <a:pt x="97" y="213"/>
                  <a:pt x="97" y="213"/>
                </a:cubicBezTo>
                <a:cubicBezTo>
                  <a:pt x="97" y="217"/>
                  <a:pt x="95" y="220"/>
                  <a:pt x="93" y="222"/>
                </a:cubicBezTo>
                <a:cubicBezTo>
                  <a:pt x="26" y="288"/>
                  <a:pt x="26" y="288"/>
                  <a:pt x="26" y="288"/>
                </a:cubicBezTo>
                <a:cubicBezTo>
                  <a:pt x="26" y="304"/>
                  <a:pt x="26" y="304"/>
                  <a:pt x="26" y="304"/>
                </a:cubicBezTo>
                <a:cubicBezTo>
                  <a:pt x="432" y="304"/>
                  <a:pt x="432" y="304"/>
                  <a:pt x="432" y="304"/>
                </a:cubicBezTo>
                <a:cubicBezTo>
                  <a:pt x="432" y="288"/>
                  <a:pt x="432" y="288"/>
                  <a:pt x="432" y="288"/>
                </a:cubicBezTo>
                <a:cubicBezTo>
                  <a:pt x="371" y="240"/>
                  <a:pt x="371" y="240"/>
                  <a:pt x="371" y="240"/>
                </a:cubicBezTo>
                <a:cubicBezTo>
                  <a:pt x="139" y="240"/>
                  <a:pt x="139" y="240"/>
                  <a:pt x="139" y="240"/>
                </a:cubicBezTo>
                <a:cubicBezTo>
                  <a:pt x="126" y="254"/>
                  <a:pt x="126" y="254"/>
                  <a:pt x="126" y="254"/>
                </a:cubicBezTo>
                <a:cubicBezTo>
                  <a:pt x="363" y="254"/>
                  <a:pt x="363" y="254"/>
                  <a:pt x="363" y="254"/>
                </a:cubicBezTo>
                <a:cubicBezTo>
                  <a:pt x="371" y="254"/>
                  <a:pt x="377" y="260"/>
                  <a:pt x="377" y="267"/>
                </a:cubicBezTo>
                <a:cubicBezTo>
                  <a:pt x="377" y="274"/>
                  <a:pt x="371" y="280"/>
                  <a:pt x="363" y="280"/>
                </a:cubicBezTo>
                <a:cubicBezTo>
                  <a:pt x="96" y="280"/>
                  <a:pt x="96" y="280"/>
                  <a:pt x="96" y="280"/>
                </a:cubicBezTo>
                <a:cubicBezTo>
                  <a:pt x="90" y="280"/>
                  <a:pt x="86" y="277"/>
                  <a:pt x="83" y="272"/>
                </a:cubicBezTo>
                <a:cubicBezTo>
                  <a:pt x="81" y="267"/>
                  <a:pt x="82" y="262"/>
                  <a:pt x="86" y="258"/>
                </a:cubicBezTo>
                <a:cubicBezTo>
                  <a:pt x="124" y="217"/>
                  <a:pt x="124" y="217"/>
                  <a:pt x="124" y="217"/>
                </a:cubicBezTo>
                <a:cubicBezTo>
                  <a:pt x="126" y="214"/>
                  <a:pt x="130" y="213"/>
                  <a:pt x="134" y="213"/>
                </a:cubicBezTo>
                <a:cubicBezTo>
                  <a:pt x="376" y="213"/>
                  <a:pt x="376" y="213"/>
                  <a:pt x="376" y="213"/>
                </a:cubicBezTo>
                <a:cubicBezTo>
                  <a:pt x="379" y="213"/>
                  <a:pt x="382" y="214"/>
                  <a:pt x="385" y="216"/>
                </a:cubicBezTo>
                <a:cubicBezTo>
                  <a:pt x="454" y="272"/>
                  <a:pt x="454" y="272"/>
                  <a:pt x="454" y="272"/>
                </a:cubicBezTo>
                <a:cubicBezTo>
                  <a:pt x="457" y="274"/>
                  <a:pt x="458" y="278"/>
                  <a:pt x="458" y="282"/>
                </a:cubicBezTo>
                <a:cubicBezTo>
                  <a:pt x="458" y="317"/>
                  <a:pt x="458" y="317"/>
                  <a:pt x="458" y="317"/>
                </a:cubicBezTo>
                <a:cubicBezTo>
                  <a:pt x="458" y="325"/>
                  <a:pt x="453" y="331"/>
                  <a:pt x="445" y="33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36" name="Freeform 644"/>
          <p:cNvSpPr>
            <a:spLocks/>
          </p:cNvSpPr>
          <p:nvPr userDrawn="1"/>
        </p:nvSpPr>
        <p:spPr bwMode="auto">
          <a:xfrm>
            <a:off x="7081929" y="1378672"/>
            <a:ext cx="211986" cy="248841"/>
          </a:xfrm>
          <a:custGeom>
            <a:avLst/>
            <a:gdLst/>
            <a:ahLst/>
            <a:cxnLst>
              <a:cxn ang="0">
                <a:pos x="218" y="89"/>
              </a:cxn>
              <a:cxn ang="0">
                <a:pos x="200" y="103"/>
              </a:cxn>
              <a:cxn ang="0">
                <a:pos x="195" y="116"/>
              </a:cxn>
              <a:cxn ang="0">
                <a:pos x="187" y="231"/>
              </a:cxn>
              <a:cxn ang="0">
                <a:pos x="83" y="247"/>
              </a:cxn>
              <a:cxn ang="0">
                <a:pos x="172" y="227"/>
              </a:cxn>
              <a:cxn ang="0">
                <a:pos x="184" y="223"/>
              </a:cxn>
              <a:cxn ang="0">
                <a:pos x="141" y="157"/>
              </a:cxn>
              <a:cxn ang="0">
                <a:pos x="130" y="157"/>
              </a:cxn>
              <a:cxn ang="0">
                <a:pos x="93" y="135"/>
              </a:cxn>
              <a:cxn ang="0">
                <a:pos x="130" y="152"/>
              </a:cxn>
              <a:cxn ang="0">
                <a:pos x="188" y="91"/>
              </a:cxn>
              <a:cxn ang="0">
                <a:pos x="185" y="87"/>
              </a:cxn>
              <a:cxn ang="0">
                <a:pos x="57" y="93"/>
              </a:cxn>
              <a:cxn ang="0">
                <a:pos x="48" y="101"/>
              </a:cxn>
              <a:cxn ang="0">
                <a:pos x="23" y="169"/>
              </a:cxn>
              <a:cxn ang="0">
                <a:pos x="34" y="233"/>
              </a:cxn>
              <a:cxn ang="0">
                <a:pos x="46" y="91"/>
              </a:cxn>
              <a:cxn ang="0">
                <a:pos x="112" y="59"/>
              </a:cxn>
              <a:cxn ang="0">
                <a:pos x="118" y="53"/>
              </a:cxn>
              <a:cxn ang="0">
                <a:pos x="107" y="31"/>
              </a:cxn>
              <a:cxn ang="0">
                <a:pos x="143" y="31"/>
              </a:cxn>
              <a:cxn ang="0">
                <a:pos x="132" y="53"/>
              </a:cxn>
              <a:cxn ang="0">
                <a:pos x="139" y="59"/>
              </a:cxn>
              <a:cxn ang="0">
                <a:pos x="194" y="82"/>
              </a:cxn>
              <a:cxn ang="0">
                <a:pos x="203" y="72"/>
              </a:cxn>
              <a:cxn ang="0">
                <a:pos x="157" y="31"/>
              </a:cxn>
              <a:cxn ang="0">
                <a:pos x="93" y="31"/>
              </a:cxn>
              <a:cxn ang="0">
                <a:pos x="36" y="81"/>
              </a:cxn>
              <a:cxn ang="0">
                <a:pos x="28" y="247"/>
              </a:cxn>
              <a:cxn ang="0">
                <a:pos x="33" y="250"/>
              </a:cxn>
              <a:cxn ang="0">
                <a:pos x="50" y="236"/>
              </a:cxn>
              <a:cxn ang="0">
                <a:pos x="55" y="223"/>
              </a:cxn>
              <a:cxn ang="0">
                <a:pos x="58" y="111"/>
              </a:cxn>
              <a:cxn ang="0">
                <a:pos x="125" y="81"/>
              </a:cxn>
              <a:cxn ang="0">
                <a:pos x="124" y="138"/>
              </a:cxn>
              <a:cxn ang="0">
                <a:pos x="70" y="110"/>
              </a:cxn>
              <a:cxn ang="0">
                <a:pos x="66" y="123"/>
              </a:cxn>
              <a:cxn ang="0">
                <a:pos x="117" y="186"/>
              </a:cxn>
              <a:cxn ang="0">
                <a:pos x="135" y="172"/>
              </a:cxn>
              <a:cxn ang="0">
                <a:pos x="131" y="187"/>
              </a:cxn>
              <a:cxn ang="0">
                <a:pos x="67" y="243"/>
              </a:cxn>
              <a:cxn ang="0">
                <a:pos x="68" y="254"/>
              </a:cxn>
              <a:cxn ang="0">
                <a:pos x="197" y="241"/>
              </a:cxn>
              <a:cxn ang="0">
                <a:pos x="210" y="112"/>
              </a:cxn>
              <a:cxn ang="0">
                <a:pos x="236" y="169"/>
              </a:cxn>
              <a:cxn ang="0">
                <a:pos x="125" y="280"/>
              </a:cxn>
              <a:cxn ang="0">
                <a:pos x="49" y="260"/>
              </a:cxn>
              <a:cxn ang="0">
                <a:pos x="50" y="269"/>
              </a:cxn>
              <a:cxn ang="0">
                <a:pos x="125" y="294"/>
              </a:cxn>
              <a:cxn ang="0">
                <a:pos x="249" y="169"/>
              </a:cxn>
            </a:cxnLst>
            <a:rect l="0" t="0" r="r" b="b"/>
            <a:pathLst>
              <a:path w="249" h="294">
                <a:moveTo>
                  <a:pt x="223" y="92"/>
                </a:moveTo>
                <a:cubicBezTo>
                  <a:pt x="221" y="90"/>
                  <a:pt x="220" y="89"/>
                  <a:pt x="218" y="89"/>
                </a:cubicBezTo>
                <a:cubicBezTo>
                  <a:pt x="216" y="89"/>
                  <a:pt x="214" y="90"/>
                  <a:pt x="212" y="91"/>
                </a:cubicBezTo>
                <a:cubicBezTo>
                  <a:pt x="200" y="103"/>
                  <a:pt x="200" y="103"/>
                  <a:pt x="200" y="103"/>
                </a:cubicBezTo>
                <a:cubicBezTo>
                  <a:pt x="196" y="106"/>
                  <a:pt x="196" y="106"/>
                  <a:pt x="196" y="106"/>
                </a:cubicBezTo>
                <a:cubicBezTo>
                  <a:pt x="193" y="109"/>
                  <a:pt x="193" y="113"/>
                  <a:pt x="195" y="116"/>
                </a:cubicBezTo>
                <a:cubicBezTo>
                  <a:pt x="207" y="131"/>
                  <a:pt x="213" y="150"/>
                  <a:pt x="213" y="169"/>
                </a:cubicBezTo>
                <a:cubicBezTo>
                  <a:pt x="213" y="192"/>
                  <a:pt x="204" y="214"/>
                  <a:pt x="187" y="231"/>
                </a:cubicBezTo>
                <a:cubicBezTo>
                  <a:pt x="170" y="249"/>
                  <a:pt x="147" y="257"/>
                  <a:pt x="125" y="257"/>
                </a:cubicBezTo>
                <a:cubicBezTo>
                  <a:pt x="110" y="257"/>
                  <a:pt x="96" y="254"/>
                  <a:pt x="83" y="247"/>
                </a:cubicBezTo>
                <a:cubicBezTo>
                  <a:pt x="128" y="202"/>
                  <a:pt x="128" y="202"/>
                  <a:pt x="128" y="202"/>
                </a:cubicBezTo>
                <a:cubicBezTo>
                  <a:pt x="172" y="227"/>
                  <a:pt x="172" y="227"/>
                  <a:pt x="172" y="227"/>
                </a:cubicBezTo>
                <a:cubicBezTo>
                  <a:pt x="175" y="229"/>
                  <a:pt x="178" y="229"/>
                  <a:pt x="181" y="226"/>
                </a:cubicBezTo>
                <a:cubicBezTo>
                  <a:pt x="184" y="223"/>
                  <a:pt x="184" y="223"/>
                  <a:pt x="184" y="223"/>
                </a:cubicBezTo>
                <a:cubicBezTo>
                  <a:pt x="186" y="220"/>
                  <a:pt x="186" y="217"/>
                  <a:pt x="184" y="214"/>
                </a:cubicBezTo>
                <a:cubicBezTo>
                  <a:pt x="141" y="157"/>
                  <a:pt x="141" y="157"/>
                  <a:pt x="141" y="157"/>
                </a:cubicBezTo>
                <a:cubicBezTo>
                  <a:pt x="140" y="156"/>
                  <a:pt x="138" y="155"/>
                  <a:pt x="136" y="155"/>
                </a:cubicBezTo>
                <a:cubicBezTo>
                  <a:pt x="134" y="154"/>
                  <a:pt x="132" y="155"/>
                  <a:pt x="130" y="157"/>
                </a:cubicBezTo>
                <a:cubicBezTo>
                  <a:pt x="119" y="169"/>
                  <a:pt x="119" y="169"/>
                  <a:pt x="119" y="169"/>
                </a:cubicBezTo>
                <a:cubicBezTo>
                  <a:pt x="93" y="135"/>
                  <a:pt x="93" y="135"/>
                  <a:pt x="93" y="135"/>
                </a:cubicBezTo>
                <a:cubicBezTo>
                  <a:pt x="122" y="153"/>
                  <a:pt x="122" y="153"/>
                  <a:pt x="122" y="153"/>
                </a:cubicBezTo>
                <a:cubicBezTo>
                  <a:pt x="124" y="155"/>
                  <a:pt x="128" y="154"/>
                  <a:pt x="130" y="152"/>
                </a:cubicBezTo>
                <a:cubicBezTo>
                  <a:pt x="186" y="98"/>
                  <a:pt x="186" y="98"/>
                  <a:pt x="186" y="98"/>
                </a:cubicBezTo>
                <a:cubicBezTo>
                  <a:pt x="187" y="96"/>
                  <a:pt x="188" y="94"/>
                  <a:pt x="188" y="91"/>
                </a:cubicBezTo>
                <a:cubicBezTo>
                  <a:pt x="187" y="90"/>
                  <a:pt x="186" y="88"/>
                  <a:pt x="185" y="87"/>
                </a:cubicBezTo>
                <a:cubicBezTo>
                  <a:pt x="185" y="87"/>
                  <a:pt x="185" y="87"/>
                  <a:pt x="185" y="87"/>
                </a:cubicBezTo>
                <a:cubicBezTo>
                  <a:pt x="167" y="74"/>
                  <a:pt x="146" y="67"/>
                  <a:pt x="125" y="67"/>
                </a:cubicBezTo>
                <a:cubicBezTo>
                  <a:pt x="100" y="67"/>
                  <a:pt x="76" y="76"/>
                  <a:pt x="57" y="93"/>
                </a:cubicBezTo>
                <a:cubicBezTo>
                  <a:pt x="57" y="93"/>
                  <a:pt x="57" y="93"/>
                  <a:pt x="57" y="93"/>
                </a:cubicBezTo>
                <a:cubicBezTo>
                  <a:pt x="48" y="101"/>
                  <a:pt x="48" y="101"/>
                  <a:pt x="48" y="101"/>
                </a:cubicBezTo>
                <a:cubicBezTo>
                  <a:pt x="48" y="102"/>
                  <a:pt x="48" y="102"/>
                  <a:pt x="48" y="102"/>
                </a:cubicBezTo>
                <a:cubicBezTo>
                  <a:pt x="31" y="121"/>
                  <a:pt x="23" y="145"/>
                  <a:pt x="23" y="169"/>
                </a:cubicBezTo>
                <a:cubicBezTo>
                  <a:pt x="23" y="189"/>
                  <a:pt x="29" y="209"/>
                  <a:pt x="40" y="226"/>
                </a:cubicBezTo>
                <a:cubicBezTo>
                  <a:pt x="34" y="233"/>
                  <a:pt x="34" y="233"/>
                  <a:pt x="34" y="233"/>
                </a:cubicBezTo>
                <a:cubicBezTo>
                  <a:pt x="20" y="214"/>
                  <a:pt x="14" y="191"/>
                  <a:pt x="14" y="169"/>
                </a:cubicBezTo>
                <a:cubicBezTo>
                  <a:pt x="14" y="141"/>
                  <a:pt x="25" y="112"/>
                  <a:pt x="46" y="91"/>
                </a:cubicBezTo>
                <a:cubicBezTo>
                  <a:pt x="64" y="72"/>
                  <a:pt x="87" y="62"/>
                  <a:pt x="111" y="59"/>
                </a:cubicBezTo>
                <a:cubicBezTo>
                  <a:pt x="112" y="59"/>
                  <a:pt x="112" y="59"/>
                  <a:pt x="112" y="59"/>
                </a:cubicBezTo>
                <a:cubicBezTo>
                  <a:pt x="113" y="58"/>
                  <a:pt x="113" y="58"/>
                  <a:pt x="113" y="58"/>
                </a:cubicBezTo>
                <a:cubicBezTo>
                  <a:pt x="116" y="58"/>
                  <a:pt x="118" y="56"/>
                  <a:pt x="118" y="53"/>
                </a:cubicBezTo>
                <a:cubicBezTo>
                  <a:pt x="118" y="50"/>
                  <a:pt x="117" y="48"/>
                  <a:pt x="115" y="46"/>
                </a:cubicBezTo>
                <a:cubicBezTo>
                  <a:pt x="110" y="43"/>
                  <a:pt x="107" y="37"/>
                  <a:pt x="107" y="31"/>
                </a:cubicBezTo>
                <a:cubicBezTo>
                  <a:pt x="107" y="21"/>
                  <a:pt x="115" y="14"/>
                  <a:pt x="125" y="13"/>
                </a:cubicBezTo>
                <a:cubicBezTo>
                  <a:pt x="135" y="14"/>
                  <a:pt x="143" y="21"/>
                  <a:pt x="143" y="31"/>
                </a:cubicBezTo>
                <a:cubicBezTo>
                  <a:pt x="143" y="37"/>
                  <a:pt x="139" y="43"/>
                  <a:pt x="135" y="46"/>
                </a:cubicBezTo>
                <a:cubicBezTo>
                  <a:pt x="132" y="48"/>
                  <a:pt x="131" y="51"/>
                  <a:pt x="132" y="53"/>
                </a:cubicBezTo>
                <a:cubicBezTo>
                  <a:pt x="132" y="56"/>
                  <a:pt x="135" y="58"/>
                  <a:pt x="137" y="59"/>
                </a:cubicBezTo>
                <a:cubicBezTo>
                  <a:pt x="139" y="59"/>
                  <a:pt x="139" y="59"/>
                  <a:pt x="139" y="59"/>
                </a:cubicBezTo>
                <a:cubicBezTo>
                  <a:pt x="140" y="59"/>
                  <a:pt x="140" y="59"/>
                  <a:pt x="140" y="59"/>
                </a:cubicBezTo>
                <a:cubicBezTo>
                  <a:pt x="159" y="62"/>
                  <a:pt x="178" y="70"/>
                  <a:pt x="194" y="82"/>
                </a:cubicBezTo>
                <a:cubicBezTo>
                  <a:pt x="197" y="85"/>
                  <a:pt x="201" y="84"/>
                  <a:pt x="204" y="81"/>
                </a:cubicBezTo>
                <a:cubicBezTo>
                  <a:pt x="206" y="78"/>
                  <a:pt x="206" y="74"/>
                  <a:pt x="203" y="72"/>
                </a:cubicBezTo>
                <a:cubicBezTo>
                  <a:pt x="187" y="59"/>
                  <a:pt x="170" y="51"/>
                  <a:pt x="152" y="47"/>
                </a:cubicBezTo>
                <a:cubicBezTo>
                  <a:pt x="155" y="43"/>
                  <a:pt x="157" y="37"/>
                  <a:pt x="157" y="31"/>
                </a:cubicBezTo>
                <a:cubicBezTo>
                  <a:pt x="157" y="14"/>
                  <a:pt x="142" y="0"/>
                  <a:pt x="125" y="0"/>
                </a:cubicBezTo>
                <a:cubicBezTo>
                  <a:pt x="107" y="0"/>
                  <a:pt x="93" y="14"/>
                  <a:pt x="93" y="31"/>
                </a:cubicBezTo>
                <a:cubicBezTo>
                  <a:pt x="93" y="37"/>
                  <a:pt x="95" y="43"/>
                  <a:pt x="97" y="47"/>
                </a:cubicBezTo>
                <a:cubicBezTo>
                  <a:pt x="75" y="52"/>
                  <a:pt x="54" y="63"/>
                  <a:pt x="36" y="81"/>
                </a:cubicBezTo>
                <a:cubicBezTo>
                  <a:pt x="12" y="105"/>
                  <a:pt x="0" y="137"/>
                  <a:pt x="0" y="169"/>
                </a:cubicBezTo>
                <a:cubicBezTo>
                  <a:pt x="0" y="197"/>
                  <a:pt x="9" y="225"/>
                  <a:pt x="28" y="247"/>
                </a:cubicBezTo>
                <a:cubicBezTo>
                  <a:pt x="29" y="249"/>
                  <a:pt x="31" y="250"/>
                  <a:pt x="33" y="250"/>
                </a:cubicBezTo>
                <a:cubicBezTo>
                  <a:pt x="33" y="250"/>
                  <a:pt x="33" y="250"/>
                  <a:pt x="33" y="250"/>
                </a:cubicBezTo>
                <a:cubicBezTo>
                  <a:pt x="35" y="250"/>
                  <a:pt x="36" y="249"/>
                  <a:pt x="38" y="248"/>
                </a:cubicBezTo>
                <a:cubicBezTo>
                  <a:pt x="50" y="236"/>
                  <a:pt x="50" y="236"/>
                  <a:pt x="50" y="236"/>
                </a:cubicBezTo>
                <a:cubicBezTo>
                  <a:pt x="54" y="233"/>
                  <a:pt x="54" y="233"/>
                  <a:pt x="54" y="233"/>
                </a:cubicBezTo>
                <a:cubicBezTo>
                  <a:pt x="57" y="230"/>
                  <a:pt x="57" y="226"/>
                  <a:pt x="55" y="223"/>
                </a:cubicBezTo>
                <a:cubicBezTo>
                  <a:pt x="43" y="207"/>
                  <a:pt x="37" y="188"/>
                  <a:pt x="37" y="169"/>
                </a:cubicBezTo>
                <a:cubicBezTo>
                  <a:pt x="37" y="148"/>
                  <a:pt x="44" y="128"/>
                  <a:pt x="58" y="111"/>
                </a:cubicBezTo>
                <a:cubicBezTo>
                  <a:pt x="66" y="103"/>
                  <a:pt x="66" y="103"/>
                  <a:pt x="66" y="103"/>
                </a:cubicBezTo>
                <a:cubicBezTo>
                  <a:pt x="83" y="88"/>
                  <a:pt x="104" y="81"/>
                  <a:pt x="125" y="81"/>
                </a:cubicBezTo>
                <a:cubicBezTo>
                  <a:pt x="140" y="81"/>
                  <a:pt x="156" y="85"/>
                  <a:pt x="170" y="94"/>
                </a:cubicBezTo>
                <a:cubicBezTo>
                  <a:pt x="124" y="138"/>
                  <a:pt x="124" y="138"/>
                  <a:pt x="124" y="138"/>
                </a:cubicBezTo>
                <a:cubicBezTo>
                  <a:pt x="78" y="109"/>
                  <a:pt x="78" y="109"/>
                  <a:pt x="78" y="109"/>
                </a:cubicBezTo>
                <a:cubicBezTo>
                  <a:pt x="76" y="108"/>
                  <a:pt x="72" y="108"/>
                  <a:pt x="70" y="110"/>
                </a:cubicBezTo>
                <a:cubicBezTo>
                  <a:pt x="67" y="113"/>
                  <a:pt x="67" y="113"/>
                  <a:pt x="67" y="113"/>
                </a:cubicBezTo>
                <a:cubicBezTo>
                  <a:pt x="64" y="116"/>
                  <a:pt x="64" y="120"/>
                  <a:pt x="66" y="123"/>
                </a:cubicBezTo>
                <a:cubicBezTo>
                  <a:pt x="112" y="183"/>
                  <a:pt x="112" y="183"/>
                  <a:pt x="112" y="183"/>
                </a:cubicBezTo>
                <a:cubicBezTo>
                  <a:pt x="114" y="185"/>
                  <a:pt x="115" y="186"/>
                  <a:pt x="117" y="186"/>
                </a:cubicBezTo>
                <a:cubicBezTo>
                  <a:pt x="119" y="186"/>
                  <a:pt x="121" y="185"/>
                  <a:pt x="123" y="184"/>
                </a:cubicBezTo>
                <a:cubicBezTo>
                  <a:pt x="135" y="172"/>
                  <a:pt x="135" y="172"/>
                  <a:pt x="135" y="172"/>
                </a:cubicBezTo>
                <a:cubicBezTo>
                  <a:pt x="159" y="204"/>
                  <a:pt x="159" y="204"/>
                  <a:pt x="159" y="204"/>
                </a:cubicBezTo>
                <a:cubicBezTo>
                  <a:pt x="131" y="187"/>
                  <a:pt x="131" y="187"/>
                  <a:pt x="131" y="187"/>
                </a:cubicBezTo>
                <a:cubicBezTo>
                  <a:pt x="128" y="185"/>
                  <a:pt x="125" y="186"/>
                  <a:pt x="122" y="188"/>
                </a:cubicBezTo>
                <a:cubicBezTo>
                  <a:pt x="67" y="243"/>
                  <a:pt x="67" y="243"/>
                  <a:pt x="67" y="243"/>
                </a:cubicBezTo>
                <a:cubicBezTo>
                  <a:pt x="65" y="245"/>
                  <a:pt x="65" y="247"/>
                  <a:pt x="65" y="249"/>
                </a:cubicBezTo>
                <a:cubicBezTo>
                  <a:pt x="65" y="251"/>
                  <a:pt x="66" y="253"/>
                  <a:pt x="68" y="254"/>
                </a:cubicBezTo>
                <a:cubicBezTo>
                  <a:pt x="85" y="265"/>
                  <a:pt x="105" y="271"/>
                  <a:pt x="125" y="271"/>
                </a:cubicBezTo>
                <a:cubicBezTo>
                  <a:pt x="151" y="271"/>
                  <a:pt x="177" y="261"/>
                  <a:pt x="197" y="241"/>
                </a:cubicBezTo>
                <a:cubicBezTo>
                  <a:pt x="217" y="221"/>
                  <a:pt x="227" y="195"/>
                  <a:pt x="227" y="169"/>
                </a:cubicBezTo>
                <a:cubicBezTo>
                  <a:pt x="227" y="149"/>
                  <a:pt x="221" y="129"/>
                  <a:pt x="210" y="112"/>
                </a:cubicBezTo>
                <a:cubicBezTo>
                  <a:pt x="216" y="106"/>
                  <a:pt x="216" y="106"/>
                  <a:pt x="216" y="106"/>
                </a:cubicBezTo>
                <a:cubicBezTo>
                  <a:pt x="229" y="125"/>
                  <a:pt x="236" y="147"/>
                  <a:pt x="236" y="169"/>
                </a:cubicBezTo>
                <a:cubicBezTo>
                  <a:pt x="236" y="197"/>
                  <a:pt x="225" y="226"/>
                  <a:pt x="203" y="247"/>
                </a:cubicBezTo>
                <a:cubicBezTo>
                  <a:pt x="181" y="269"/>
                  <a:pt x="153" y="280"/>
                  <a:pt x="125" y="280"/>
                </a:cubicBezTo>
                <a:cubicBezTo>
                  <a:pt x="101" y="280"/>
                  <a:pt x="78" y="273"/>
                  <a:pt x="59" y="258"/>
                </a:cubicBezTo>
                <a:cubicBezTo>
                  <a:pt x="56" y="256"/>
                  <a:pt x="51" y="257"/>
                  <a:pt x="49" y="260"/>
                </a:cubicBezTo>
                <a:cubicBezTo>
                  <a:pt x="47" y="263"/>
                  <a:pt x="47" y="267"/>
                  <a:pt x="50" y="269"/>
                </a:cubicBezTo>
                <a:cubicBezTo>
                  <a:pt x="50" y="269"/>
                  <a:pt x="50" y="269"/>
                  <a:pt x="50" y="269"/>
                </a:cubicBezTo>
                <a:cubicBezTo>
                  <a:pt x="72" y="286"/>
                  <a:pt x="99" y="294"/>
                  <a:pt x="125" y="294"/>
                </a:cubicBezTo>
                <a:cubicBezTo>
                  <a:pt x="125" y="294"/>
                  <a:pt x="125" y="294"/>
                  <a:pt x="125" y="294"/>
                </a:cubicBezTo>
                <a:cubicBezTo>
                  <a:pt x="157" y="294"/>
                  <a:pt x="189" y="282"/>
                  <a:pt x="213" y="257"/>
                </a:cubicBezTo>
                <a:cubicBezTo>
                  <a:pt x="237" y="233"/>
                  <a:pt x="249" y="201"/>
                  <a:pt x="249" y="169"/>
                </a:cubicBezTo>
                <a:cubicBezTo>
                  <a:pt x="249" y="142"/>
                  <a:pt x="241" y="114"/>
                  <a:pt x="223" y="9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37" name="Freeform 493"/>
          <p:cNvSpPr>
            <a:spLocks/>
          </p:cNvSpPr>
          <p:nvPr userDrawn="1"/>
        </p:nvSpPr>
        <p:spPr bwMode="auto">
          <a:xfrm>
            <a:off x="7506463" y="3302414"/>
            <a:ext cx="238187" cy="386953"/>
          </a:xfrm>
          <a:custGeom>
            <a:avLst/>
            <a:gdLst/>
            <a:ahLst/>
            <a:cxnLst>
              <a:cxn ang="0">
                <a:pos x="265" y="150"/>
              </a:cxn>
              <a:cxn ang="0">
                <a:pos x="275" y="105"/>
              </a:cxn>
              <a:cxn ang="0">
                <a:pos x="277" y="53"/>
              </a:cxn>
              <a:cxn ang="0">
                <a:pos x="260" y="17"/>
              </a:cxn>
              <a:cxn ang="0">
                <a:pos x="190" y="12"/>
              </a:cxn>
              <a:cxn ang="0">
                <a:pos x="58" y="19"/>
              </a:cxn>
              <a:cxn ang="0">
                <a:pos x="31" y="34"/>
              </a:cxn>
              <a:cxn ang="0">
                <a:pos x="0" y="80"/>
              </a:cxn>
              <a:cxn ang="0">
                <a:pos x="0" y="142"/>
              </a:cxn>
              <a:cxn ang="0">
                <a:pos x="11" y="174"/>
              </a:cxn>
              <a:cxn ang="0">
                <a:pos x="0" y="209"/>
              </a:cxn>
              <a:cxn ang="0">
                <a:pos x="43" y="240"/>
              </a:cxn>
              <a:cxn ang="0">
                <a:pos x="26" y="208"/>
              </a:cxn>
              <a:cxn ang="0">
                <a:pos x="49" y="173"/>
              </a:cxn>
              <a:cxn ang="0">
                <a:pos x="26" y="143"/>
              </a:cxn>
              <a:cxn ang="0">
                <a:pos x="38" y="125"/>
              </a:cxn>
              <a:cxn ang="0">
                <a:pos x="49" y="114"/>
              </a:cxn>
              <a:cxn ang="0">
                <a:pos x="48" y="103"/>
              </a:cxn>
              <a:cxn ang="0">
                <a:pos x="26" y="79"/>
              </a:cxn>
              <a:cxn ang="0">
                <a:pos x="38" y="60"/>
              </a:cxn>
              <a:cxn ang="0">
                <a:pos x="71" y="42"/>
              </a:cxn>
              <a:cxn ang="0">
                <a:pos x="106" y="27"/>
              </a:cxn>
              <a:cxn ang="0">
                <a:pos x="191" y="39"/>
              </a:cxn>
              <a:cxn ang="0">
                <a:pos x="231" y="35"/>
              </a:cxn>
              <a:cxn ang="0">
                <a:pos x="249" y="44"/>
              </a:cxn>
              <a:cxn ang="0">
                <a:pos x="236" y="71"/>
              </a:cxn>
              <a:cxn ang="0">
                <a:pos x="82" y="107"/>
              </a:cxn>
              <a:cxn ang="0">
                <a:pos x="238" y="98"/>
              </a:cxn>
              <a:cxn ang="0">
                <a:pos x="249" y="109"/>
              </a:cxn>
              <a:cxn ang="0">
                <a:pos x="236" y="137"/>
              </a:cxn>
              <a:cxn ang="0">
                <a:pos x="227" y="138"/>
              </a:cxn>
              <a:cxn ang="0">
                <a:pos x="96" y="155"/>
              </a:cxn>
              <a:cxn ang="0">
                <a:pos x="99" y="181"/>
              </a:cxn>
              <a:cxn ang="0">
                <a:pos x="231" y="165"/>
              </a:cxn>
              <a:cxn ang="0">
                <a:pos x="249" y="174"/>
              </a:cxn>
              <a:cxn ang="0">
                <a:pos x="251" y="188"/>
              </a:cxn>
              <a:cxn ang="0">
                <a:pos x="90" y="224"/>
              </a:cxn>
              <a:cxn ang="0">
                <a:pos x="58" y="247"/>
              </a:cxn>
              <a:cxn ang="0">
                <a:pos x="64" y="267"/>
              </a:cxn>
              <a:cxn ang="0">
                <a:pos x="54" y="278"/>
              </a:cxn>
              <a:cxn ang="0">
                <a:pos x="36" y="321"/>
              </a:cxn>
              <a:cxn ang="0">
                <a:pos x="91" y="394"/>
              </a:cxn>
              <a:cxn ang="0">
                <a:pos x="97" y="441"/>
              </a:cxn>
              <a:cxn ang="0">
                <a:pos x="139" y="459"/>
              </a:cxn>
              <a:cxn ang="0">
                <a:pos x="182" y="437"/>
              </a:cxn>
              <a:cxn ang="0">
                <a:pos x="231" y="360"/>
              </a:cxn>
              <a:cxn ang="0">
                <a:pos x="235" y="287"/>
              </a:cxn>
              <a:cxn ang="0">
                <a:pos x="186" y="278"/>
              </a:cxn>
              <a:cxn ang="0">
                <a:pos x="189" y="267"/>
              </a:cxn>
              <a:cxn ang="0">
                <a:pos x="163" y="262"/>
              </a:cxn>
              <a:cxn ang="0">
                <a:pos x="156" y="299"/>
              </a:cxn>
              <a:cxn ang="0">
                <a:pos x="212" y="304"/>
              </a:cxn>
              <a:cxn ang="0">
                <a:pos x="208" y="347"/>
              </a:cxn>
              <a:cxn ang="0">
                <a:pos x="160" y="383"/>
              </a:cxn>
              <a:cxn ang="0">
                <a:pos x="140" y="432"/>
              </a:cxn>
              <a:cxn ang="0">
                <a:pos x="121" y="428"/>
              </a:cxn>
              <a:cxn ang="0">
                <a:pos x="106" y="371"/>
              </a:cxn>
              <a:cxn ang="0">
                <a:pos x="63" y="321"/>
              </a:cxn>
              <a:cxn ang="0">
                <a:pos x="110" y="304"/>
              </a:cxn>
              <a:cxn ang="0">
                <a:pos x="124" y="291"/>
              </a:cxn>
              <a:cxn ang="0">
                <a:pos x="88" y="253"/>
              </a:cxn>
              <a:cxn ang="0">
                <a:pos x="240" y="227"/>
              </a:cxn>
              <a:cxn ang="0">
                <a:pos x="277" y="183"/>
              </a:cxn>
            </a:cxnLst>
            <a:rect l="0" t="0" r="r" b="b"/>
            <a:pathLst>
              <a:path w="280" h="459">
                <a:moveTo>
                  <a:pt x="275" y="170"/>
                </a:moveTo>
                <a:cubicBezTo>
                  <a:pt x="274" y="162"/>
                  <a:pt x="271" y="156"/>
                  <a:pt x="265" y="150"/>
                </a:cubicBezTo>
                <a:cubicBezTo>
                  <a:pt x="274" y="142"/>
                  <a:pt x="279" y="130"/>
                  <a:pt x="277" y="118"/>
                </a:cubicBezTo>
                <a:cubicBezTo>
                  <a:pt x="275" y="105"/>
                  <a:pt x="275" y="105"/>
                  <a:pt x="275" y="105"/>
                </a:cubicBezTo>
                <a:cubicBezTo>
                  <a:pt x="274" y="97"/>
                  <a:pt x="271" y="90"/>
                  <a:pt x="266" y="85"/>
                </a:cubicBezTo>
                <a:cubicBezTo>
                  <a:pt x="274" y="77"/>
                  <a:pt x="279" y="65"/>
                  <a:pt x="277" y="53"/>
                </a:cubicBezTo>
                <a:cubicBezTo>
                  <a:pt x="275" y="40"/>
                  <a:pt x="275" y="40"/>
                  <a:pt x="275" y="40"/>
                </a:cubicBezTo>
                <a:cubicBezTo>
                  <a:pt x="274" y="31"/>
                  <a:pt x="268" y="23"/>
                  <a:pt x="260" y="17"/>
                </a:cubicBezTo>
                <a:cubicBezTo>
                  <a:pt x="251" y="10"/>
                  <a:pt x="239" y="7"/>
                  <a:pt x="228" y="9"/>
                </a:cubicBezTo>
                <a:cubicBezTo>
                  <a:pt x="225" y="9"/>
                  <a:pt x="193" y="12"/>
                  <a:pt x="190" y="12"/>
                </a:cubicBezTo>
                <a:cubicBezTo>
                  <a:pt x="166" y="8"/>
                  <a:pt x="113" y="0"/>
                  <a:pt x="106" y="0"/>
                </a:cubicBezTo>
                <a:cubicBezTo>
                  <a:pt x="93" y="0"/>
                  <a:pt x="58" y="19"/>
                  <a:pt x="58" y="19"/>
                </a:cubicBezTo>
                <a:cubicBezTo>
                  <a:pt x="58" y="19"/>
                  <a:pt x="58" y="19"/>
                  <a:pt x="58" y="19"/>
                </a:cubicBezTo>
                <a:cubicBezTo>
                  <a:pt x="58" y="19"/>
                  <a:pt x="34" y="32"/>
                  <a:pt x="31" y="34"/>
                </a:cubicBezTo>
                <a:cubicBezTo>
                  <a:pt x="12" y="38"/>
                  <a:pt x="0" y="55"/>
                  <a:pt x="0" y="77"/>
                </a:cubicBezTo>
                <a:cubicBezTo>
                  <a:pt x="0" y="78"/>
                  <a:pt x="0" y="79"/>
                  <a:pt x="0" y="80"/>
                </a:cubicBezTo>
                <a:cubicBezTo>
                  <a:pt x="0" y="92"/>
                  <a:pt x="5" y="102"/>
                  <a:pt x="11" y="110"/>
                </a:cubicBezTo>
                <a:cubicBezTo>
                  <a:pt x="4" y="118"/>
                  <a:pt x="0" y="129"/>
                  <a:pt x="0" y="142"/>
                </a:cubicBezTo>
                <a:cubicBezTo>
                  <a:pt x="0" y="143"/>
                  <a:pt x="0" y="143"/>
                  <a:pt x="0" y="144"/>
                </a:cubicBezTo>
                <a:cubicBezTo>
                  <a:pt x="0" y="156"/>
                  <a:pt x="5" y="166"/>
                  <a:pt x="11" y="174"/>
                </a:cubicBezTo>
                <a:cubicBezTo>
                  <a:pt x="4" y="183"/>
                  <a:pt x="0" y="195"/>
                  <a:pt x="0" y="207"/>
                </a:cubicBezTo>
                <a:cubicBezTo>
                  <a:pt x="0" y="208"/>
                  <a:pt x="0" y="208"/>
                  <a:pt x="0" y="209"/>
                </a:cubicBezTo>
                <a:cubicBezTo>
                  <a:pt x="0" y="221"/>
                  <a:pt x="5" y="237"/>
                  <a:pt x="25" y="246"/>
                </a:cubicBezTo>
                <a:cubicBezTo>
                  <a:pt x="32" y="250"/>
                  <a:pt x="40" y="247"/>
                  <a:pt x="43" y="240"/>
                </a:cubicBezTo>
                <a:cubicBezTo>
                  <a:pt x="46" y="234"/>
                  <a:pt x="44" y="226"/>
                  <a:pt x="37" y="223"/>
                </a:cubicBezTo>
                <a:cubicBezTo>
                  <a:pt x="30" y="219"/>
                  <a:pt x="27" y="215"/>
                  <a:pt x="26" y="208"/>
                </a:cubicBezTo>
                <a:cubicBezTo>
                  <a:pt x="26" y="200"/>
                  <a:pt x="31" y="189"/>
                  <a:pt x="38" y="187"/>
                </a:cubicBezTo>
                <a:cubicBezTo>
                  <a:pt x="45" y="186"/>
                  <a:pt x="50" y="180"/>
                  <a:pt x="49" y="173"/>
                </a:cubicBezTo>
                <a:cubicBezTo>
                  <a:pt x="48" y="166"/>
                  <a:pt x="42" y="161"/>
                  <a:pt x="35" y="161"/>
                </a:cubicBezTo>
                <a:cubicBezTo>
                  <a:pt x="32" y="159"/>
                  <a:pt x="27" y="152"/>
                  <a:pt x="26" y="143"/>
                </a:cubicBezTo>
                <a:cubicBezTo>
                  <a:pt x="26" y="143"/>
                  <a:pt x="26" y="142"/>
                  <a:pt x="26" y="142"/>
                </a:cubicBezTo>
                <a:cubicBezTo>
                  <a:pt x="26" y="135"/>
                  <a:pt x="28" y="127"/>
                  <a:pt x="38" y="125"/>
                </a:cubicBezTo>
                <a:cubicBezTo>
                  <a:pt x="43" y="124"/>
                  <a:pt x="47" y="121"/>
                  <a:pt x="49" y="116"/>
                </a:cubicBezTo>
                <a:cubicBezTo>
                  <a:pt x="49" y="114"/>
                  <a:pt x="49" y="114"/>
                  <a:pt x="49" y="114"/>
                </a:cubicBezTo>
                <a:cubicBezTo>
                  <a:pt x="50" y="113"/>
                  <a:pt x="50" y="111"/>
                  <a:pt x="50" y="110"/>
                </a:cubicBezTo>
                <a:cubicBezTo>
                  <a:pt x="50" y="108"/>
                  <a:pt x="49" y="105"/>
                  <a:pt x="48" y="103"/>
                </a:cubicBezTo>
                <a:cubicBezTo>
                  <a:pt x="45" y="100"/>
                  <a:pt x="42" y="97"/>
                  <a:pt x="38" y="97"/>
                </a:cubicBezTo>
                <a:cubicBezTo>
                  <a:pt x="33" y="96"/>
                  <a:pt x="27" y="89"/>
                  <a:pt x="26" y="79"/>
                </a:cubicBezTo>
                <a:cubicBezTo>
                  <a:pt x="26" y="78"/>
                  <a:pt x="26" y="78"/>
                  <a:pt x="26" y="77"/>
                </a:cubicBezTo>
                <a:cubicBezTo>
                  <a:pt x="26" y="72"/>
                  <a:pt x="28" y="61"/>
                  <a:pt x="38" y="60"/>
                </a:cubicBezTo>
                <a:cubicBezTo>
                  <a:pt x="39" y="59"/>
                  <a:pt x="41" y="59"/>
                  <a:pt x="42" y="58"/>
                </a:cubicBezTo>
                <a:cubicBezTo>
                  <a:pt x="71" y="42"/>
                  <a:pt x="71" y="42"/>
                  <a:pt x="71" y="42"/>
                </a:cubicBezTo>
                <a:cubicBezTo>
                  <a:pt x="71" y="42"/>
                  <a:pt x="71" y="42"/>
                  <a:pt x="71" y="42"/>
                </a:cubicBezTo>
                <a:cubicBezTo>
                  <a:pt x="78" y="38"/>
                  <a:pt x="100" y="28"/>
                  <a:pt x="106" y="27"/>
                </a:cubicBezTo>
                <a:cubicBezTo>
                  <a:pt x="113" y="27"/>
                  <a:pt x="158" y="34"/>
                  <a:pt x="188" y="39"/>
                </a:cubicBezTo>
                <a:cubicBezTo>
                  <a:pt x="189" y="39"/>
                  <a:pt x="190" y="39"/>
                  <a:pt x="191" y="39"/>
                </a:cubicBezTo>
                <a:cubicBezTo>
                  <a:pt x="230" y="35"/>
                  <a:pt x="230" y="35"/>
                  <a:pt x="230" y="35"/>
                </a:cubicBezTo>
                <a:cubicBezTo>
                  <a:pt x="230" y="35"/>
                  <a:pt x="231" y="35"/>
                  <a:pt x="231" y="35"/>
                </a:cubicBezTo>
                <a:cubicBezTo>
                  <a:pt x="236" y="35"/>
                  <a:pt x="241" y="36"/>
                  <a:pt x="245" y="38"/>
                </a:cubicBezTo>
                <a:cubicBezTo>
                  <a:pt x="246" y="39"/>
                  <a:pt x="248" y="41"/>
                  <a:pt x="249" y="44"/>
                </a:cubicBezTo>
                <a:cubicBezTo>
                  <a:pt x="251" y="57"/>
                  <a:pt x="251" y="57"/>
                  <a:pt x="251" y="57"/>
                </a:cubicBezTo>
                <a:cubicBezTo>
                  <a:pt x="251" y="64"/>
                  <a:pt x="245" y="70"/>
                  <a:pt x="236" y="71"/>
                </a:cubicBezTo>
                <a:cubicBezTo>
                  <a:pt x="93" y="92"/>
                  <a:pt x="93" y="92"/>
                  <a:pt x="93" y="92"/>
                </a:cubicBezTo>
                <a:cubicBezTo>
                  <a:pt x="86" y="93"/>
                  <a:pt x="81" y="100"/>
                  <a:pt x="82" y="107"/>
                </a:cubicBezTo>
                <a:cubicBezTo>
                  <a:pt x="83" y="114"/>
                  <a:pt x="90" y="119"/>
                  <a:pt x="97" y="118"/>
                </a:cubicBezTo>
                <a:cubicBezTo>
                  <a:pt x="238" y="98"/>
                  <a:pt x="238" y="98"/>
                  <a:pt x="238" y="98"/>
                </a:cubicBezTo>
                <a:cubicBezTo>
                  <a:pt x="238" y="98"/>
                  <a:pt x="239" y="98"/>
                  <a:pt x="239" y="98"/>
                </a:cubicBezTo>
                <a:cubicBezTo>
                  <a:pt x="245" y="100"/>
                  <a:pt x="248" y="105"/>
                  <a:pt x="249" y="109"/>
                </a:cubicBezTo>
                <a:cubicBezTo>
                  <a:pt x="251" y="122"/>
                  <a:pt x="251" y="122"/>
                  <a:pt x="251" y="122"/>
                </a:cubicBezTo>
                <a:cubicBezTo>
                  <a:pt x="251" y="128"/>
                  <a:pt x="245" y="135"/>
                  <a:pt x="236" y="137"/>
                </a:cubicBezTo>
                <a:cubicBezTo>
                  <a:pt x="235" y="137"/>
                  <a:pt x="234" y="137"/>
                  <a:pt x="233" y="138"/>
                </a:cubicBezTo>
                <a:cubicBezTo>
                  <a:pt x="231" y="138"/>
                  <a:pt x="229" y="138"/>
                  <a:pt x="227" y="138"/>
                </a:cubicBezTo>
                <a:cubicBezTo>
                  <a:pt x="227" y="138"/>
                  <a:pt x="227" y="138"/>
                  <a:pt x="227" y="138"/>
                </a:cubicBezTo>
                <a:cubicBezTo>
                  <a:pt x="96" y="155"/>
                  <a:pt x="96" y="155"/>
                  <a:pt x="96" y="155"/>
                </a:cubicBezTo>
                <a:cubicBezTo>
                  <a:pt x="89" y="156"/>
                  <a:pt x="84" y="162"/>
                  <a:pt x="85" y="169"/>
                </a:cubicBezTo>
                <a:cubicBezTo>
                  <a:pt x="85" y="177"/>
                  <a:pt x="92" y="182"/>
                  <a:pt x="99" y="181"/>
                </a:cubicBezTo>
                <a:cubicBezTo>
                  <a:pt x="231" y="165"/>
                  <a:pt x="231" y="165"/>
                  <a:pt x="231" y="165"/>
                </a:cubicBezTo>
                <a:cubicBezTo>
                  <a:pt x="231" y="165"/>
                  <a:pt x="231" y="165"/>
                  <a:pt x="231" y="165"/>
                </a:cubicBezTo>
                <a:cubicBezTo>
                  <a:pt x="236" y="164"/>
                  <a:pt x="241" y="165"/>
                  <a:pt x="245" y="168"/>
                </a:cubicBezTo>
                <a:cubicBezTo>
                  <a:pt x="246" y="169"/>
                  <a:pt x="248" y="171"/>
                  <a:pt x="249" y="174"/>
                </a:cubicBezTo>
                <a:cubicBezTo>
                  <a:pt x="251" y="187"/>
                  <a:pt x="251" y="187"/>
                  <a:pt x="251" y="187"/>
                </a:cubicBezTo>
                <a:cubicBezTo>
                  <a:pt x="251" y="187"/>
                  <a:pt x="251" y="187"/>
                  <a:pt x="251" y="188"/>
                </a:cubicBezTo>
                <a:cubicBezTo>
                  <a:pt x="251" y="194"/>
                  <a:pt x="244" y="199"/>
                  <a:pt x="236" y="200"/>
                </a:cubicBezTo>
                <a:cubicBezTo>
                  <a:pt x="236" y="200"/>
                  <a:pt x="90" y="224"/>
                  <a:pt x="90" y="224"/>
                </a:cubicBezTo>
                <a:cubicBezTo>
                  <a:pt x="90" y="224"/>
                  <a:pt x="89" y="224"/>
                  <a:pt x="89" y="224"/>
                </a:cubicBezTo>
                <a:cubicBezTo>
                  <a:pt x="81" y="226"/>
                  <a:pt x="62" y="233"/>
                  <a:pt x="58" y="247"/>
                </a:cubicBezTo>
                <a:cubicBezTo>
                  <a:pt x="58" y="248"/>
                  <a:pt x="58" y="250"/>
                  <a:pt x="58" y="252"/>
                </a:cubicBezTo>
                <a:cubicBezTo>
                  <a:pt x="58" y="257"/>
                  <a:pt x="60" y="262"/>
                  <a:pt x="64" y="267"/>
                </a:cubicBezTo>
                <a:cubicBezTo>
                  <a:pt x="68" y="270"/>
                  <a:pt x="72" y="274"/>
                  <a:pt x="76" y="278"/>
                </a:cubicBezTo>
                <a:cubicBezTo>
                  <a:pt x="66" y="278"/>
                  <a:pt x="54" y="278"/>
                  <a:pt x="54" y="278"/>
                </a:cubicBezTo>
                <a:cubicBezTo>
                  <a:pt x="49" y="278"/>
                  <a:pt x="43" y="281"/>
                  <a:pt x="42" y="287"/>
                </a:cubicBezTo>
                <a:cubicBezTo>
                  <a:pt x="41" y="288"/>
                  <a:pt x="36" y="302"/>
                  <a:pt x="36" y="321"/>
                </a:cubicBezTo>
                <a:cubicBezTo>
                  <a:pt x="36" y="333"/>
                  <a:pt x="38" y="347"/>
                  <a:pt x="46" y="360"/>
                </a:cubicBezTo>
                <a:cubicBezTo>
                  <a:pt x="55" y="377"/>
                  <a:pt x="70" y="388"/>
                  <a:pt x="91" y="394"/>
                </a:cubicBezTo>
                <a:cubicBezTo>
                  <a:pt x="92" y="420"/>
                  <a:pt x="95" y="436"/>
                  <a:pt x="95" y="437"/>
                </a:cubicBezTo>
                <a:cubicBezTo>
                  <a:pt x="95" y="438"/>
                  <a:pt x="96" y="440"/>
                  <a:pt x="97" y="441"/>
                </a:cubicBezTo>
                <a:cubicBezTo>
                  <a:pt x="98" y="443"/>
                  <a:pt x="108" y="459"/>
                  <a:pt x="137" y="459"/>
                </a:cubicBezTo>
                <a:cubicBezTo>
                  <a:pt x="139" y="459"/>
                  <a:pt x="139" y="459"/>
                  <a:pt x="139" y="459"/>
                </a:cubicBezTo>
                <a:cubicBezTo>
                  <a:pt x="169" y="459"/>
                  <a:pt x="179" y="443"/>
                  <a:pt x="180" y="441"/>
                </a:cubicBezTo>
                <a:cubicBezTo>
                  <a:pt x="181" y="440"/>
                  <a:pt x="181" y="438"/>
                  <a:pt x="182" y="437"/>
                </a:cubicBezTo>
                <a:cubicBezTo>
                  <a:pt x="182" y="436"/>
                  <a:pt x="185" y="420"/>
                  <a:pt x="186" y="394"/>
                </a:cubicBezTo>
                <a:cubicBezTo>
                  <a:pt x="207" y="388"/>
                  <a:pt x="222" y="377"/>
                  <a:pt x="231" y="360"/>
                </a:cubicBezTo>
                <a:cubicBezTo>
                  <a:pt x="238" y="347"/>
                  <a:pt x="241" y="333"/>
                  <a:pt x="241" y="321"/>
                </a:cubicBezTo>
                <a:cubicBezTo>
                  <a:pt x="241" y="302"/>
                  <a:pt x="235" y="288"/>
                  <a:pt x="235" y="287"/>
                </a:cubicBezTo>
                <a:cubicBezTo>
                  <a:pt x="233" y="281"/>
                  <a:pt x="228" y="278"/>
                  <a:pt x="223" y="278"/>
                </a:cubicBezTo>
                <a:cubicBezTo>
                  <a:pt x="223" y="278"/>
                  <a:pt x="203" y="278"/>
                  <a:pt x="186" y="278"/>
                </a:cubicBezTo>
                <a:cubicBezTo>
                  <a:pt x="187" y="276"/>
                  <a:pt x="188" y="272"/>
                  <a:pt x="188" y="272"/>
                </a:cubicBezTo>
                <a:cubicBezTo>
                  <a:pt x="189" y="270"/>
                  <a:pt x="189" y="269"/>
                  <a:pt x="189" y="267"/>
                </a:cubicBezTo>
                <a:cubicBezTo>
                  <a:pt x="189" y="262"/>
                  <a:pt x="186" y="257"/>
                  <a:pt x="181" y="255"/>
                </a:cubicBezTo>
                <a:cubicBezTo>
                  <a:pt x="174" y="252"/>
                  <a:pt x="166" y="255"/>
                  <a:pt x="163" y="262"/>
                </a:cubicBezTo>
                <a:cubicBezTo>
                  <a:pt x="154" y="286"/>
                  <a:pt x="154" y="286"/>
                  <a:pt x="154" y="286"/>
                </a:cubicBezTo>
                <a:cubicBezTo>
                  <a:pt x="152" y="290"/>
                  <a:pt x="153" y="295"/>
                  <a:pt x="156" y="299"/>
                </a:cubicBezTo>
                <a:cubicBezTo>
                  <a:pt x="158" y="302"/>
                  <a:pt x="162" y="304"/>
                  <a:pt x="167" y="304"/>
                </a:cubicBezTo>
                <a:cubicBezTo>
                  <a:pt x="167" y="304"/>
                  <a:pt x="199" y="304"/>
                  <a:pt x="212" y="304"/>
                </a:cubicBezTo>
                <a:cubicBezTo>
                  <a:pt x="213" y="309"/>
                  <a:pt x="214" y="315"/>
                  <a:pt x="214" y="321"/>
                </a:cubicBezTo>
                <a:cubicBezTo>
                  <a:pt x="214" y="330"/>
                  <a:pt x="213" y="339"/>
                  <a:pt x="208" y="347"/>
                </a:cubicBezTo>
                <a:cubicBezTo>
                  <a:pt x="201" y="359"/>
                  <a:pt x="189" y="367"/>
                  <a:pt x="170" y="371"/>
                </a:cubicBezTo>
                <a:cubicBezTo>
                  <a:pt x="164" y="372"/>
                  <a:pt x="160" y="377"/>
                  <a:pt x="160" y="383"/>
                </a:cubicBezTo>
                <a:cubicBezTo>
                  <a:pt x="159" y="405"/>
                  <a:pt x="157" y="421"/>
                  <a:pt x="156" y="428"/>
                </a:cubicBezTo>
                <a:cubicBezTo>
                  <a:pt x="154" y="430"/>
                  <a:pt x="149" y="432"/>
                  <a:pt x="140" y="432"/>
                </a:cubicBezTo>
                <a:cubicBezTo>
                  <a:pt x="140" y="432"/>
                  <a:pt x="137" y="432"/>
                  <a:pt x="137" y="432"/>
                </a:cubicBezTo>
                <a:cubicBezTo>
                  <a:pt x="128" y="432"/>
                  <a:pt x="123" y="430"/>
                  <a:pt x="121" y="428"/>
                </a:cubicBezTo>
                <a:cubicBezTo>
                  <a:pt x="120" y="421"/>
                  <a:pt x="118" y="405"/>
                  <a:pt x="117" y="383"/>
                </a:cubicBezTo>
                <a:cubicBezTo>
                  <a:pt x="117" y="377"/>
                  <a:pt x="112" y="372"/>
                  <a:pt x="106" y="371"/>
                </a:cubicBezTo>
                <a:cubicBezTo>
                  <a:pt x="88" y="367"/>
                  <a:pt x="76" y="359"/>
                  <a:pt x="69" y="347"/>
                </a:cubicBezTo>
                <a:cubicBezTo>
                  <a:pt x="64" y="339"/>
                  <a:pt x="63" y="330"/>
                  <a:pt x="63" y="321"/>
                </a:cubicBezTo>
                <a:cubicBezTo>
                  <a:pt x="63" y="315"/>
                  <a:pt x="64" y="309"/>
                  <a:pt x="64" y="304"/>
                </a:cubicBezTo>
                <a:cubicBezTo>
                  <a:pt x="78" y="304"/>
                  <a:pt x="110" y="304"/>
                  <a:pt x="110" y="304"/>
                </a:cubicBezTo>
                <a:cubicBezTo>
                  <a:pt x="116" y="304"/>
                  <a:pt x="121" y="301"/>
                  <a:pt x="123" y="296"/>
                </a:cubicBezTo>
                <a:cubicBezTo>
                  <a:pt x="123" y="294"/>
                  <a:pt x="124" y="293"/>
                  <a:pt x="124" y="291"/>
                </a:cubicBezTo>
                <a:cubicBezTo>
                  <a:pt x="124" y="287"/>
                  <a:pt x="122" y="284"/>
                  <a:pt x="119" y="281"/>
                </a:cubicBezTo>
                <a:cubicBezTo>
                  <a:pt x="119" y="281"/>
                  <a:pt x="101" y="265"/>
                  <a:pt x="88" y="253"/>
                </a:cubicBezTo>
                <a:cubicBezTo>
                  <a:pt x="90" y="252"/>
                  <a:pt x="93" y="251"/>
                  <a:pt x="95" y="250"/>
                </a:cubicBezTo>
                <a:cubicBezTo>
                  <a:pt x="97" y="250"/>
                  <a:pt x="240" y="227"/>
                  <a:pt x="240" y="227"/>
                </a:cubicBezTo>
                <a:cubicBezTo>
                  <a:pt x="240" y="227"/>
                  <a:pt x="240" y="227"/>
                  <a:pt x="240" y="227"/>
                </a:cubicBezTo>
                <a:cubicBezTo>
                  <a:pt x="263" y="223"/>
                  <a:pt x="280" y="204"/>
                  <a:pt x="277" y="183"/>
                </a:cubicBezTo>
                <a:lnTo>
                  <a:pt x="275" y="170"/>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38" name="Freeform 529"/>
          <p:cNvSpPr>
            <a:spLocks noEditPoints="1"/>
          </p:cNvSpPr>
          <p:nvPr userDrawn="1"/>
        </p:nvSpPr>
        <p:spPr bwMode="auto">
          <a:xfrm>
            <a:off x="7483240" y="1874206"/>
            <a:ext cx="284634" cy="214313"/>
          </a:xfrm>
          <a:custGeom>
            <a:avLst/>
            <a:gdLst/>
            <a:ahLst/>
            <a:cxnLst>
              <a:cxn ang="0">
                <a:pos x="315" y="4"/>
              </a:cxn>
              <a:cxn ang="0">
                <a:pos x="260" y="34"/>
              </a:cxn>
              <a:cxn ang="0">
                <a:pos x="201" y="2"/>
              </a:cxn>
              <a:cxn ang="0">
                <a:pos x="192" y="4"/>
              </a:cxn>
              <a:cxn ang="0">
                <a:pos x="137" y="34"/>
              </a:cxn>
              <a:cxn ang="0">
                <a:pos x="69" y="4"/>
              </a:cxn>
              <a:cxn ang="0">
                <a:pos x="65" y="8"/>
              </a:cxn>
              <a:cxn ang="0">
                <a:pos x="1" y="46"/>
              </a:cxn>
              <a:cxn ang="0">
                <a:pos x="4" y="120"/>
              </a:cxn>
              <a:cxn ang="0">
                <a:pos x="136" y="131"/>
              </a:cxn>
              <a:cxn ang="0">
                <a:pos x="260" y="131"/>
              </a:cxn>
              <a:cxn ang="0">
                <a:pos x="309" y="204"/>
              </a:cxn>
              <a:cxn ang="0">
                <a:pos x="209" y="201"/>
              </a:cxn>
              <a:cxn ang="0">
                <a:pos x="192" y="198"/>
              </a:cxn>
              <a:cxn ang="0">
                <a:pos x="137" y="227"/>
              </a:cxn>
              <a:cxn ang="0">
                <a:pos x="69" y="198"/>
              </a:cxn>
              <a:cxn ang="0">
                <a:pos x="65" y="202"/>
              </a:cxn>
              <a:cxn ang="0">
                <a:pos x="1" y="240"/>
              </a:cxn>
              <a:cxn ang="0">
                <a:pos x="75" y="228"/>
              </a:cxn>
              <a:cxn ang="0">
                <a:pos x="199" y="228"/>
              </a:cxn>
              <a:cxn ang="0">
                <a:pos x="332" y="216"/>
              </a:cxn>
              <a:cxn ang="0">
                <a:pos x="334" y="143"/>
              </a:cxn>
              <a:cxn ang="0">
                <a:pos x="270" y="105"/>
              </a:cxn>
              <a:cxn ang="0">
                <a:pos x="253" y="101"/>
              </a:cxn>
              <a:cxn ang="0">
                <a:pos x="198" y="130"/>
              </a:cxn>
              <a:cxn ang="0">
                <a:pos x="130" y="101"/>
              </a:cxn>
              <a:cxn ang="0">
                <a:pos x="126" y="105"/>
              </a:cxn>
              <a:cxn ang="0">
                <a:pos x="26" y="107"/>
              </a:cxn>
              <a:cxn ang="0">
                <a:pos x="75" y="34"/>
              </a:cxn>
              <a:cxn ang="0">
                <a:pos x="199" y="34"/>
              </a:cxn>
              <a:cxn ang="0">
                <a:pos x="332" y="22"/>
              </a:cxn>
              <a:cxn ang="0">
                <a:pos x="333" y="8"/>
              </a:cxn>
              <a:cxn ang="0">
                <a:pos x="330" y="24"/>
              </a:cxn>
              <a:cxn ang="0">
                <a:pos x="330" y="24"/>
              </a:cxn>
              <a:cxn ang="0">
                <a:pos x="330" y="218"/>
              </a:cxn>
            </a:cxnLst>
            <a:rect l="0" t="0" r="r" b="b"/>
            <a:pathLst>
              <a:path w="335" h="253">
                <a:moveTo>
                  <a:pt x="316" y="4"/>
                </a:moveTo>
                <a:cubicBezTo>
                  <a:pt x="315" y="4"/>
                  <a:pt x="315" y="4"/>
                  <a:pt x="315" y="4"/>
                </a:cubicBezTo>
                <a:cubicBezTo>
                  <a:pt x="314" y="5"/>
                  <a:pt x="312" y="6"/>
                  <a:pt x="311" y="8"/>
                </a:cubicBezTo>
                <a:cubicBezTo>
                  <a:pt x="301" y="24"/>
                  <a:pt x="281" y="34"/>
                  <a:pt x="260" y="34"/>
                </a:cubicBezTo>
                <a:cubicBezTo>
                  <a:pt x="239" y="34"/>
                  <a:pt x="220" y="24"/>
                  <a:pt x="209" y="8"/>
                </a:cubicBezTo>
                <a:cubicBezTo>
                  <a:pt x="207" y="5"/>
                  <a:pt x="205" y="3"/>
                  <a:pt x="201" y="2"/>
                </a:cubicBezTo>
                <a:cubicBezTo>
                  <a:pt x="198" y="2"/>
                  <a:pt x="195" y="2"/>
                  <a:pt x="192" y="4"/>
                </a:cubicBezTo>
                <a:cubicBezTo>
                  <a:pt x="192" y="4"/>
                  <a:pt x="192" y="4"/>
                  <a:pt x="192" y="4"/>
                </a:cubicBezTo>
                <a:cubicBezTo>
                  <a:pt x="190" y="5"/>
                  <a:pt x="189" y="6"/>
                  <a:pt x="188" y="8"/>
                </a:cubicBezTo>
                <a:cubicBezTo>
                  <a:pt x="178" y="24"/>
                  <a:pt x="158" y="34"/>
                  <a:pt x="137" y="34"/>
                </a:cubicBezTo>
                <a:cubicBezTo>
                  <a:pt x="116" y="34"/>
                  <a:pt x="96" y="24"/>
                  <a:pt x="86" y="8"/>
                </a:cubicBezTo>
                <a:cubicBezTo>
                  <a:pt x="82" y="2"/>
                  <a:pt x="74" y="0"/>
                  <a:pt x="69" y="4"/>
                </a:cubicBezTo>
                <a:cubicBezTo>
                  <a:pt x="68" y="4"/>
                  <a:pt x="68" y="4"/>
                  <a:pt x="68" y="4"/>
                </a:cubicBezTo>
                <a:cubicBezTo>
                  <a:pt x="67" y="5"/>
                  <a:pt x="66" y="6"/>
                  <a:pt x="65" y="8"/>
                </a:cubicBezTo>
                <a:cubicBezTo>
                  <a:pt x="54" y="24"/>
                  <a:pt x="35" y="34"/>
                  <a:pt x="14" y="34"/>
                </a:cubicBezTo>
                <a:cubicBezTo>
                  <a:pt x="7" y="34"/>
                  <a:pt x="1" y="39"/>
                  <a:pt x="1" y="46"/>
                </a:cubicBezTo>
                <a:cubicBezTo>
                  <a:pt x="1" y="46"/>
                  <a:pt x="0" y="112"/>
                  <a:pt x="0" y="112"/>
                </a:cubicBezTo>
                <a:cubicBezTo>
                  <a:pt x="0" y="115"/>
                  <a:pt x="1" y="118"/>
                  <a:pt x="4" y="120"/>
                </a:cubicBezTo>
                <a:cubicBezTo>
                  <a:pt x="19" y="142"/>
                  <a:pt x="46" y="156"/>
                  <a:pt x="75" y="156"/>
                </a:cubicBezTo>
                <a:cubicBezTo>
                  <a:pt x="98" y="156"/>
                  <a:pt x="121" y="147"/>
                  <a:pt x="136" y="131"/>
                </a:cubicBezTo>
                <a:cubicBezTo>
                  <a:pt x="152" y="147"/>
                  <a:pt x="174" y="156"/>
                  <a:pt x="198" y="156"/>
                </a:cubicBezTo>
                <a:cubicBezTo>
                  <a:pt x="221" y="156"/>
                  <a:pt x="244" y="147"/>
                  <a:pt x="260" y="131"/>
                </a:cubicBezTo>
                <a:cubicBezTo>
                  <a:pt x="272" y="144"/>
                  <a:pt x="290" y="152"/>
                  <a:pt x="309" y="155"/>
                </a:cubicBezTo>
                <a:cubicBezTo>
                  <a:pt x="309" y="169"/>
                  <a:pt x="309" y="198"/>
                  <a:pt x="309" y="204"/>
                </a:cubicBezTo>
                <a:cubicBezTo>
                  <a:pt x="298" y="218"/>
                  <a:pt x="280" y="227"/>
                  <a:pt x="260" y="227"/>
                </a:cubicBezTo>
                <a:cubicBezTo>
                  <a:pt x="239" y="227"/>
                  <a:pt x="220" y="217"/>
                  <a:pt x="209" y="201"/>
                </a:cubicBezTo>
                <a:cubicBezTo>
                  <a:pt x="206" y="196"/>
                  <a:pt x="198" y="194"/>
                  <a:pt x="192" y="198"/>
                </a:cubicBezTo>
                <a:cubicBezTo>
                  <a:pt x="192" y="198"/>
                  <a:pt x="192" y="198"/>
                  <a:pt x="192" y="198"/>
                </a:cubicBezTo>
                <a:cubicBezTo>
                  <a:pt x="190" y="199"/>
                  <a:pt x="189" y="200"/>
                  <a:pt x="188" y="202"/>
                </a:cubicBezTo>
                <a:cubicBezTo>
                  <a:pt x="178" y="217"/>
                  <a:pt x="158" y="227"/>
                  <a:pt x="137" y="227"/>
                </a:cubicBezTo>
                <a:cubicBezTo>
                  <a:pt x="116" y="227"/>
                  <a:pt x="96" y="217"/>
                  <a:pt x="86" y="201"/>
                </a:cubicBezTo>
                <a:cubicBezTo>
                  <a:pt x="82" y="196"/>
                  <a:pt x="75" y="194"/>
                  <a:pt x="69" y="198"/>
                </a:cubicBezTo>
                <a:cubicBezTo>
                  <a:pt x="69" y="198"/>
                  <a:pt x="69" y="198"/>
                  <a:pt x="69" y="198"/>
                </a:cubicBezTo>
                <a:cubicBezTo>
                  <a:pt x="67" y="199"/>
                  <a:pt x="66" y="200"/>
                  <a:pt x="65" y="202"/>
                </a:cubicBezTo>
                <a:cubicBezTo>
                  <a:pt x="54" y="217"/>
                  <a:pt x="35" y="227"/>
                  <a:pt x="14" y="227"/>
                </a:cubicBezTo>
                <a:cubicBezTo>
                  <a:pt x="7" y="227"/>
                  <a:pt x="1" y="233"/>
                  <a:pt x="1" y="240"/>
                </a:cubicBezTo>
                <a:cubicBezTo>
                  <a:pt x="1" y="247"/>
                  <a:pt x="7" y="253"/>
                  <a:pt x="14" y="253"/>
                </a:cubicBezTo>
                <a:cubicBezTo>
                  <a:pt x="37" y="253"/>
                  <a:pt x="60" y="244"/>
                  <a:pt x="75" y="228"/>
                </a:cubicBezTo>
                <a:cubicBezTo>
                  <a:pt x="91" y="244"/>
                  <a:pt x="113" y="253"/>
                  <a:pt x="137" y="253"/>
                </a:cubicBezTo>
                <a:cubicBezTo>
                  <a:pt x="161" y="253"/>
                  <a:pt x="183" y="244"/>
                  <a:pt x="199" y="228"/>
                </a:cubicBezTo>
                <a:cubicBezTo>
                  <a:pt x="214" y="244"/>
                  <a:pt x="237" y="253"/>
                  <a:pt x="260" y="253"/>
                </a:cubicBezTo>
                <a:cubicBezTo>
                  <a:pt x="290" y="253"/>
                  <a:pt x="317" y="239"/>
                  <a:pt x="332" y="216"/>
                </a:cubicBezTo>
                <a:cubicBezTo>
                  <a:pt x="334" y="214"/>
                  <a:pt x="335" y="211"/>
                  <a:pt x="335" y="208"/>
                </a:cubicBezTo>
                <a:cubicBezTo>
                  <a:pt x="335" y="208"/>
                  <a:pt x="334" y="143"/>
                  <a:pt x="334" y="143"/>
                </a:cubicBezTo>
                <a:cubicBezTo>
                  <a:pt x="334" y="136"/>
                  <a:pt x="328" y="130"/>
                  <a:pt x="321" y="130"/>
                </a:cubicBezTo>
                <a:cubicBezTo>
                  <a:pt x="300" y="130"/>
                  <a:pt x="281" y="121"/>
                  <a:pt x="270" y="105"/>
                </a:cubicBezTo>
                <a:cubicBezTo>
                  <a:pt x="267" y="99"/>
                  <a:pt x="259" y="97"/>
                  <a:pt x="253" y="101"/>
                </a:cubicBezTo>
                <a:cubicBezTo>
                  <a:pt x="253" y="101"/>
                  <a:pt x="253" y="101"/>
                  <a:pt x="253" y="101"/>
                </a:cubicBezTo>
                <a:cubicBezTo>
                  <a:pt x="251" y="102"/>
                  <a:pt x="250" y="103"/>
                  <a:pt x="249" y="105"/>
                </a:cubicBezTo>
                <a:cubicBezTo>
                  <a:pt x="238" y="121"/>
                  <a:pt x="219" y="130"/>
                  <a:pt x="198" y="130"/>
                </a:cubicBezTo>
                <a:cubicBezTo>
                  <a:pt x="177" y="130"/>
                  <a:pt x="157" y="121"/>
                  <a:pt x="147" y="105"/>
                </a:cubicBezTo>
                <a:cubicBezTo>
                  <a:pt x="143" y="99"/>
                  <a:pt x="136" y="97"/>
                  <a:pt x="130" y="101"/>
                </a:cubicBezTo>
                <a:cubicBezTo>
                  <a:pt x="130" y="101"/>
                  <a:pt x="130" y="101"/>
                  <a:pt x="130" y="101"/>
                </a:cubicBezTo>
                <a:cubicBezTo>
                  <a:pt x="128" y="102"/>
                  <a:pt x="127" y="103"/>
                  <a:pt x="126" y="105"/>
                </a:cubicBezTo>
                <a:cubicBezTo>
                  <a:pt x="115" y="121"/>
                  <a:pt x="96" y="130"/>
                  <a:pt x="75" y="130"/>
                </a:cubicBezTo>
                <a:cubicBezTo>
                  <a:pt x="55" y="130"/>
                  <a:pt x="36" y="122"/>
                  <a:pt x="26" y="107"/>
                </a:cubicBezTo>
                <a:cubicBezTo>
                  <a:pt x="26" y="101"/>
                  <a:pt x="26" y="72"/>
                  <a:pt x="26" y="58"/>
                </a:cubicBezTo>
                <a:cubicBezTo>
                  <a:pt x="45" y="55"/>
                  <a:pt x="62" y="47"/>
                  <a:pt x="75" y="34"/>
                </a:cubicBezTo>
                <a:cubicBezTo>
                  <a:pt x="91" y="50"/>
                  <a:pt x="113" y="59"/>
                  <a:pt x="137" y="59"/>
                </a:cubicBezTo>
                <a:cubicBezTo>
                  <a:pt x="161" y="59"/>
                  <a:pt x="183" y="50"/>
                  <a:pt x="199" y="34"/>
                </a:cubicBezTo>
                <a:cubicBezTo>
                  <a:pt x="214" y="50"/>
                  <a:pt x="237" y="59"/>
                  <a:pt x="260" y="59"/>
                </a:cubicBezTo>
                <a:cubicBezTo>
                  <a:pt x="290" y="59"/>
                  <a:pt x="317" y="45"/>
                  <a:pt x="332" y="22"/>
                </a:cubicBezTo>
                <a:cubicBezTo>
                  <a:pt x="334" y="20"/>
                  <a:pt x="335" y="17"/>
                  <a:pt x="335" y="15"/>
                </a:cubicBezTo>
                <a:cubicBezTo>
                  <a:pt x="335" y="13"/>
                  <a:pt x="334" y="10"/>
                  <a:pt x="333" y="8"/>
                </a:cubicBezTo>
                <a:cubicBezTo>
                  <a:pt x="329" y="2"/>
                  <a:pt x="322" y="0"/>
                  <a:pt x="316" y="4"/>
                </a:cubicBezTo>
                <a:close/>
                <a:moveTo>
                  <a:pt x="330" y="24"/>
                </a:moveTo>
                <a:cubicBezTo>
                  <a:pt x="330" y="24"/>
                  <a:pt x="330" y="24"/>
                  <a:pt x="329" y="25"/>
                </a:cubicBezTo>
                <a:cubicBezTo>
                  <a:pt x="330" y="24"/>
                  <a:pt x="330" y="24"/>
                  <a:pt x="330" y="24"/>
                </a:cubicBezTo>
                <a:close/>
                <a:moveTo>
                  <a:pt x="330" y="218"/>
                </a:moveTo>
                <a:cubicBezTo>
                  <a:pt x="330" y="218"/>
                  <a:pt x="330" y="218"/>
                  <a:pt x="330" y="218"/>
                </a:cubicBezTo>
                <a:cubicBezTo>
                  <a:pt x="330" y="218"/>
                  <a:pt x="330" y="218"/>
                  <a:pt x="330" y="21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39" name="Freeform 588"/>
          <p:cNvSpPr>
            <a:spLocks/>
          </p:cNvSpPr>
          <p:nvPr userDrawn="1"/>
        </p:nvSpPr>
        <p:spPr bwMode="auto">
          <a:xfrm>
            <a:off x="7452872" y="2805453"/>
            <a:ext cx="345371" cy="294085"/>
          </a:xfrm>
          <a:custGeom>
            <a:avLst/>
            <a:gdLst/>
            <a:ahLst/>
            <a:cxnLst>
              <a:cxn ang="0">
                <a:pos x="26" y="70"/>
              </a:cxn>
              <a:cxn ang="0">
                <a:pos x="6" y="162"/>
              </a:cxn>
              <a:cxn ang="0">
                <a:pos x="57" y="242"/>
              </a:cxn>
              <a:cxn ang="0">
                <a:pos x="150" y="262"/>
              </a:cxn>
              <a:cxn ang="0">
                <a:pos x="192" y="245"/>
              </a:cxn>
              <a:cxn ang="0">
                <a:pos x="197" y="227"/>
              </a:cxn>
              <a:cxn ang="0">
                <a:pos x="178" y="223"/>
              </a:cxn>
              <a:cxn ang="0">
                <a:pos x="145" y="235"/>
              </a:cxn>
              <a:cxn ang="0">
                <a:pos x="72" y="220"/>
              </a:cxn>
              <a:cxn ang="0">
                <a:pos x="32" y="157"/>
              </a:cxn>
              <a:cxn ang="0">
                <a:pos x="48" y="85"/>
              </a:cxn>
              <a:cxn ang="0">
                <a:pos x="183" y="60"/>
              </a:cxn>
              <a:cxn ang="0">
                <a:pos x="215" y="183"/>
              </a:cxn>
              <a:cxn ang="0">
                <a:pos x="217" y="198"/>
              </a:cxn>
              <a:cxn ang="0">
                <a:pos x="232" y="201"/>
              </a:cxn>
              <a:cxn ang="0">
                <a:pos x="248" y="202"/>
              </a:cxn>
              <a:cxn ang="0">
                <a:pos x="373" y="289"/>
              </a:cxn>
              <a:cxn ang="0">
                <a:pos x="377" y="312"/>
              </a:cxn>
              <a:cxn ang="0">
                <a:pos x="366" y="319"/>
              </a:cxn>
              <a:cxn ang="0">
                <a:pos x="353" y="317"/>
              </a:cxn>
              <a:cxn ang="0">
                <a:pos x="248" y="244"/>
              </a:cxn>
              <a:cxn ang="0">
                <a:pos x="230" y="247"/>
              </a:cxn>
              <a:cxn ang="0">
                <a:pos x="233" y="266"/>
              </a:cxn>
              <a:cxn ang="0">
                <a:pos x="338" y="339"/>
              </a:cxn>
              <a:cxn ang="0">
                <a:pos x="371" y="346"/>
              </a:cxn>
              <a:cxn ang="0">
                <a:pos x="399" y="327"/>
              </a:cxn>
              <a:cxn ang="0">
                <a:pos x="407" y="303"/>
              </a:cxn>
              <a:cxn ang="0">
                <a:pos x="388" y="267"/>
              </a:cxn>
              <a:cxn ang="0">
                <a:pos x="263" y="180"/>
              </a:cxn>
              <a:cxn ang="0">
                <a:pos x="246" y="174"/>
              </a:cxn>
              <a:cxn ang="0">
                <a:pos x="251" y="140"/>
              </a:cxn>
              <a:cxn ang="0">
                <a:pos x="247" y="109"/>
              </a:cxn>
              <a:cxn ang="0">
                <a:pos x="198" y="38"/>
              </a:cxn>
              <a:cxn ang="0">
                <a:pos x="26" y="70"/>
              </a:cxn>
            </a:cxnLst>
            <a:rect l="0" t="0" r="r" b="b"/>
            <a:pathLst>
              <a:path w="407" h="348">
                <a:moveTo>
                  <a:pt x="26" y="70"/>
                </a:moveTo>
                <a:cubicBezTo>
                  <a:pt x="7" y="97"/>
                  <a:pt x="0" y="130"/>
                  <a:pt x="6" y="162"/>
                </a:cubicBezTo>
                <a:cubicBezTo>
                  <a:pt x="12" y="195"/>
                  <a:pt x="30" y="223"/>
                  <a:pt x="57" y="242"/>
                </a:cubicBezTo>
                <a:cubicBezTo>
                  <a:pt x="84" y="260"/>
                  <a:pt x="117" y="267"/>
                  <a:pt x="150" y="262"/>
                </a:cubicBezTo>
                <a:cubicBezTo>
                  <a:pt x="165" y="259"/>
                  <a:pt x="179" y="253"/>
                  <a:pt x="192" y="245"/>
                </a:cubicBezTo>
                <a:cubicBezTo>
                  <a:pt x="199" y="241"/>
                  <a:pt x="201" y="233"/>
                  <a:pt x="197" y="227"/>
                </a:cubicBezTo>
                <a:cubicBezTo>
                  <a:pt x="193" y="221"/>
                  <a:pt x="185" y="219"/>
                  <a:pt x="178" y="223"/>
                </a:cubicBezTo>
                <a:cubicBezTo>
                  <a:pt x="168" y="229"/>
                  <a:pt x="157" y="233"/>
                  <a:pt x="145" y="235"/>
                </a:cubicBezTo>
                <a:cubicBezTo>
                  <a:pt x="119" y="240"/>
                  <a:pt x="94" y="234"/>
                  <a:pt x="72" y="220"/>
                </a:cubicBezTo>
                <a:cubicBezTo>
                  <a:pt x="51" y="205"/>
                  <a:pt x="37" y="183"/>
                  <a:pt x="32" y="157"/>
                </a:cubicBezTo>
                <a:cubicBezTo>
                  <a:pt x="28" y="132"/>
                  <a:pt x="33" y="106"/>
                  <a:pt x="48" y="85"/>
                </a:cubicBezTo>
                <a:cubicBezTo>
                  <a:pt x="78" y="41"/>
                  <a:pt x="139" y="30"/>
                  <a:pt x="183" y="60"/>
                </a:cubicBezTo>
                <a:cubicBezTo>
                  <a:pt x="222" y="87"/>
                  <a:pt x="236" y="140"/>
                  <a:pt x="215" y="183"/>
                </a:cubicBezTo>
                <a:cubicBezTo>
                  <a:pt x="212" y="188"/>
                  <a:pt x="213" y="194"/>
                  <a:pt x="217" y="198"/>
                </a:cubicBezTo>
                <a:cubicBezTo>
                  <a:pt x="221" y="202"/>
                  <a:pt x="227" y="203"/>
                  <a:pt x="232" y="201"/>
                </a:cubicBezTo>
                <a:cubicBezTo>
                  <a:pt x="237" y="198"/>
                  <a:pt x="243" y="199"/>
                  <a:pt x="248" y="202"/>
                </a:cubicBezTo>
                <a:cubicBezTo>
                  <a:pt x="373" y="289"/>
                  <a:pt x="373" y="289"/>
                  <a:pt x="373" y="289"/>
                </a:cubicBezTo>
                <a:cubicBezTo>
                  <a:pt x="380" y="294"/>
                  <a:pt x="382" y="305"/>
                  <a:pt x="377" y="312"/>
                </a:cubicBezTo>
                <a:cubicBezTo>
                  <a:pt x="374" y="316"/>
                  <a:pt x="371" y="319"/>
                  <a:pt x="366" y="319"/>
                </a:cubicBezTo>
                <a:cubicBezTo>
                  <a:pt x="362" y="320"/>
                  <a:pt x="357" y="319"/>
                  <a:pt x="353" y="317"/>
                </a:cubicBezTo>
                <a:cubicBezTo>
                  <a:pt x="248" y="244"/>
                  <a:pt x="248" y="244"/>
                  <a:pt x="248" y="244"/>
                </a:cubicBezTo>
                <a:cubicBezTo>
                  <a:pt x="242" y="240"/>
                  <a:pt x="234" y="241"/>
                  <a:pt x="230" y="247"/>
                </a:cubicBezTo>
                <a:cubicBezTo>
                  <a:pt x="226" y="253"/>
                  <a:pt x="227" y="262"/>
                  <a:pt x="233" y="266"/>
                </a:cubicBezTo>
                <a:cubicBezTo>
                  <a:pt x="338" y="339"/>
                  <a:pt x="338" y="339"/>
                  <a:pt x="338" y="339"/>
                </a:cubicBezTo>
                <a:cubicBezTo>
                  <a:pt x="348" y="345"/>
                  <a:pt x="359" y="348"/>
                  <a:pt x="371" y="346"/>
                </a:cubicBezTo>
                <a:cubicBezTo>
                  <a:pt x="382" y="344"/>
                  <a:pt x="392" y="337"/>
                  <a:pt x="399" y="327"/>
                </a:cubicBezTo>
                <a:cubicBezTo>
                  <a:pt x="404" y="320"/>
                  <a:pt x="407" y="311"/>
                  <a:pt x="407" y="303"/>
                </a:cubicBezTo>
                <a:cubicBezTo>
                  <a:pt x="407" y="289"/>
                  <a:pt x="400" y="275"/>
                  <a:pt x="388" y="267"/>
                </a:cubicBezTo>
                <a:cubicBezTo>
                  <a:pt x="263" y="180"/>
                  <a:pt x="263" y="180"/>
                  <a:pt x="263" y="180"/>
                </a:cubicBezTo>
                <a:cubicBezTo>
                  <a:pt x="258" y="177"/>
                  <a:pt x="252" y="175"/>
                  <a:pt x="246" y="174"/>
                </a:cubicBezTo>
                <a:cubicBezTo>
                  <a:pt x="250" y="163"/>
                  <a:pt x="251" y="151"/>
                  <a:pt x="251" y="140"/>
                </a:cubicBezTo>
                <a:cubicBezTo>
                  <a:pt x="251" y="130"/>
                  <a:pt x="250" y="119"/>
                  <a:pt x="247" y="109"/>
                </a:cubicBezTo>
                <a:cubicBezTo>
                  <a:pt x="240" y="80"/>
                  <a:pt x="222" y="55"/>
                  <a:pt x="198" y="38"/>
                </a:cubicBezTo>
                <a:cubicBezTo>
                  <a:pt x="142" y="0"/>
                  <a:pt x="65" y="14"/>
                  <a:pt x="26" y="7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0" name="Freeform 608"/>
          <p:cNvSpPr>
            <a:spLocks/>
          </p:cNvSpPr>
          <p:nvPr userDrawn="1"/>
        </p:nvSpPr>
        <p:spPr bwMode="auto">
          <a:xfrm>
            <a:off x="7488600" y="3800032"/>
            <a:ext cx="273915" cy="384572"/>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1" name="Freeform 628"/>
          <p:cNvSpPr>
            <a:spLocks/>
          </p:cNvSpPr>
          <p:nvPr userDrawn="1"/>
        </p:nvSpPr>
        <p:spPr bwMode="auto">
          <a:xfrm>
            <a:off x="7445726" y="2299774"/>
            <a:ext cx="359662" cy="272653"/>
          </a:xfrm>
          <a:custGeom>
            <a:avLst/>
            <a:gdLst/>
            <a:ahLst/>
            <a:cxnLst>
              <a:cxn ang="0">
                <a:pos x="417" y="7"/>
              </a:cxn>
              <a:cxn ang="0">
                <a:pos x="397" y="0"/>
              </a:cxn>
              <a:cxn ang="0">
                <a:pos x="143" y="0"/>
              </a:cxn>
              <a:cxn ang="0">
                <a:pos x="114" y="28"/>
              </a:cxn>
              <a:cxn ang="0">
                <a:pos x="114" y="158"/>
              </a:cxn>
              <a:cxn ang="0">
                <a:pos x="128" y="171"/>
              </a:cxn>
              <a:cxn ang="0">
                <a:pos x="202" y="171"/>
              </a:cxn>
              <a:cxn ang="0">
                <a:pos x="204" y="176"/>
              </a:cxn>
              <a:cxn ang="0">
                <a:pos x="204" y="292"/>
              </a:cxn>
              <a:cxn ang="0">
                <a:pos x="202" y="296"/>
              </a:cxn>
              <a:cxn ang="0">
                <a:pos x="29" y="296"/>
              </a:cxn>
              <a:cxn ang="0">
                <a:pos x="27" y="292"/>
              </a:cxn>
              <a:cxn ang="0">
                <a:pos x="27" y="176"/>
              </a:cxn>
              <a:cxn ang="0">
                <a:pos x="29" y="171"/>
              </a:cxn>
              <a:cxn ang="0">
                <a:pos x="77" y="171"/>
              </a:cxn>
              <a:cxn ang="0">
                <a:pos x="90" y="158"/>
              </a:cxn>
              <a:cxn ang="0">
                <a:pos x="77" y="145"/>
              </a:cxn>
              <a:cxn ang="0">
                <a:pos x="28" y="145"/>
              </a:cxn>
              <a:cxn ang="0">
                <a:pos x="0" y="176"/>
              </a:cxn>
              <a:cxn ang="0">
                <a:pos x="0" y="292"/>
              </a:cxn>
              <a:cxn ang="0">
                <a:pos x="28" y="323"/>
              </a:cxn>
              <a:cxn ang="0">
                <a:pos x="203" y="323"/>
              </a:cxn>
              <a:cxn ang="0">
                <a:pos x="231" y="292"/>
              </a:cxn>
              <a:cxn ang="0">
                <a:pos x="231" y="176"/>
              </a:cxn>
              <a:cxn ang="0">
                <a:pos x="203" y="145"/>
              </a:cxn>
              <a:cxn ang="0">
                <a:pos x="141" y="145"/>
              </a:cxn>
              <a:cxn ang="0">
                <a:pos x="141" y="28"/>
              </a:cxn>
              <a:cxn ang="0">
                <a:pos x="143" y="26"/>
              </a:cxn>
              <a:cxn ang="0">
                <a:pos x="397" y="26"/>
              </a:cxn>
              <a:cxn ang="0">
                <a:pos x="400" y="28"/>
              </a:cxn>
              <a:cxn ang="0">
                <a:pos x="400" y="223"/>
              </a:cxn>
              <a:cxn ang="0">
                <a:pos x="397" y="224"/>
              </a:cxn>
              <a:cxn ang="0">
                <a:pos x="292" y="224"/>
              </a:cxn>
              <a:cxn ang="0">
                <a:pos x="304" y="212"/>
              </a:cxn>
              <a:cxn ang="0">
                <a:pos x="304" y="195"/>
              </a:cxn>
              <a:cxn ang="0">
                <a:pos x="287" y="195"/>
              </a:cxn>
              <a:cxn ang="0">
                <a:pos x="252" y="230"/>
              </a:cxn>
              <a:cxn ang="0">
                <a:pos x="252" y="247"/>
              </a:cxn>
              <a:cxn ang="0">
                <a:pos x="287" y="283"/>
              </a:cxn>
              <a:cxn ang="0">
                <a:pos x="304" y="283"/>
              </a:cxn>
              <a:cxn ang="0">
                <a:pos x="304" y="266"/>
              </a:cxn>
              <a:cxn ang="0">
                <a:pos x="290" y="252"/>
              </a:cxn>
              <a:cxn ang="0">
                <a:pos x="290" y="251"/>
              </a:cxn>
              <a:cxn ang="0">
                <a:pos x="397" y="251"/>
              </a:cxn>
              <a:cxn ang="0">
                <a:pos x="426" y="223"/>
              </a:cxn>
              <a:cxn ang="0">
                <a:pos x="426" y="28"/>
              </a:cxn>
              <a:cxn ang="0">
                <a:pos x="417" y="7"/>
              </a:cxn>
            </a:cxnLst>
            <a:rect l="0" t="0" r="r" b="b"/>
            <a:pathLst>
              <a:path w="426" h="323">
                <a:moveTo>
                  <a:pt x="417" y="7"/>
                </a:moveTo>
                <a:cubicBezTo>
                  <a:pt x="412" y="2"/>
                  <a:pt x="405" y="0"/>
                  <a:pt x="397" y="0"/>
                </a:cubicBezTo>
                <a:cubicBezTo>
                  <a:pt x="143" y="0"/>
                  <a:pt x="143" y="0"/>
                  <a:pt x="143" y="0"/>
                </a:cubicBezTo>
                <a:cubicBezTo>
                  <a:pt x="127" y="0"/>
                  <a:pt x="114" y="12"/>
                  <a:pt x="114" y="28"/>
                </a:cubicBezTo>
                <a:cubicBezTo>
                  <a:pt x="114" y="158"/>
                  <a:pt x="114" y="158"/>
                  <a:pt x="114" y="158"/>
                </a:cubicBezTo>
                <a:cubicBezTo>
                  <a:pt x="114" y="165"/>
                  <a:pt x="120" y="171"/>
                  <a:pt x="128" y="171"/>
                </a:cubicBezTo>
                <a:cubicBezTo>
                  <a:pt x="128" y="171"/>
                  <a:pt x="202" y="171"/>
                  <a:pt x="202" y="171"/>
                </a:cubicBezTo>
                <a:cubicBezTo>
                  <a:pt x="203" y="172"/>
                  <a:pt x="204" y="173"/>
                  <a:pt x="204" y="176"/>
                </a:cubicBezTo>
                <a:cubicBezTo>
                  <a:pt x="204" y="292"/>
                  <a:pt x="204" y="292"/>
                  <a:pt x="204" y="292"/>
                </a:cubicBezTo>
                <a:cubicBezTo>
                  <a:pt x="204" y="295"/>
                  <a:pt x="203" y="296"/>
                  <a:pt x="202" y="296"/>
                </a:cubicBezTo>
                <a:cubicBezTo>
                  <a:pt x="202" y="296"/>
                  <a:pt x="29" y="296"/>
                  <a:pt x="29" y="296"/>
                </a:cubicBezTo>
                <a:cubicBezTo>
                  <a:pt x="28" y="296"/>
                  <a:pt x="27" y="295"/>
                  <a:pt x="27" y="292"/>
                </a:cubicBezTo>
                <a:cubicBezTo>
                  <a:pt x="27" y="176"/>
                  <a:pt x="27" y="176"/>
                  <a:pt x="27" y="176"/>
                </a:cubicBezTo>
                <a:cubicBezTo>
                  <a:pt x="27" y="173"/>
                  <a:pt x="28" y="172"/>
                  <a:pt x="29" y="171"/>
                </a:cubicBezTo>
                <a:cubicBezTo>
                  <a:pt x="29" y="171"/>
                  <a:pt x="77" y="171"/>
                  <a:pt x="77" y="171"/>
                </a:cubicBezTo>
                <a:cubicBezTo>
                  <a:pt x="84" y="171"/>
                  <a:pt x="90" y="165"/>
                  <a:pt x="90" y="158"/>
                </a:cubicBezTo>
                <a:cubicBezTo>
                  <a:pt x="90" y="151"/>
                  <a:pt x="84" y="145"/>
                  <a:pt x="77" y="145"/>
                </a:cubicBezTo>
                <a:cubicBezTo>
                  <a:pt x="28" y="145"/>
                  <a:pt x="28" y="145"/>
                  <a:pt x="28" y="145"/>
                </a:cubicBezTo>
                <a:cubicBezTo>
                  <a:pt x="13" y="145"/>
                  <a:pt x="0" y="159"/>
                  <a:pt x="0" y="176"/>
                </a:cubicBezTo>
                <a:cubicBezTo>
                  <a:pt x="0" y="292"/>
                  <a:pt x="0" y="292"/>
                  <a:pt x="0" y="292"/>
                </a:cubicBezTo>
                <a:cubicBezTo>
                  <a:pt x="0" y="309"/>
                  <a:pt x="13" y="323"/>
                  <a:pt x="28" y="323"/>
                </a:cubicBezTo>
                <a:cubicBezTo>
                  <a:pt x="203" y="323"/>
                  <a:pt x="203" y="323"/>
                  <a:pt x="203" y="323"/>
                </a:cubicBezTo>
                <a:cubicBezTo>
                  <a:pt x="218" y="323"/>
                  <a:pt x="231" y="309"/>
                  <a:pt x="231" y="292"/>
                </a:cubicBezTo>
                <a:cubicBezTo>
                  <a:pt x="231" y="176"/>
                  <a:pt x="231" y="176"/>
                  <a:pt x="231" y="176"/>
                </a:cubicBezTo>
                <a:cubicBezTo>
                  <a:pt x="231" y="159"/>
                  <a:pt x="218" y="145"/>
                  <a:pt x="203" y="145"/>
                </a:cubicBezTo>
                <a:cubicBezTo>
                  <a:pt x="203" y="145"/>
                  <a:pt x="159" y="145"/>
                  <a:pt x="141" y="145"/>
                </a:cubicBezTo>
                <a:cubicBezTo>
                  <a:pt x="141" y="123"/>
                  <a:pt x="141" y="28"/>
                  <a:pt x="141" y="28"/>
                </a:cubicBezTo>
                <a:cubicBezTo>
                  <a:pt x="141" y="27"/>
                  <a:pt x="142" y="26"/>
                  <a:pt x="143" y="26"/>
                </a:cubicBezTo>
                <a:cubicBezTo>
                  <a:pt x="397" y="26"/>
                  <a:pt x="397" y="26"/>
                  <a:pt x="397" y="26"/>
                </a:cubicBezTo>
                <a:cubicBezTo>
                  <a:pt x="399" y="26"/>
                  <a:pt x="400" y="27"/>
                  <a:pt x="400" y="28"/>
                </a:cubicBezTo>
                <a:cubicBezTo>
                  <a:pt x="400" y="223"/>
                  <a:pt x="400" y="223"/>
                  <a:pt x="400" y="223"/>
                </a:cubicBezTo>
                <a:cubicBezTo>
                  <a:pt x="400" y="223"/>
                  <a:pt x="399" y="224"/>
                  <a:pt x="397" y="224"/>
                </a:cubicBezTo>
                <a:cubicBezTo>
                  <a:pt x="292" y="224"/>
                  <a:pt x="292" y="224"/>
                  <a:pt x="292" y="224"/>
                </a:cubicBezTo>
                <a:cubicBezTo>
                  <a:pt x="304" y="212"/>
                  <a:pt x="304" y="212"/>
                  <a:pt x="304" y="212"/>
                </a:cubicBezTo>
                <a:cubicBezTo>
                  <a:pt x="309" y="207"/>
                  <a:pt x="309" y="199"/>
                  <a:pt x="304" y="195"/>
                </a:cubicBezTo>
                <a:cubicBezTo>
                  <a:pt x="300" y="190"/>
                  <a:pt x="292" y="190"/>
                  <a:pt x="287" y="195"/>
                </a:cubicBezTo>
                <a:cubicBezTo>
                  <a:pt x="252" y="230"/>
                  <a:pt x="252" y="230"/>
                  <a:pt x="252" y="230"/>
                </a:cubicBezTo>
                <a:cubicBezTo>
                  <a:pt x="247" y="235"/>
                  <a:pt x="247" y="243"/>
                  <a:pt x="252" y="247"/>
                </a:cubicBezTo>
                <a:cubicBezTo>
                  <a:pt x="287" y="283"/>
                  <a:pt x="287" y="283"/>
                  <a:pt x="287" y="283"/>
                </a:cubicBezTo>
                <a:cubicBezTo>
                  <a:pt x="292" y="288"/>
                  <a:pt x="300" y="288"/>
                  <a:pt x="304" y="283"/>
                </a:cubicBezTo>
                <a:cubicBezTo>
                  <a:pt x="309" y="278"/>
                  <a:pt x="309" y="270"/>
                  <a:pt x="304" y="266"/>
                </a:cubicBezTo>
                <a:cubicBezTo>
                  <a:pt x="290" y="252"/>
                  <a:pt x="290" y="252"/>
                  <a:pt x="290" y="252"/>
                </a:cubicBezTo>
                <a:cubicBezTo>
                  <a:pt x="290" y="251"/>
                  <a:pt x="290" y="251"/>
                  <a:pt x="290" y="251"/>
                </a:cubicBezTo>
                <a:cubicBezTo>
                  <a:pt x="397" y="251"/>
                  <a:pt x="397" y="251"/>
                  <a:pt x="397" y="251"/>
                </a:cubicBezTo>
                <a:cubicBezTo>
                  <a:pt x="413" y="251"/>
                  <a:pt x="426" y="238"/>
                  <a:pt x="426" y="223"/>
                </a:cubicBezTo>
                <a:cubicBezTo>
                  <a:pt x="426" y="28"/>
                  <a:pt x="426" y="28"/>
                  <a:pt x="426" y="28"/>
                </a:cubicBezTo>
                <a:cubicBezTo>
                  <a:pt x="426" y="20"/>
                  <a:pt x="423" y="13"/>
                  <a:pt x="417" y="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2" name="Freeform 648"/>
          <p:cNvSpPr>
            <a:spLocks/>
          </p:cNvSpPr>
          <p:nvPr userDrawn="1"/>
        </p:nvSpPr>
        <p:spPr bwMode="auto">
          <a:xfrm>
            <a:off x="7510631" y="947442"/>
            <a:ext cx="229851" cy="238125"/>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FFFFFF"/>
            </a:solidFill>
            <a:prstDash val="solid"/>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3" name="Freeform 652"/>
          <p:cNvSpPr>
            <a:spLocks/>
          </p:cNvSpPr>
          <p:nvPr userDrawn="1"/>
        </p:nvSpPr>
        <p:spPr bwMode="auto">
          <a:xfrm>
            <a:off x="7467758" y="1416178"/>
            <a:ext cx="315598" cy="173831"/>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chemeClr val="bg1"/>
          </a:solidFill>
          <a:ln w="1588" cap="flat">
            <a:noFill/>
            <a:prstDash val="solid"/>
            <a:miter lim="800000"/>
            <a:headEnd/>
            <a:tailEnd/>
          </a:ln>
        </p:spPr>
        <p:txBody>
          <a:bodyPr vert="horz" wrap="square" lIns="68589" tIns="34295" rIns="68589" bIns="34295" numCol="1" anchor="t" anchorCtr="0" compatLnSpc="1">
            <a:prstTxWarp prst="textNoShape">
              <a:avLst/>
            </a:prstTxWarp>
          </a:bodyPr>
          <a:lstStyle/>
          <a:p>
            <a:endParaRPr lang="en-US" dirty="0"/>
          </a:p>
        </p:txBody>
      </p:sp>
      <p:sp>
        <p:nvSpPr>
          <p:cNvPr id="144" name="Freeform 525"/>
          <p:cNvSpPr>
            <a:spLocks/>
          </p:cNvSpPr>
          <p:nvPr userDrawn="1"/>
        </p:nvSpPr>
        <p:spPr bwMode="auto">
          <a:xfrm>
            <a:off x="7923257" y="1875398"/>
            <a:ext cx="277488" cy="211931"/>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5" name="Freeform 576"/>
          <p:cNvSpPr>
            <a:spLocks noEditPoints="1"/>
          </p:cNvSpPr>
          <p:nvPr userDrawn="1"/>
        </p:nvSpPr>
        <p:spPr bwMode="auto">
          <a:xfrm>
            <a:off x="7878598" y="3354801"/>
            <a:ext cx="366809" cy="282178"/>
          </a:xfrm>
          <a:custGeom>
            <a:avLst/>
            <a:gdLst/>
            <a:ahLst/>
            <a:cxnLst>
              <a:cxn ang="0">
                <a:pos x="223" y="107"/>
              </a:cxn>
              <a:cxn ang="0">
                <a:pos x="387" y="290"/>
              </a:cxn>
              <a:cxn ang="0">
                <a:pos x="237" y="290"/>
              </a:cxn>
              <a:cxn ang="0">
                <a:pos x="283" y="267"/>
              </a:cxn>
              <a:cxn ang="0">
                <a:pos x="285" y="266"/>
              </a:cxn>
              <a:cxn ang="0">
                <a:pos x="287" y="263"/>
              </a:cxn>
              <a:cxn ang="0">
                <a:pos x="291" y="259"/>
              </a:cxn>
              <a:cxn ang="0">
                <a:pos x="295" y="255"/>
              </a:cxn>
              <a:cxn ang="0">
                <a:pos x="299" y="250"/>
              </a:cxn>
              <a:cxn ang="0">
                <a:pos x="303" y="244"/>
              </a:cxn>
              <a:cxn ang="0">
                <a:pos x="309" y="229"/>
              </a:cxn>
              <a:cxn ang="0">
                <a:pos x="303" y="195"/>
              </a:cxn>
              <a:cxn ang="0">
                <a:pos x="278" y="167"/>
              </a:cxn>
              <a:cxn ang="0">
                <a:pos x="195" y="136"/>
              </a:cxn>
              <a:cxn ang="0">
                <a:pos x="172" y="107"/>
              </a:cxn>
              <a:cxn ang="0">
                <a:pos x="201" y="114"/>
              </a:cxn>
              <a:cxn ang="0">
                <a:pos x="204" y="114"/>
              </a:cxn>
              <a:cxn ang="0">
                <a:pos x="209" y="112"/>
              </a:cxn>
              <a:cxn ang="0">
                <a:pos x="211" y="110"/>
              </a:cxn>
              <a:cxn ang="0">
                <a:pos x="214" y="105"/>
              </a:cxn>
              <a:cxn ang="0">
                <a:pos x="214" y="102"/>
              </a:cxn>
              <a:cxn ang="0">
                <a:pos x="214" y="98"/>
              </a:cxn>
              <a:cxn ang="0">
                <a:pos x="149" y="36"/>
              </a:cxn>
              <a:cxn ang="0">
                <a:pos x="150" y="194"/>
              </a:cxn>
              <a:cxn ang="0">
                <a:pos x="27" y="196"/>
              </a:cxn>
              <a:cxn ang="0">
                <a:pos x="168" y="16"/>
              </a:cxn>
              <a:cxn ang="0">
                <a:pos x="0" y="29"/>
              </a:cxn>
              <a:cxn ang="0">
                <a:pos x="55" y="232"/>
              </a:cxn>
              <a:cxn ang="0">
                <a:pos x="179" y="175"/>
              </a:cxn>
              <a:cxn ang="0">
                <a:pos x="178" y="171"/>
              </a:cxn>
              <a:cxn ang="0">
                <a:pos x="175" y="167"/>
              </a:cxn>
              <a:cxn ang="0">
                <a:pos x="173" y="165"/>
              </a:cxn>
              <a:cxn ang="0">
                <a:pos x="169" y="163"/>
              </a:cxn>
              <a:cxn ang="0">
                <a:pos x="163" y="163"/>
              </a:cxn>
              <a:cxn ang="0">
                <a:pos x="102" y="115"/>
              </a:cxn>
              <a:cxn ang="0">
                <a:pos x="179" y="81"/>
              </a:cxn>
              <a:cxn ang="0">
                <a:pos x="174" y="80"/>
              </a:cxn>
              <a:cxn ang="0">
                <a:pos x="170" y="80"/>
              </a:cxn>
              <a:cxn ang="0">
                <a:pos x="164" y="80"/>
              </a:cxn>
              <a:cxn ang="0">
                <a:pos x="205" y="191"/>
              </a:cxn>
              <a:cxn ang="0">
                <a:pos x="251" y="325"/>
              </a:cxn>
              <a:cxn ang="0">
                <a:pos x="404" y="310"/>
              </a:cxn>
              <a:cxn ang="0">
                <a:pos x="245" y="181"/>
              </a:cxn>
              <a:cxn ang="0">
                <a:pos x="262" y="189"/>
              </a:cxn>
              <a:cxn ang="0">
                <a:pos x="257" y="196"/>
              </a:cxn>
              <a:cxn ang="0">
                <a:pos x="253" y="203"/>
              </a:cxn>
              <a:cxn ang="0">
                <a:pos x="252" y="207"/>
              </a:cxn>
              <a:cxn ang="0">
                <a:pos x="251" y="213"/>
              </a:cxn>
              <a:cxn ang="0">
                <a:pos x="252" y="216"/>
              </a:cxn>
              <a:cxn ang="0">
                <a:pos x="269" y="233"/>
              </a:cxn>
              <a:cxn ang="0">
                <a:pos x="273" y="240"/>
              </a:cxn>
              <a:cxn ang="0">
                <a:pos x="253" y="247"/>
              </a:cxn>
            </a:cxnLst>
            <a:rect l="0" t="0" r="r" b="b"/>
            <a:pathLst>
              <a:path w="432" h="333">
                <a:moveTo>
                  <a:pt x="424" y="179"/>
                </a:moveTo>
                <a:cubicBezTo>
                  <a:pt x="294" y="116"/>
                  <a:pt x="275" y="108"/>
                  <a:pt x="271" y="107"/>
                </a:cubicBezTo>
                <a:cubicBezTo>
                  <a:pt x="271" y="107"/>
                  <a:pt x="271" y="107"/>
                  <a:pt x="271" y="107"/>
                </a:cubicBezTo>
                <a:cubicBezTo>
                  <a:pt x="239" y="98"/>
                  <a:pt x="239" y="98"/>
                  <a:pt x="239" y="98"/>
                </a:cubicBezTo>
                <a:cubicBezTo>
                  <a:pt x="232" y="96"/>
                  <a:pt x="225" y="100"/>
                  <a:pt x="223" y="107"/>
                </a:cubicBezTo>
                <a:cubicBezTo>
                  <a:pt x="222" y="112"/>
                  <a:pt x="223" y="116"/>
                  <a:pt x="226" y="120"/>
                </a:cubicBezTo>
                <a:cubicBezTo>
                  <a:pt x="228" y="121"/>
                  <a:pt x="230" y="123"/>
                  <a:pt x="232" y="123"/>
                </a:cubicBezTo>
                <a:cubicBezTo>
                  <a:pt x="264" y="132"/>
                  <a:pt x="264" y="132"/>
                  <a:pt x="264" y="132"/>
                </a:cubicBezTo>
                <a:cubicBezTo>
                  <a:pt x="272" y="136"/>
                  <a:pt x="348" y="172"/>
                  <a:pt x="403" y="198"/>
                </a:cubicBezTo>
                <a:cubicBezTo>
                  <a:pt x="387" y="290"/>
                  <a:pt x="387" y="290"/>
                  <a:pt x="387" y="290"/>
                </a:cubicBezTo>
                <a:cubicBezTo>
                  <a:pt x="383" y="292"/>
                  <a:pt x="379" y="295"/>
                  <a:pt x="375" y="297"/>
                </a:cubicBezTo>
                <a:cubicBezTo>
                  <a:pt x="369" y="301"/>
                  <a:pt x="364" y="305"/>
                  <a:pt x="359" y="307"/>
                </a:cubicBezTo>
                <a:cubicBezTo>
                  <a:pt x="252" y="298"/>
                  <a:pt x="252" y="298"/>
                  <a:pt x="252" y="298"/>
                </a:cubicBezTo>
                <a:cubicBezTo>
                  <a:pt x="251" y="298"/>
                  <a:pt x="250" y="298"/>
                  <a:pt x="249" y="298"/>
                </a:cubicBezTo>
                <a:cubicBezTo>
                  <a:pt x="246" y="299"/>
                  <a:pt x="238" y="299"/>
                  <a:pt x="237" y="290"/>
                </a:cubicBezTo>
                <a:cubicBezTo>
                  <a:pt x="236" y="286"/>
                  <a:pt x="237" y="283"/>
                  <a:pt x="238" y="280"/>
                </a:cubicBezTo>
                <a:cubicBezTo>
                  <a:pt x="239" y="278"/>
                  <a:pt x="241" y="276"/>
                  <a:pt x="244" y="275"/>
                </a:cubicBezTo>
                <a:cubicBezTo>
                  <a:pt x="271" y="271"/>
                  <a:pt x="271" y="271"/>
                  <a:pt x="271" y="271"/>
                </a:cubicBezTo>
                <a:cubicBezTo>
                  <a:pt x="277" y="270"/>
                  <a:pt x="277" y="270"/>
                  <a:pt x="277" y="270"/>
                </a:cubicBezTo>
                <a:cubicBezTo>
                  <a:pt x="279" y="269"/>
                  <a:pt x="281" y="269"/>
                  <a:pt x="283" y="267"/>
                </a:cubicBezTo>
                <a:cubicBezTo>
                  <a:pt x="283" y="267"/>
                  <a:pt x="283" y="267"/>
                  <a:pt x="283" y="267"/>
                </a:cubicBezTo>
                <a:cubicBezTo>
                  <a:pt x="283" y="267"/>
                  <a:pt x="283" y="267"/>
                  <a:pt x="283" y="267"/>
                </a:cubicBezTo>
                <a:cubicBezTo>
                  <a:pt x="283" y="267"/>
                  <a:pt x="284" y="266"/>
                  <a:pt x="284" y="266"/>
                </a:cubicBezTo>
                <a:cubicBezTo>
                  <a:pt x="284" y="266"/>
                  <a:pt x="284" y="266"/>
                  <a:pt x="284" y="266"/>
                </a:cubicBezTo>
                <a:cubicBezTo>
                  <a:pt x="284" y="266"/>
                  <a:pt x="284" y="266"/>
                  <a:pt x="285" y="266"/>
                </a:cubicBezTo>
                <a:cubicBezTo>
                  <a:pt x="285" y="266"/>
                  <a:pt x="285" y="265"/>
                  <a:pt x="285" y="265"/>
                </a:cubicBezTo>
                <a:cubicBezTo>
                  <a:pt x="285" y="265"/>
                  <a:pt x="285" y="265"/>
                  <a:pt x="286" y="265"/>
                </a:cubicBezTo>
                <a:cubicBezTo>
                  <a:pt x="286" y="265"/>
                  <a:pt x="286" y="264"/>
                  <a:pt x="286" y="264"/>
                </a:cubicBezTo>
                <a:cubicBezTo>
                  <a:pt x="286" y="264"/>
                  <a:pt x="287" y="264"/>
                  <a:pt x="287" y="264"/>
                </a:cubicBezTo>
                <a:cubicBezTo>
                  <a:pt x="287" y="264"/>
                  <a:pt x="287" y="263"/>
                  <a:pt x="287" y="263"/>
                </a:cubicBezTo>
                <a:cubicBezTo>
                  <a:pt x="288" y="263"/>
                  <a:pt x="288" y="263"/>
                  <a:pt x="288" y="262"/>
                </a:cubicBezTo>
                <a:cubicBezTo>
                  <a:pt x="288" y="262"/>
                  <a:pt x="289" y="262"/>
                  <a:pt x="289" y="262"/>
                </a:cubicBezTo>
                <a:cubicBezTo>
                  <a:pt x="289" y="262"/>
                  <a:pt x="289" y="261"/>
                  <a:pt x="290" y="261"/>
                </a:cubicBezTo>
                <a:cubicBezTo>
                  <a:pt x="290" y="261"/>
                  <a:pt x="290" y="260"/>
                  <a:pt x="290" y="260"/>
                </a:cubicBezTo>
                <a:cubicBezTo>
                  <a:pt x="291" y="260"/>
                  <a:pt x="291" y="260"/>
                  <a:pt x="291" y="259"/>
                </a:cubicBezTo>
                <a:cubicBezTo>
                  <a:pt x="291" y="259"/>
                  <a:pt x="292" y="259"/>
                  <a:pt x="292" y="259"/>
                </a:cubicBezTo>
                <a:cubicBezTo>
                  <a:pt x="292" y="258"/>
                  <a:pt x="293" y="258"/>
                  <a:pt x="293" y="258"/>
                </a:cubicBezTo>
                <a:cubicBezTo>
                  <a:pt x="293" y="257"/>
                  <a:pt x="293" y="257"/>
                  <a:pt x="294" y="257"/>
                </a:cubicBezTo>
                <a:cubicBezTo>
                  <a:pt x="294" y="256"/>
                  <a:pt x="294" y="256"/>
                  <a:pt x="295" y="256"/>
                </a:cubicBezTo>
                <a:cubicBezTo>
                  <a:pt x="295" y="255"/>
                  <a:pt x="295" y="255"/>
                  <a:pt x="295" y="255"/>
                </a:cubicBezTo>
                <a:cubicBezTo>
                  <a:pt x="296" y="254"/>
                  <a:pt x="296" y="254"/>
                  <a:pt x="296" y="254"/>
                </a:cubicBezTo>
                <a:cubicBezTo>
                  <a:pt x="297" y="253"/>
                  <a:pt x="297" y="253"/>
                  <a:pt x="297" y="253"/>
                </a:cubicBezTo>
                <a:cubicBezTo>
                  <a:pt x="297" y="253"/>
                  <a:pt x="297" y="253"/>
                  <a:pt x="297" y="253"/>
                </a:cubicBezTo>
                <a:cubicBezTo>
                  <a:pt x="297" y="252"/>
                  <a:pt x="298" y="252"/>
                  <a:pt x="298" y="251"/>
                </a:cubicBezTo>
                <a:cubicBezTo>
                  <a:pt x="298" y="251"/>
                  <a:pt x="299" y="251"/>
                  <a:pt x="299" y="250"/>
                </a:cubicBezTo>
                <a:cubicBezTo>
                  <a:pt x="299" y="250"/>
                  <a:pt x="300" y="249"/>
                  <a:pt x="300" y="249"/>
                </a:cubicBezTo>
                <a:cubicBezTo>
                  <a:pt x="300" y="249"/>
                  <a:pt x="300" y="248"/>
                  <a:pt x="301" y="248"/>
                </a:cubicBezTo>
                <a:cubicBezTo>
                  <a:pt x="301" y="247"/>
                  <a:pt x="301" y="247"/>
                  <a:pt x="302" y="246"/>
                </a:cubicBezTo>
                <a:cubicBezTo>
                  <a:pt x="302" y="246"/>
                  <a:pt x="302" y="246"/>
                  <a:pt x="302" y="245"/>
                </a:cubicBezTo>
                <a:cubicBezTo>
                  <a:pt x="303" y="245"/>
                  <a:pt x="303" y="244"/>
                  <a:pt x="303" y="244"/>
                </a:cubicBezTo>
                <a:cubicBezTo>
                  <a:pt x="303" y="243"/>
                  <a:pt x="304" y="243"/>
                  <a:pt x="304" y="243"/>
                </a:cubicBezTo>
                <a:cubicBezTo>
                  <a:pt x="304" y="242"/>
                  <a:pt x="305" y="241"/>
                  <a:pt x="305" y="240"/>
                </a:cubicBezTo>
                <a:cubicBezTo>
                  <a:pt x="305" y="240"/>
                  <a:pt x="305" y="240"/>
                  <a:pt x="305" y="240"/>
                </a:cubicBezTo>
                <a:cubicBezTo>
                  <a:pt x="305" y="240"/>
                  <a:pt x="305" y="240"/>
                  <a:pt x="305" y="240"/>
                </a:cubicBezTo>
                <a:cubicBezTo>
                  <a:pt x="307" y="236"/>
                  <a:pt x="308" y="233"/>
                  <a:pt x="309" y="229"/>
                </a:cubicBezTo>
                <a:cubicBezTo>
                  <a:pt x="310" y="225"/>
                  <a:pt x="310" y="222"/>
                  <a:pt x="310" y="218"/>
                </a:cubicBezTo>
                <a:cubicBezTo>
                  <a:pt x="310" y="217"/>
                  <a:pt x="310" y="216"/>
                  <a:pt x="310" y="216"/>
                </a:cubicBezTo>
                <a:cubicBezTo>
                  <a:pt x="310" y="212"/>
                  <a:pt x="309" y="209"/>
                  <a:pt x="308" y="206"/>
                </a:cubicBezTo>
                <a:cubicBezTo>
                  <a:pt x="307" y="203"/>
                  <a:pt x="305" y="200"/>
                  <a:pt x="304" y="197"/>
                </a:cubicBezTo>
                <a:cubicBezTo>
                  <a:pt x="303" y="196"/>
                  <a:pt x="303" y="196"/>
                  <a:pt x="303" y="195"/>
                </a:cubicBezTo>
                <a:cubicBezTo>
                  <a:pt x="301" y="192"/>
                  <a:pt x="299" y="190"/>
                  <a:pt x="298" y="187"/>
                </a:cubicBezTo>
                <a:cubicBezTo>
                  <a:pt x="296" y="186"/>
                  <a:pt x="295" y="184"/>
                  <a:pt x="293" y="182"/>
                </a:cubicBezTo>
                <a:cubicBezTo>
                  <a:pt x="292" y="181"/>
                  <a:pt x="291" y="180"/>
                  <a:pt x="290" y="178"/>
                </a:cubicBezTo>
                <a:cubicBezTo>
                  <a:pt x="285" y="173"/>
                  <a:pt x="281" y="169"/>
                  <a:pt x="279" y="168"/>
                </a:cubicBezTo>
                <a:cubicBezTo>
                  <a:pt x="279" y="168"/>
                  <a:pt x="278" y="167"/>
                  <a:pt x="278" y="167"/>
                </a:cubicBezTo>
                <a:cubicBezTo>
                  <a:pt x="278" y="167"/>
                  <a:pt x="277" y="167"/>
                  <a:pt x="276" y="166"/>
                </a:cubicBezTo>
                <a:cubicBezTo>
                  <a:pt x="266" y="160"/>
                  <a:pt x="266" y="160"/>
                  <a:pt x="266" y="160"/>
                </a:cubicBezTo>
                <a:cubicBezTo>
                  <a:pt x="265" y="160"/>
                  <a:pt x="237" y="150"/>
                  <a:pt x="237" y="150"/>
                </a:cubicBezTo>
                <a:cubicBezTo>
                  <a:pt x="195" y="136"/>
                  <a:pt x="195" y="136"/>
                  <a:pt x="195" y="136"/>
                </a:cubicBezTo>
                <a:cubicBezTo>
                  <a:pt x="195" y="136"/>
                  <a:pt x="195" y="136"/>
                  <a:pt x="195" y="136"/>
                </a:cubicBezTo>
                <a:cubicBezTo>
                  <a:pt x="165" y="126"/>
                  <a:pt x="165" y="126"/>
                  <a:pt x="165" y="126"/>
                </a:cubicBezTo>
                <a:cubicBezTo>
                  <a:pt x="162" y="125"/>
                  <a:pt x="160" y="123"/>
                  <a:pt x="159" y="121"/>
                </a:cubicBezTo>
                <a:cubicBezTo>
                  <a:pt x="158" y="119"/>
                  <a:pt x="158" y="116"/>
                  <a:pt x="159" y="113"/>
                </a:cubicBezTo>
                <a:cubicBezTo>
                  <a:pt x="160" y="109"/>
                  <a:pt x="163" y="107"/>
                  <a:pt x="167" y="106"/>
                </a:cubicBezTo>
                <a:cubicBezTo>
                  <a:pt x="169" y="106"/>
                  <a:pt x="170" y="106"/>
                  <a:pt x="172" y="107"/>
                </a:cubicBezTo>
                <a:cubicBezTo>
                  <a:pt x="172" y="107"/>
                  <a:pt x="172" y="107"/>
                  <a:pt x="172" y="107"/>
                </a:cubicBezTo>
                <a:cubicBezTo>
                  <a:pt x="197" y="114"/>
                  <a:pt x="197" y="114"/>
                  <a:pt x="197" y="114"/>
                </a:cubicBezTo>
                <a:cubicBezTo>
                  <a:pt x="198" y="114"/>
                  <a:pt x="199" y="114"/>
                  <a:pt x="199" y="114"/>
                </a:cubicBezTo>
                <a:cubicBezTo>
                  <a:pt x="199" y="114"/>
                  <a:pt x="199" y="114"/>
                  <a:pt x="199" y="114"/>
                </a:cubicBezTo>
                <a:cubicBezTo>
                  <a:pt x="200" y="114"/>
                  <a:pt x="200" y="114"/>
                  <a:pt x="201" y="114"/>
                </a:cubicBezTo>
                <a:cubicBezTo>
                  <a:pt x="201" y="114"/>
                  <a:pt x="201" y="114"/>
                  <a:pt x="201" y="114"/>
                </a:cubicBezTo>
                <a:cubicBezTo>
                  <a:pt x="201" y="114"/>
                  <a:pt x="202" y="114"/>
                  <a:pt x="202" y="114"/>
                </a:cubicBezTo>
                <a:cubicBezTo>
                  <a:pt x="202" y="114"/>
                  <a:pt x="202" y="114"/>
                  <a:pt x="203" y="114"/>
                </a:cubicBezTo>
                <a:cubicBezTo>
                  <a:pt x="203" y="114"/>
                  <a:pt x="204" y="114"/>
                  <a:pt x="204" y="114"/>
                </a:cubicBezTo>
                <a:cubicBezTo>
                  <a:pt x="204" y="114"/>
                  <a:pt x="204" y="114"/>
                  <a:pt x="204" y="114"/>
                </a:cubicBezTo>
                <a:cubicBezTo>
                  <a:pt x="205" y="114"/>
                  <a:pt x="205" y="114"/>
                  <a:pt x="205" y="114"/>
                </a:cubicBezTo>
                <a:cubicBezTo>
                  <a:pt x="206" y="114"/>
                  <a:pt x="206" y="113"/>
                  <a:pt x="206" y="113"/>
                </a:cubicBezTo>
                <a:cubicBezTo>
                  <a:pt x="206" y="113"/>
                  <a:pt x="207" y="113"/>
                  <a:pt x="207" y="113"/>
                </a:cubicBezTo>
                <a:cubicBezTo>
                  <a:pt x="207" y="113"/>
                  <a:pt x="207" y="113"/>
                  <a:pt x="207" y="113"/>
                </a:cubicBezTo>
                <a:cubicBezTo>
                  <a:pt x="208" y="113"/>
                  <a:pt x="208" y="112"/>
                  <a:pt x="209" y="112"/>
                </a:cubicBezTo>
                <a:cubicBezTo>
                  <a:pt x="209" y="112"/>
                  <a:pt x="209" y="112"/>
                  <a:pt x="209" y="112"/>
                </a:cubicBezTo>
                <a:cubicBezTo>
                  <a:pt x="209" y="112"/>
                  <a:pt x="209" y="111"/>
                  <a:pt x="210" y="111"/>
                </a:cubicBezTo>
                <a:cubicBezTo>
                  <a:pt x="210" y="111"/>
                  <a:pt x="210" y="111"/>
                  <a:pt x="210" y="111"/>
                </a:cubicBezTo>
                <a:cubicBezTo>
                  <a:pt x="210" y="111"/>
                  <a:pt x="210" y="111"/>
                  <a:pt x="210" y="111"/>
                </a:cubicBezTo>
                <a:cubicBezTo>
                  <a:pt x="210" y="110"/>
                  <a:pt x="211" y="110"/>
                  <a:pt x="211" y="110"/>
                </a:cubicBezTo>
                <a:cubicBezTo>
                  <a:pt x="211" y="110"/>
                  <a:pt x="211" y="110"/>
                  <a:pt x="211" y="110"/>
                </a:cubicBezTo>
                <a:cubicBezTo>
                  <a:pt x="212" y="109"/>
                  <a:pt x="212" y="108"/>
                  <a:pt x="213" y="107"/>
                </a:cubicBezTo>
                <a:cubicBezTo>
                  <a:pt x="213" y="107"/>
                  <a:pt x="213" y="107"/>
                  <a:pt x="213" y="107"/>
                </a:cubicBezTo>
                <a:cubicBezTo>
                  <a:pt x="213" y="106"/>
                  <a:pt x="213" y="106"/>
                  <a:pt x="213" y="106"/>
                </a:cubicBezTo>
                <a:cubicBezTo>
                  <a:pt x="214" y="105"/>
                  <a:pt x="214" y="105"/>
                  <a:pt x="214" y="105"/>
                </a:cubicBezTo>
                <a:cubicBezTo>
                  <a:pt x="214" y="105"/>
                  <a:pt x="214" y="105"/>
                  <a:pt x="214" y="105"/>
                </a:cubicBezTo>
                <a:cubicBezTo>
                  <a:pt x="214" y="104"/>
                  <a:pt x="214" y="104"/>
                  <a:pt x="214" y="104"/>
                </a:cubicBezTo>
                <a:cubicBezTo>
                  <a:pt x="214" y="104"/>
                  <a:pt x="214" y="104"/>
                  <a:pt x="214" y="103"/>
                </a:cubicBezTo>
                <a:cubicBezTo>
                  <a:pt x="214" y="103"/>
                  <a:pt x="214" y="103"/>
                  <a:pt x="214" y="102"/>
                </a:cubicBezTo>
                <a:cubicBezTo>
                  <a:pt x="214" y="102"/>
                  <a:pt x="214" y="102"/>
                  <a:pt x="214" y="102"/>
                </a:cubicBezTo>
                <a:cubicBezTo>
                  <a:pt x="214" y="101"/>
                  <a:pt x="214" y="101"/>
                  <a:pt x="214" y="100"/>
                </a:cubicBezTo>
                <a:cubicBezTo>
                  <a:pt x="214" y="100"/>
                  <a:pt x="214" y="100"/>
                  <a:pt x="214" y="100"/>
                </a:cubicBezTo>
                <a:cubicBezTo>
                  <a:pt x="214" y="100"/>
                  <a:pt x="214" y="99"/>
                  <a:pt x="214" y="99"/>
                </a:cubicBezTo>
                <a:cubicBezTo>
                  <a:pt x="214" y="99"/>
                  <a:pt x="214" y="99"/>
                  <a:pt x="214" y="99"/>
                </a:cubicBezTo>
                <a:cubicBezTo>
                  <a:pt x="214" y="98"/>
                  <a:pt x="214" y="98"/>
                  <a:pt x="214" y="98"/>
                </a:cubicBezTo>
                <a:cubicBezTo>
                  <a:pt x="214" y="98"/>
                  <a:pt x="214" y="98"/>
                  <a:pt x="214" y="98"/>
                </a:cubicBezTo>
                <a:cubicBezTo>
                  <a:pt x="209" y="72"/>
                  <a:pt x="193" y="51"/>
                  <a:pt x="171" y="41"/>
                </a:cubicBezTo>
                <a:cubicBezTo>
                  <a:pt x="168" y="40"/>
                  <a:pt x="165" y="39"/>
                  <a:pt x="161" y="38"/>
                </a:cubicBezTo>
                <a:cubicBezTo>
                  <a:pt x="158" y="37"/>
                  <a:pt x="155" y="36"/>
                  <a:pt x="152" y="36"/>
                </a:cubicBezTo>
                <a:cubicBezTo>
                  <a:pt x="151" y="36"/>
                  <a:pt x="150" y="36"/>
                  <a:pt x="149" y="36"/>
                </a:cubicBezTo>
                <a:cubicBezTo>
                  <a:pt x="148" y="36"/>
                  <a:pt x="147" y="36"/>
                  <a:pt x="145" y="36"/>
                </a:cubicBezTo>
                <a:cubicBezTo>
                  <a:pt x="107" y="36"/>
                  <a:pt x="75" y="71"/>
                  <a:pt x="75" y="115"/>
                </a:cubicBezTo>
                <a:cubicBezTo>
                  <a:pt x="75" y="159"/>
                  <a:pt x="107" y="194"/>
                  <a:pt x="145" y="194"/>
                </a:cubicBezTo>
                <a:cubicBezTo>
                  <a:pt x="147" y="194"/>
                  <a:pt x="148" y="194"/>
                  <a:pt x="149" y="194"/>
                </a:cubicBezTo>
                <a:cubicBezTo>
                  <a:pt x="149" y="194"/>
                  <a:pt x="150" y="194"/>
                  <a:pt x="150" y="194"/>
                </a:cubicBezTo>
                <a:cubicBezTo>
                  <a:pt x="151" y="194"/>
                  <a:pt x="151" y="194"/>
                  <a:pt x="152" y="194"/>
                </a:cubicBezTo>
                <a:cubicBezTo>
                  <a:pt x="152" y="194"/>
                  <a:pt x="152" y="194"/>
                  <a:pt x="152" y="194"/>
                </a:cubicBezTo>
                <a:cubicBezTo>
                  <a:pt x="152" y="201"/>
                  <a:pt x="152" y="201"/>
                  <a:pt x="152" y="201"/>
                </a:cubicBezTo>
                <a:cubicBezTo>
                  <a:pt x="56" y="206"/>
                  <a:pt x="56" y="206"/>
                  <a:pt x="56" y="206"/>
                </a:cubicBezTo>
                <a:cubicBezTo>
                  <a:pt x="27" y="196"/>
                  <a:pt x="27" y="196"/>
                  <a:pt x="27" y="196"/>
                </a:cubicBezTo>
                <a:cubicBezTo>
                  <a:pt x="27" y="38"/>
                  <a:pt x="27" y="38"/>
                  <a:pt x="27" y="38"/>
                </a:cubicBezTo>
                <a:cubicBezTo>
                  <a:pt x="57" y="26"/>
                  <a:pt x="57" y="26"/>
                  <a:pt x="57" y="26"/>
                </a:cubicBezTo>
                <a:cubicBezTo>
                  <a:pt x="155" y="29"/>
                  <a:pt x="155" y="29"/>
                  <a:pt x="155" y="29"/>
                </a:cubicBezTo>
                <a:cubicBezTo>
                  <a:pt x="156" y="29"/>
                  <a:pt x="157" y="29"/>
                  <a:pt x="159" y="29"/>
                </a:cubicBezTo>
                <a:cubicBezTo>
                  <a:pt x="164" y="27"/>
                  <a:pt x="168" y="22"/>
                  <a:pt x="168" y="16"/>
                </a:cubicBezTo>
                <a:cubicBezTo>
                  <a:pt x="169" y="9"/>
                  <a:pt x="163" y="3"/>
                  <a:pt x="155" y="3"/>
                </a:cubicBezTo>
                <a:cubicBezTo>
                  <a:pt x="55" y="0"/>
                  <a:pt x="55" y="0"/>
                  <a:pt x="55" y="0"/>
                </a:cubicBezTo>
                <a:cubicBezTo>
                  <a:pt x="54" y="0"/>
                  <a:pt x="52" y="0"/>
                  <a:pt x="50" y="1"/>
                </a:cubicBezTo>
                <a:cubicBezTo>
                  <a:pt x="9" y="16"/>
                  <a:pt x="9" y="16"/>
                  <a:pt x="9" y="16"/>
                </a:cubicBezTo>
                <a:cubicBezTo>
                  <a:pt x="4" y="18"/>
                  <a:pt x="0" y="23"/>
                  <a:pt x="0" y="29"/>
                </a:cubicBezTo>
                <a:cubicBezTo>
                  <a:pt x="0" y="206"/>
                  <a:pt x="0" y="206"/>
                  <a:pt x="0" y="206"/>
                </a:cubicBezTo>
                <a:cubicBezTo>
                  <a:pt x="0" y="211"/>
                  <a:pt x="4" y="216"/>
                  <a:pt x="9" y="218"/>
                </a:cubicBezTo>
                <a:cubicBezTo>
                  <a:pt x="50" y="232"/>
                  <a:pt x="50" y="232"/>
                  <a:pt x="50" y="232"/>
                </a:cubicBezTo>
                <a:cubicBezTo>
                  <a:pt x="51" y="232"/>
                  <a:pt x="53" y="232"/>
                  <a:pt x="54" y="232"/>
                </a:cubicBezTo>
                <a:cubicBezTo>
                  <a:pt x="55" y="232"/>
                  <a:pt x="55" y="232"/>
                  <a:pt x="55" y="232"/>
                </a:cubicBezTo>
                <a:cubicBezTo>
                  <a:pt x="166" y="227"/>
                  <a:pt x="166" y="227"/>
                  <a:pt x="166" y="227"/>
                </a:cubicBezTo>
                <a:cubicBezTo>
                  <a:pt x="173" y="227"/>
                  <a:pt x="179" y="221"/>
                  <a:pt x="179" y="214"/>
                </a:cubicBezTo>
                <a:cubicBezTo>
                  <a:pt x="179" y="176"/>
                  <a:pt x="179" y="176"/>
                  <a:pt x="179" y="176"/>
                </a:cubicBezTo>
                <a:cubicBezTo>
                  <a:pt x="179" y="176"/>
                  <a:pt x="179" y="176"/>
                  <a:pt x="179" y="176"/>
                </a:cubicBezTo>
                <a:cubicBezTo>
                  <a:pt x="179" y="176"/>
                  <a:pt x="179" y="175"/>
                  <a:pt x="179" y="175"/>
                </a:cubicBezTo>
                <a:cubicBezTo>
                  <a:pt x="179" y="175"/>
                  <a:pt x="179" y="175"/>
                  <a:pt x="179" y="175"/>
                </a:cubicBezTo>
                <a:cubicBezTo>
                  <a:pt x="179" y="174"/>
                  <a:pt x="179" y="174"/>
                  <a:pt x="179" y="173"/>
                </a:cubicBezTo>
                <a:cubicBezTo>
                  <a:pt x="179" y="173"/>
                  <a:pt x="179" y="173"/>
                  <a:pt x="178" y="173"/>
                </a:cubicBezTo>
                <a:cubicBezTo>
                  <a:pt x="178" y="173"/>
                  <a:pt x="178" y="172"/>
                  <a:pt x="178" y="172"/>
                </a:cubicBezTo>
                <a:cubicBezTo>
                  <a:pt x="178" y="172"/>
                  <a:pt x="178" y="172"/>
                  <a:pt x="178" y="171"/>
                </a:cubicBezTo>
                <a:cubicBezTo>
                  <a:pt x="178" y="171"/>
                  <a:pt x="178" y="171"/>
                  <a:pt x="178" y="170"/>
                </a:cubicBezTo>
                <a:cubicBezTo>
                  <a:pt x="177" y="170"/>
                  <a:pt x="177" y="170"/>
                  <a:pt x="177" y="170"/>
                </a:cubicBezTo>
                <a:cubicBezTo>
                  <a:pt x="177" y="170"/>
                  <a:pt x="177" y="169"/>
                  <a:pt x="177" y="169"/>
                </a:cubicBezTo>
                <a:cubicBezTo>
                  <a:pt x="176" y="168"/>
                  <a:pt x="176" y="168"/>
                  <a:pt x="176" y="168"/>
                </a:cubicBezTo>
                <a:cubicBezTo>
                  <a:pt x="175" y="167"/>
                  <a:pt x="175" y="167"/>
                  <a:pt x="175" y="167"/>
                </a:cubicBezTo>
                <a:cubicBezTo>
                  <a:pt x="175" y="167"/>
                  <a:pt x="175" y="167"/>
                  <a:pt x="175" y="167"/>
                </a:cubicBezTo>
                <a:cubicBezTo>
                  <a:pt x="175" y="167"/>
                  <a:pt x="175" y="167"/>
                  <a:pt x="174" y="166"/>
                </a:cubicBezTo>
                <a:cubicBezTo>
                  <a:pt x="174" y="166"/>
                  <a:pt x="174" y="166"/>
                  <a:pt x="174" y="166"/>
                </a:cubicBezTo>
                <a:cubicBezTo>
                  <a:pt x="174" y="166"/>
                  <a:pt x="173" y="166"/>
                  <a:pt x="173" y="165"/>
                </a:cubicBezTo>
                <a:cubicBezTo>
                  <a:pt x="173" y="165"/>
                  <a:pt x="173" y="165"/>
                  <a:pt x="173" y="165"/>
                </a:cubicBezTo>
                <a:cubicBezTo>
                  <a:pt x="172" y="165"/>
                  <a:pt x="172" y="165"/>
                  <a:pt x="172" y="165"/>
                </a:cubicBezTo>
                <a:cubicBezTo>
                  <a:pt x="171" y="164"/>
                  <a:pt x="171" y="164"/>
                  <a:pt x="171" y="164"/>
                </a:cubicBezTo>
                <a:cubicBezTo>
                  <a:pt x="171" y="164"/>
                  <a:pt x="171" y="164"/>
                  <a:pt x="170" y="164"/>
                </a:cubicBezTo>
                <a:cubicBezTo>
                  <a:pt x="170" y="164"/>
                  <a:pt x="170" y="164"/>
                  <a:pt x="170" y="164"/>
                </a:cubicBezTo>
                <a:cubicBezTo>
                  <a:pt x="169" y="164"/>
                  <a:pt x="169" y="164"/>
                  <a:pt x="169" y="163"/>
                </a:cubicBezTo>
                <a:cubicBezTo>
                  <a:pt x="169" y="163"/>
                  <a:pt x="168" y="163"/>
                  <a:pt x="168" y="163"/>
                </a:cubicBezTo>
                <a:cubicBezTo>
                  <a:pt x="167" y="163"/>
                  <a:pt x="166" y="163"/>
                  <a:pt x="165" y="163"/>
                </a:cubicBezTo>
                <a:cubicBezTo>
                  <a:pt x="165" y="163"/>
                  <a:pt x="165" y="163"/>
                  <a:pt x="165" y="163"/>
                </a:cubicBezTo>
                <a:cubicBezTo>
                  <a:pt x="164" y="163"/>
                  <a:pt x="164" y="163"/>
                  <a:pt x="164" y="163"/>
                </a:cubicBezTo>
                <a:cubicBezTo>
                  <a:pt x="164" y="163"/>
                  <a:pt x="163" y="163"/>
                  <a:pt x="163" y="163"/>
                </a:cubicBezTo>
                <a:cubicBezTo>
                  <a:pt x="163" y="163"/>
                  <a:pt x="162" y="164"/>
                  <a:pt x="162" y="164"/>
                </a:cubicBezTo>
                <a:cubicBezTo>
                  <a:pt x="162" y="164"/>
                  <a:pt x="162" y="164"/>
                  <a:pt x="162" y="164"/>
                </a:cubicBezTo>
                <a:cubicBezTo>
                  <a:pt x="161" y="164"/>
                  <a:pt x="161" y="164"/>
                  <a:pt x="160" y="164"/>
                </a:cubicBezTo>
                <a:cubicBezTo>
                  <a:pt x="156" y="166"/>
                  <a:pt x="151" y="167"/>
                  <a:pt x="145" y="167"/>
                </a:cubicBezTo>
                <a:cubicBezTo>
                  <a:pt x="122" y="167"/>
                  <a:pt x="102" y="144"/>
                  <a:pt x="102" y="115"/>
                </a:cubicBezTo>
                <a:cubicBezTo>
                  <a:pt x="102" y="86"/>
                  <a:pt x="122" y="62"/>
                  <a:pt x="145" y="62"/>
                </a:cubicBezTo>
                <a:cubicBezTo>
                  <a:pt x="147" y="62"/>
                  <a:pt x="148" y="62"/>
                  <a:pt x="149" y="63"/>
                </a:cubicBezTo>
                <a:cubicBezTo>
                  <a:pt x="153" y="63"/>
                  <a:pt x="157" y="64"/>
                  <a:pt x="160" y="65"/>
                </a:cubicBezTo>
                <a:cubicBezTo>
                  <a:pt x="160" y="65"/>
                  <a:pt x="160" y="65"/>
                  <a:pt x="160" y="65"/>
                </a:cubicBezTo>
                <a:cubicBezTo>
                  <a:pt x="167" y="69"/>
                  <a:pt x="174" y="74"/>
                  <a:pt x="179" y="81"/>
                </a:cubicBezTo>
                <a:cubicBezTo>
                  <a:pt x="178" y="81"/>
                  <a:pt x="178" y="81"/>
                  <a:pt x="178" y="81"/>
                </a:cubicBezTo>
                <a:cubicBezTo>
                  <a:pt x="178" y="81"/>
                  <a:pt x="178" y="81"/>
                  <a:pt x="177" y="81"/>
                </a:cubicBezTo>
                <a:cubicBezTo>
                  <a:pt x="177" y="81"/>
                  <a:pt x="177" y="81"/>
                  <a:pt x="176" y="80"/>
                </a:cubicBezTo>
                <a:cubicBezTo>
                  <a:pt x="176" y="80"/>
                  <a:pt x="176" y="80"/>
                  <a:pt x="176" y="80"/>
                </a:cubicBezTo>
                <a:cubicBezTo>
                  <a:pt x="175" y="80"/>
                  <a:pt x="175" y="80"/>
                  <a:pt x="174" y="80"/>
                </a:cubicBezTo>
                <a:cubicBezTo>
                  <a:pt x="174" y="80"/>
                  <a:pt x="174" y="80"/>
                  <a:pt x="174" y="80"/>
                </a:cubicBezTo>
                <a:cubicBezTo>
                  <a:pt x="173" y="80"/>
                  <a:pt x="173" y="80"/>
                  <a:pt x="173" y="80"/>
                </a:cubicBezTo>
                <a:cubicBezTo>
                  <a:pt x="172" y="80"/>
                  <a:pt x="172" y="80"/>
                  <a:pt x="172" y="80"/>
                </a:cubicBezTo>
                <a:cubicBezTo>
                  <a:pt x="171" y="80"/>
                  <a:pt x="171" y="80"/>
                  <a:pt x="171" y="80"/>
                </a:cubicBezTo>
                <a:cubicBezTo>
                  <a:pt x="170" y="80"/>
                  <a:pt x="170" y="80"/>
                  <a:pt x="170" y="80"/>
                </a:cubicBezTo>
                <a:cubicBezTo>
                  <a:pt x="169" y="80"/>
                  <a:pt x="169" y="80"/>
                  <a:pt x="169" y="80"/>
                </a:cubicBezTo>
                <a:cubicBezTo>
                  <a:pt x="168" y="80"/>
                  <a:pt x="168" y="80"/>
                  <a:pt x="168" y="80"/>
                </a:cubicBezTo>
                <a:cubicBezTo>
                  <a:pt x="168" y="80"/>
                  <a:pt x="167" y="80"/>
                  <a:pt x="167" y="80"/>
                </a:cubicBezTo>
                <a:cubicBezTo>
                  <a:pt x="166" y="80"/>
                  <a:pt x="166" y="80"/>
                  <a:pt x="166" y="80"/>
                </a:cubicBezTo>
                <a:cubicBezTo>
                  <a:pt x="165" y="80"/>
                  <a:pt x="165" y="80"/>
                  <a:pt x="164" y="80"/>
                </a:cubicBezTo>
                <a:cubicBezTo>
                  <a:pt x="150" y="82"/>
                  <a:pt x="138" y="91"/>
                  <a:pt x="134" y="105"/>
                </a:cubicBezTo>
                <a:cubicBezTo>
                  <a:pt x="130" y="114"/>
                  <a:pt x="131" y="124"/>
                  <a:pt x="135" y="133"/>
                </a:cubicBezTo>
                <a:cubicBezTo>
                  <a:pt x="140" y="142"/>
                  <a:pt x="147" y="148"/>
                  <a:pt x="157" y="151"/>
                </a:cubicBezTo>
                <a:cubicBezTo>
                  <a:pt x="218" y="172"/>
                  <a:pt x="218" y="172"/>
                  <a:pt x="218" y="172"/>
                </a:cubicBezTo>
                <a:cubicBezTo>
                  <a:pt x="213" y="179"/>
                  <a:pt x="208" y="186"/>
                  <a:pt x="205" y="191"/>
                </a:cubicBezTo>
                <a:cubicBezTo>
                  <a:pt x="195" y="209"/>
                  <a:pt x="198" y="240"/>
                  <a:pt x="216" y="253"/>
                </a:cubicBezTo>
                <a:cubicBezTo>
                  <a:pt x="218" y="254"/>
                  <a:pt x="220" y="256"/>
                  <a:pt x="222" y="258"/>
                </a:cubicBezTo>
                <a:cubicBezTo>
                  <a:pt x="220" y="260"/>
                  <a:pt x="217" y="263"/>
                  <a:pt x="216" y="266"/>
                </a:cubicBezTo>
                <a:cubicBezTo>
                  <a:pt x="210" y="274"/>
                  <a:pt x="209" y="285"/>
                  <a:pt x="210" y="295"/>
                </a:cubicBezTo>
                <a:cubicBezTo>
                  <a:pt x="214" y="315"/>
                  <a:pt x="231" y="327"/>
                  <a:pt x="251" y="325"/>
                </a:cubicBezTo>
                <a:cubicBezTo>
                  <a:pt x="359" y="333"/>
                  <a:pt x="359" y="333"/>
                  <a:pt x="359" y="333"/>
                </a:cubicBezTo>
                <a:cubicBezTo>
                  <a:pt x="359" y="333"/>
                  <a:pt x="360" y="333"/>
                  <a:pt x="360" y="333"/>
                </a:cubicBezTo>
                <a:cubicBezTo>
                  <a:pt x="361" y="333"/>
                  <a:pt x="361" y="333"/>
                  <a:pt x="362" y="333"/>
                </a:cubicBezTo>
                <a:cubicBezTo>
                  <a:pt x="373" y="331"/>
                  <a:pt x="382" y="325"/>
                  <a:pt x="390" y="319"/>
                </a:cubicBezTo>
                <a:cubicBezTo>
                  <a:pt x="395" y="316"/>
                  <a:pt x="400" y="312"/>
                  <a:pt x="404" y="310"/>
                </a:cubicBezTo>
                <a:cubicBezTo>
                  <a:pt x="408" y="308"/>
                  <a:pt x="411" y="305"/>
                  <a:pt x="412" y="301"/>
                </a:cubicBezTo>
                <a:cubicBezTo>
                  <a:pt x="431" y="193"/>
                  <a:pt x="431" y="193"/>
                  <a:pt x="431" y="193"/>
                </a:cubicBezTo>
                <a:cubicBezTo>
                  <a:pt x="432" y="187"/>
                  <a:pt x="429" y="181"/>
                  <a:pt x="424" y="179"/>
                </a:cubicBezTo>
                <a:close/>
                <a:moveTo>
                  <a:pt x="228" y="204"/>
                </a:moveTo>
                <a:cubicBezTo>
                  <a:pt x="231" y="199"/>
                  <a:pt x="237" y="191"/>
                  <a:pt x="245" y="181"/>
                </a:cubicBezTo>
                <a:cubicBezTo>
                  <a:pt x="251" y="183"/>
                  <a:pt x="251" y="183"/>
                  <a:pt x="251" y="183"/>
                </a:cubicBezTo>
                <a:cubicBezTo>
                  <a:pt x="254" y="184"/>
                  <a:pt x="254" y="184"/>
                  <a:pt x="254" y="184"/>
                </a:cubicBezTo>
                <a:cubicBezTo>
                  <a:pt x="261" y="188"/>
                  <a:pt x="261" y="188"/>
                  <a:pt x="261" y="188"/>
                </a:cubicBezTo>
                <a:cubicBezTo>
                  <a:pt x="262" y="189"/>
                  <a:pt x="262" y="189"/>
                  <a:pt x="262" y="189"/>
                </a:cubicBezTo>
                <a:cubicBezTo>
                  <a:pt x="262" y="189"/>
                  <a:pt x="262" y="189"/>
                  <a:pt x="262" y="189"/>
                </a:cubicBezTo>
                <a:cubicBezTo>
                  <a:pt x="262" y="190"/>
                  <a:pt x="261" y="190"/>
                  <a:pt x="261" y="190"/>
                </a:cubicBezTo>
                <a:cubicBezTo>
                  <a:pt x="261" y="191"/>
                  <a:pt x="260" y="191"/>
                  <a:pt x="260" y="192"/>
                </a:cubicBezTo>
                <a:cubicBezTo>
                  <a:pt x="260" y="192"/>
                  <a:pt x="259" y="193"/>
                  <a:pt x="259" y="193"/>
                </a:cubicBezTo>
                <a:cubicBezTo>
                  <a:pt x="259" y="194"/>
                  <a:pt x="258" y="194"/>
                  <a:pt x="258" y="195"/>
                </a:cubicBezTo>
                <a:cubicBezTo>
                  <a:pt x="258" y="195"/>
                  <a:pt x="257" y="195"/>
                  <a:pt x="257" y="196"/>
                </a:cubicBezTo>
                <a:cubicBezTo>
                  <a:pt x="257" y="196"/>
                  <a:pt x="256" y="197"/>
                  <a:pt x="256" y="198"/>
                </a:cubicBezTo>
                <a:cubicBezTo>
                  <a:pt x="256" y="198"/>
                  <a:pt x="256" y="198"/>
                  <a:pt x="256" y="198"/>
                </a:cubicBezTo>
                <a:cubicBezTo>
                  <a:pt x="255" y="199"/>
                  <a:pt x="255" y="200"/>
                  <a:pt x="254" y="200"/>
                </a:cubicBezTo>
                <a:cubicBezTo>
                  <a:pt x="254" y="201"/>
                  <a:pt x="254" y="201"/>
                  <a:pt x="254" y="201"/>
                </a:cubicBezTo>
                <a:cubicBezTo>
                  <a:pt x="254" y="202"/>
                  <a:pt x="254" y="202"/>
                  <a:pt x="253" y="203"/>
                </a:cubicBezTo>
                <a:cubicBezTo>
                  <a:pt x="253" y="203"/>
                  <a:pt x="253" y="203"/>
                  <a:pt x="253" y="203"/>
                </a:cubicBezTo>
                <a:cubicBezTo>
                  <a:pt x="253" y="204"/>
                  <a:pt x="253" y="204"/>
                  <a:pt x="252" y="205"/>
                </a:cubicBezTo>
                <a:cubicBezTo>
                  <a:pt x="252" y="205"/>
                  <a:pt x="252" y="205"/>
                  <a:pt x="252" y="205"/>
                </a:cubicBezTo>
                <a:cubicBezTo>
                  <a:pt x="252" y="206"/>
                  <a:pt x="252" y="206"/>
                  <a:pt x="252" y="207"/>
                </a:cubicBezTo>
                <a:cubicBezTo>
                  <a:pt x="252" y="207"/>
                  <a:pt x="252" y="207"/>
                  <a:pt x="252" y="207"/>
                </a:cubicBezTo>
                <a:cubicBezTo>
                  <a:pt x="251" y="208"/>
                  <a:pt x="251" y="208"/>
                  <a:pt x="251" y="209"/>
                </a:cubicBezTo>
                <a:cubicBezTo>
                  <a:pt x="251" y="209"/>
                  <a:pt x="251" y="209"/>
                  <a:pt x="251" y="209"/>
                </a:cubicBezTo>
                <a:cubicBezTo>
                  <a:pt x="251" y="210"/>
                  <a:pt x="251" y="210"/>
                  <a:pt x="251" y="211"/>
                </a:cubicBezTo>
                <a:cubicBezTo>
                  <a:pt x="251" y="211"/>
                  <a:pt x="251" y="211"/>
                  <a:pt x="251" y="211"/>
                </a:cubicBezTo>
                <a:cubicBezTo>
                  <a:pt x="251" y="212"/>
                  <a:pt x="251" y="212"/>
                  <a:pt x="251" y="213"/>
                </a:cubicBezTo>
                <a:cubicBezTo>
                  <a:pt x="251" y="213"/>
                  <a:pt x="251" y="213"/>
                  <a:pt x="251" y="213"/>
                </a:cubicBezTo>
                <a:cubicBezTo>
                  <a:pt x="251" y="214"/>
                  <a:pt x="251" y="214"/>
                  <a:pt x="251" y="214"/>
                </a:cubicBezTo>
                <a:cubicBezTo>
                  <a:pt x="251" y="214"/>
                  <a:pt x="251" y="215"/>
                  <a:pt x="251" y="215"/>
                </a:cubicBezTo>
                <a:cubicBezTo>
                  <a:pt x="252" y="215"/>
                  <a:pt x="252" y="216"/>
                  <a:pt x="252" y="216"/>
                </a:cubicBezTo>
                <a:cubicBezTo>
                  <a:pt x="252" y="216"/>
                  <a:pt x="252" y="216"/>
                  <a:pt x="252" y="216"/>
                </a:cubicBezTo>
                <a:cubicBezTo>
                  <a:pt x="252" y="217"/>
                  <a:pt x="252" y="218"/>
                  <a:pt x="253" y="218"/>
                </a:cubicBezTo>
                <a:cubicBezTo>
                  <a:pt x="253" y="219"/>
                  <a:pt x="253" y="219"/>
                  <a:pt x="254" y="220"/>
                </a:cubicBezTo>
                <a:cubicBezTo>
                  <a:pt x="255" y="221"/>
                  <a:pt x="256" y="222"/>
                  <a:pt x="258" y="224"/>
                </a:cubicBezTo>
                <a:cubicBezTo>
                  <a:pt x="269" y="233"/>
                  <a:pt x="269" y="233"/>
                  <a:pt x="269" y="233"/>
                </a:cubicBezTo>
                <a:cubicBezTo>
                  <a:pt x="269" y="233"/>
                  <a:pt x="269" y="233"/>
                  <a:pt x="269" y="233"/>
                </a:cubicBezTo>
                <a:cubicBezTo>
                  <a:pt x="269" y="233"/>
                  <a:pt x="269" y="233"/>
                  <a:pt x="269" y="233"/>
                </a:cubicBezTo>
                <a:cubicBezTo>
                  <a:pt x="275" y="237"/>
                  <a:pt x="275" y="237"/>
                  <a:pt x="275" y="237"/>
                </a:cubicBezTo>
                <a:cubicBezTo>
                  <a:pt x="275" y="238"/>
                  <a:pt x="274" y="238"/>
                  <a:pt x="274" y="238"/>
                </a:cubicBezTo>
                <a:cubicBezTo>
                  <a:pt x="274" y="239"/>
                  <a:pt x="274" y="239"/>
                  <a:pt x="273" y="239"/>
                </a:cubicBezTo>
                <a:cubicBezTo>
                  <a:pt x="273" y="240"/>
                  <a:pt x="273" y="240"/>
                  <a:pt x="273" y="240"/>
                </a:cubicBezTo>
                <a:cubicBezTo>
                  <a:pt x="272" y="241"/>
                  <a:pt x="272" y="241"/>
                  <a:pt x="272" y="241"/>
                </a:cubicBezTo>
                <a:cubicBezTo>
                  <a:pt x="271" y="241"/>
                  <a:pt x="271" y="242"/>
                  <a:pt x="271" y="242"/>
                </a:cubicBezTo>
                <a:cubicBezTo>
                  <a:pt x="271" y="242"/>
                  <a:pt x="270" y="242"/>
                  <a:pt x="270" y="243"/>
                </a:cubicBezTo>
                <a:cubicBezTo>
                  <a:pt x="270" y="243"/>
                  <a:pt x="269" y="244"/>
                  <a:pt x="269" y="244"/>
                </a:cubicBezTo>
                <a:cubicBezTo>
                  <a:pt x="253" y="247"/>
                  <a:pt x="253" y="247"/>
                  <a:pt x="253" y="247"/>
                </a:cubicBezTo>
                <a:cubicBezTo>
                  <a:pt x="246" y="241"/>
                  <a:pt x="237" y="235"/>
                  <a:pt x="231" y="231"/>
                </a:cubicBezTo>
                <a:cubicBezTo>
                  <a:pt x="226" y="228"/>
                  <a:pt x="224" y="213"/>
                  <a:pt x="228" y="20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6" name="Freeform 596"/>
          <p:cNvSpPr>
            <a:spLocks noEditPoints="1"/>
          </p:cNvSpPr>
          <p:nvPr userDrawn="1"/>
        </p:nvSpPr>
        <p:spPr bwMode="auto">
          <a:xfrm>
            <a:off x="7887529" y="2757828"/>
            <a:ext cx="348944" cy="389334"/>
          </a:xfrm>
          <a:custGeom>
            <a:avLst/>
            <a:gdLst/>
            <a:ahLst/>
            <a:cxnLst>
              <a:cxn ang="0">
                <a:pos x="157" y="15"/>
              </a:cxn>
              <a:cxn ang="0">
                <a:pos x="154" y="35"/>
              </a:cxn>
              <a:cxn ang="0">
                <a:pos x="22" y="68"/>
              </a:cxn>
              <a:cxn ang="0">
                <a:pos x="0" y="99"/>
              </a:cxn>
              <a:cxn ang="0">
                <a:pos x="25" y="164"/>
              </a:cxn>
              <a:cxn ang="0">
                <a:pos x="72" y="402"/>
              </a:cxn>
              <a:cxn ang="0">
                <a:pos x="207" y="461"/>
              </a:cxn>
              <a:cxn ang="0">
                <a:pos x="323" y="432"/>
              </a:cxn>
              <a:cxn ang="0">
                <a:pos x="344" y="401"/>
              </a:cxn>
              <a:cxn ang="0">
                <a:pos x="370" y="153"/>
              </a:cxn>
              <a:cxn ang="0">
                <a:pos x="207" y="177"/>
              </a:cxn>
              <a:cxn ang="0">
                <a:pos x="98" y="179"/>
              </a:cxn>
              <a:cxn ang="0">
                <a:pos x="207" y="204"/>
              </a:cxn>
              <a:cxn ang="0">
                <a:pos x="317" y="397"/>
              </a:cxn>
              <a:cxn ang="0">
                <a:pos x="305" y="412"/>
              </a:cxn>
              <a:cxn ang="0">
                <a:pos x="99" y="401"/>
              </a:cxn>
              <a:cxn ang="0">
                <a:pos x="66" y="162"/>
              </a:cxn>
              <a:cxn ang="0">
                <a:pos x="41" y="143"/>
              </a:cxn>
              <a:cxn ang="0">
                <a:pos x="27" y="98"/>
              </a:cxn>
              <a:cxn ang="0">
                <a:pos x="167" y="61"/>
              </a:cxn>
              <a:cxn ang="0">
                <a:pos x="182" y="27"/>
              </a:cxn>
              <a:cxn ang="0">
                <a:pos x="232" y="27"/>
              </a:cxn>
              <a:cxn ang="0">
                <a:pos x="248" y="61"/>
              </a:cxn>
              <a:cxn ang="0">
                <a:pos x="388" y="98"/>
              </a:cxn>
              <a:cxn ang="0">
                <a:pos x="385" y="130"/>
              </a:cxn>
              <a:cxn ang="0">
                <a:pos x="412" y="132"/>
              </a:cxn>
              <a:cxn ang="0">
                <a:pos x="414" y="87"/>
              </a:cxn>
              <a:cxn ang="0">
                <a:pos x="357" y="53"/>
              </a:cxn>
              <a:cxn ang="0">
                <a:pos x="258" y="17"/>
              </a:cxn>
              <a:cxn ang="0">
                <a:pos x="241" y="0"/>
              </a:cxn>
              <a:cxn ang="0">
                <a:pos x="207" y="0"/>
              </a:cxn>
              <a:cxn ang="0">
                <a:pos x="241" y="27"/>
              </a:cxn>
            </a:cxnLst>
            <a:rect l="0" t="0" r="r" b="b"/>
            <a:pathLst>
              <a:path w="415" h="461">
                <a:moveTo>
                  <a:pt x="174" y="0"/>
                </a:moveTo>
                <a:cubicBezTo>
                  <a:pt x="165" y="0"/>
                  <a:pt x="159" y="8"/>
                  <a:pt x="157" y="15"/>
                </a:cubicBezTo>
                <a:cubicBezTo>
                  <a:pt x="157" y="15"/>
                  <a:pt x="156" y="16"/>
                  <a:pt x="156" y="17"/>
                </a:cubicBezTo>
                <a:cubicBezTo>
                  <a:pt x="156" y="17"/>
                  <a:pt x="155" y="26"/>
                  <a:pt x="154" y="35"/>
                </a:cubicBezTo>
                <a:cubicBezTo>
                  <a:pt x="112" y="37"/>
                  <a:pt x="76" y="47"/>
                  <a:pt x="58" y="53"/>
                </a:cubicBezTo>
                <a:cubicBezTo>
                  <a:pt x="44" y="58"/>
                  <a:pt x="31" y="63"/>
                  <a:pt x="22" y="68"/>
                </a:cubicBezTo>
                <a:cubicBezTo>
                  <a:pt x="9" y="74"/>
                  <a:pt x="3" y="80"/>
                  <a:pt x="1" y="87"/>
                </a:cubicBezTo>
                <a:cubicBezTo>
                  <a:pt x="0" y="89"/>
                  <a:pt x="0" y="94"/>
                  <a:pt x="0" y="99"/>
                </a:cubicBezTo>
                <a:cubicBezTo>
                  <a:pt x="0" y="108"/>
                  <a:pt x="1" y="121"/>
                  <a:pt x="3" y="132"/>
                </a:cubicBezTo>
                <a:cubicBezTo>
                  <a:pt x="3" y="136"/>
                  <a:pt x="6" y="150"/>
                  <a:pt x="25" y="164"/>
                </a:cubicBezTo>
                <a:cubicBezTo>
                  <a:pt x="30" y="168"/>
                  <a:pt x="36" y="171"/>
                  <a:pt x="40" y="173"/>
                </a:cubicBezTo>
                <a:cubicBezTo>
                  <a:pt x="45" y="209"/>
                  <a:pt x="68" y="375"/>
                  <a:pt x="72" y="402"/>
                </a:cubicBezTo>
                <a:cubicBezTo>
                  <a:pt x="72" y="402"/>
                  <a:pt x="74" y="411"/>
                  <a:pt x="78" y="417"/>
                </a:cubicBezTo>
                <a:cubicBezTo>
                  <a:pt x="91" y="434"/>
                  <a:pt x="137" y="461"/>
                  <a:pt x="207" y="461"/>
                </a:cubicBezTo>
                <a:cubicBezTo>
                  <a:pt x="281" y="461"/>
                  <a:pt x="305" y="444"/>
                  <a:pt x="320" y="434"/>
                </a:cubicBezTo>
                <a:cubicBezTo>
                  <a:pt x="323" y="432"/>
                  <a:pt x="323" y="432"/>
                  <a:pt x="323" y="432"/>
                </a:cubicBezTo>
                <a:cubicBezTo>
                  <a:pt x="340" y="421"/>
                  <a:pt x="343" y="403"/>
                  <a:pt x="344" y="401"/>
                </a:cubicBezTo>
                <a:cubicBezTo>
                  <a:pt x="344" y="401"/>
                  <a:pt x="344" y="401"/>
                  <a:pt x="344" y="401"/>
                </a:cubicBezTo>
                <a:cubicBezTo>
                  <a:pt x="376" y="166"/>
                  <a:pt x="376" y="166"/>
                  <a:pt x="376" y="166"/>
                </a:cubicBezTo>
                <a:cubicBezTo>
                  <a:pt x="376" y="161"/>
                  <a:pt x="374" y="156"/>
                  <a:pt x="370" y="153"/>
                </a:cubicBezTo>
                <a:cubicBezTo>
                  <a:pt x="366" y="151"/>
                  <a:pt x="361" y="150"/>
                  <a:pt x="357" y="152"/>
                </a:cubicBezTo>
                <a:cubicBezTo>
                  <a:pt x="326" y="167"/>
                  <a:pt x="263" y="177"/>
                  <a:pt x="207" y="177"/>
                </a:cubicBezTo>
                <a:cubicBezTo>
                  <a:pt x="166" y="177"/>
                  <a:pt x="133" y="172"/>
                  <a:pt x="113" y="169"/>
                </a:cubicBezTo>
                <a:cubicBezTo>
                  <a:pt x="106" y="167"/>
                  <a:pt x="99" y="172"/>
                  <a:pt x="98" y="179"/>
                </a:cubicBezTo>
                <a:cubicBezTo>
                  <a:pt x="96" y="186"/>
                  <a:pt x="101" y="193"/>
                  <a:pt x="108" y="195"/>
                </a:cubicBezTo>
                <a:cubicBezTo>
                  <a:pt x="129" y="199"/>
                  <a:pt x="163" y="204"/>
                  <a:pt x="207" y="204"/>
                </a:cubicBezTo>
                <a:cubicBezTo>
                  <a:pt x="249" y="204"/>
                  <a:pt x="305" y="198"/>
                  <a:pt x="346" y="185"/>
                </a:cubicBezTo>
                <a:cubicBezTo>
                  <a:pt x="341" y="222"/>
                  <a:pt x="317" y="396"/>
                  <a:pt x="317" y="397"/>
                </a:cubicBezTo>
                <a:cubicBezTo>
                  <a:pt x="317" y="397"/>
                  <a:pt x="315" y="405"/>
                  <a:pt x="309" y="410"/>
                </a:cubicBezTo>
                <a:cubicBezTo>
                  <a:pt x="305" y="412"/>
                  <a:pt x="305" y="412"/>
                  <a:pt x="305" y="412"/>
                </a:cubicBezTo>
                <a:cubicBezTo>
                  <a:pt x="293" y="420"/>
                  <a:pt x="273" y="434"/>
                  <a:pt x="207" y="434"/>
                </a:cubicBezTo>
                <a:cubicBezTo>
                  <a:pt x="145" y="434"/>
                  <a:pt x="107" y="410"/>
                  <a:pt x="99" y="401"/>
                </a:cubicBezTo>
                <a:cubicBezTo>
                  <a:pt x="99" y="400"/>
                  <a:pt x="99" y="399"/>
                  <a:pt x="98" y="398"/>
                </a:cubicBezTo>
                <a:cubicBezTo>
                  <a:pt x="94" y="369"/>
                  <a:pt x="66" y="165"/>
                  <a:pt x="66" y="162"/>
                </a:cubicBezTo>
                <a:cubicBezTo>
                  <a:pt x="65" y="158"/>
                  <a:pt x="62" y="154"/>
                  <a:pt x="58" y="152"/>
                </a:cubicBezTo>
                <a:cubicBezTo>
                  <a:pt x="58" y="152"/>
                  <a:pt x="48" y="147"/>
                  <a:pt x="41" y="143"/>
                </a:cubicBezTo>
                <a:cubicBezTo>
                  <a:pt x="31" y="135"/>
                  <a:pt x="29" y="129"/>
                  <a:pt x="29" y="129"/>
                </a:cubicBezTo>
                <a:cubicBezTo>
                  <a:pt x="28" y="118"/>
                  <a:pt x="27" y="105"/>
                  <a:pt x="27" y="98"/>
                </a:cubicBezTo>
                <a:cubicBezTo>
                  <a:pt x="27" y="97"/>
                  <a:pt x="27" y="96"/>
                  <a:pt x="27" y="96"/>
                </a:cubicBezTo>
                <a:cubicBezTo>
                  <a:pt x="38" y="87"/>
                  <a:pt x="98" y="63"/>
                  <a:pt x="167" y="61"/>
                </a:cubicBezTo>
                <a:cubicBezTo>
                  <a:pt x="174" y="60"/>
                  <a:pt x="179" y="55"/>
                  <a:pt x="180" y="49"/>
                </a:cubicBezTo>
                <a:cubicBezTo>
                  <a:pt x="180" y="49"/>
                  <a:pt x="181" y="35"/>
                  <a:pt x="182" y="27"/>
                </a:cubicBezTo>
                <a:cubicBezTo>
                  <a:pt x="191" y="27"/>
                  <a:pt x="207" y="27"/>
                  <a:pt x="207" y="27"/>
                </a:cubicBezTo>
                <a:cubicBezTo>
                  <a:pt x="207" y="27"/>
                  <a:pt x="224" y="27"/>
                  <a:pt x="232" y="27"/>
                </a:cubicBezTo>
                <a:cubicBezTo>
                  <a:pt x="233" y="35"/>
                  <a:pt x="235" y="49"/>
                  <a:pt x="235" y="49"/>
                </a:cubicBezTo>
                <a:cubicBezTo>
                  <a:pt x="236" y="55"/>
                  <a:pt x="241" y="60"/>
                  <a:pt x="248" y="61"/>
                </a:cubicBezTo>
                <a:cubicBezTo>
                  <a:pt x="316" y="62"/>
                  <a:pt x="376" y="86"/>
                  <a:pt x="388" y="96"/>
                </a:cubicBezTo>
                <a:cubicBezTo>
                  <a:pt x="388" y="96"/>
                  <a:pt x="388" y="97"/>
                  <a:pt x="388" y="98"/>
                </a:cubicBezTo>
                <a:cubicBezTo>
                  <a:pt x="388" y="105"/>
                  <a:pt x="387" y="118"/>
                  <a:pt x="386" y="129"/>
                </a:cubicBezTo>
                <a:cubicBezTo>
                  <a:pt x="386" y="129"/>
                  <a:pt x="385" y="130"/>
                  <a:pt x="385" y="130"/>
                </a:cubicBezTo>
                <a:cubicBezTo>
                  <a:pt x="385" y="137"/>
                  <a:pt x="390" y="143"/>
                  <a:pt x="397" y="144"/>
                </a:cubicBezTo>
                <a:cubicBezTo>
                  <a:pt x="404" y="144"/>
                  <a:pt x="411" y="139"/>
                  <a:pt x="412" y="132"/>
                </a:cubicBezTo>
                <a:cubicBezTo>
                  <a:pt x="413" y="121"/>
                  <a:pt x="415" y="108"/>
                  <a:pt x="415" y="99"/>
                </a:cubicBezTo>
                <a:cubicBezTo>
                  <a:pt x="415" y="94"/>
                  <a:pt x="414" y="89"/>
                  <a:pt x="414" y="87"/>
                </a:cubicBezTo>
                <a:cubicBezTo>
                  <a:pt x="412" y="80"/>
                  <a:pt x="405" y="74"/>
                  <a:pt x="393" y="68"/>
                </a:cubicBezTo>
                <a:cubicBezTo>
                  <a:pt x="383" y="63"/>
                  <a:pt x="371" y="58"/>
                  <a:pt x="357" y="53"/>
                </a:cubicBezTo>
                <a:cubicBezTo>
                  <a:pt x="339" y="47"/>
                  <a:pt x="303" y="37"/>
                  <a:pt x="260" y="34"/>
                </a:cubicBezTo>
                <a:cubicBezTo>
                  <a:pt x="259" y="26"/>
                  <a:pt x="258" y="17"/>
                  <a:pt x="258" y="17"/>
                </a:cubicBezTo>
                <a:cubicBezTo>
                  <a:pt x="258" y="16"/>
                  <a:pt x="258" y="15"/>
                  <a:pt x="258" y="15"/>
                </a:cubicBezTo>
                <a:cubicBezTo>
                  <a:pt x="256" y="8"/>
                  <a:pt x="250" y="0"/>
                  <a:pt x="241" y="0"/>
                </a:cubicBezTo>
                <a:cubicBezTo>
                  <a:pt x="237" y="0"/>
                  <a:pt x="237" y="0"/>
                  <a:pt x="237" y="0"/>
                </a:cubicBezTo>
                <a:cubicBezTo>
                  <a:pt x="207" y="0"/>
                  <a:pt x="207" y="0"/>
                  <a:pt x="207" y="0"/>
                </a:cubicBezTo>
                <a:cubicBezTo>
                  <a:pt x="207" y="0"/>
                  <a:pt x="174" y="0"/>
                  <a:pt x="174" y="0"/>
                </a:cubicBezTo>
                <a:close/>
                <a:moveTo>
                  <a:pt x="241" y="27"/>
                </a:moveTo>
                <a:cubicBezTo>
                  <a:pt x="241" y="27"/>
                  <a:pt x="241" y="27"/>
                  <a:pt x="241" y="2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7" name="Freeform 604"/>
          <p:cNvSpPr>
            <a:spLocks/>
          </p:cNvSpPr>
          <p:nvPr userDrawn="1"/>
        </p:nvSpPr>
        <p:spPr bwMode="auto">
          <a:xfrm>
            <a:off x="7901822" y="3898259"/>
            <a:ext cx="320361" cy="188119"/>
          </a:xfrm>
          <a:custGeom>
            <a:avLst/>
            <a:gdLst/>
            <a:ahLst/>
            <a:cxnLst>
              <a:cxn ang="0">
                <a:pos x="0" y="146"/>
              </a:cxn>
              <a:cxn ang="0">
                <a:pos x="3" y="156"/>
              </a:cxn>
              <a:cxn ang="0">
                <a:pos x="12" y="160"/>
              </a:cxn>
              <a:cxn ang="0">
                <a:pos x="124" y="160"/>
              </a:cxn>
              <a:cxn ang="0">
                <a:pos x="137" y="147"/>
              </a:cxn>
              <a:cxn ang="0">
                <a:pos x="124" y="135"/>
              </a:cxn>
              <a:cxn ang="0">
                <a:pos x="26" y="135"/>
              </a:cxn>
              <a:cxn ang="0">
                <a:pos x="162" y="24"/>
              </a:cxn>
              <a:cxn ang="0">
                <a:pos x="300" y="163"/>
              </a:cxn>
              <a:cxn ang="0">
                <a:pos x="308" y="174"/>
              </a:cxn>
              <a:cxn ang="0">
                <a:pos x="333" y="185"/>
              </a:cxn>
              <a:cxn ang="0">
                <a:pos x="296" y="190"/>
              </a:cxn>
              <a:cxn ang="0">
                <a:pos x="296" y="190"/>
              </a:cxn>
              <a:cxn ang="0">
                <a:pos x="225" y="180"/>
              </a:cxn>
              <a:cxn ang="0">
                <a:pos x="222" y="180"/>
              </a:cxn>
              <a:cxn ang="0">
                <a:pos x="47" y="180"/>
              </a:cxn>
              <a:cxn ang="0">
                <a:pos x="35" y="192"/>
              </a:cxn>
              <a:cxn ang="0">
                <a:pos x="35" y="208"/>
              </a:cxn>
              <a:cxn ang="0">
                <a:pos x="47" y="221"/>
              </a:cxn>
              <a:cxn ang="0">
                <a:pos x="59" y="208"/>
              </a:cxn>
              <a:cxn ang="0">
                <a:pos x="59" y="204"/>
              </a:cxn>
              <a:cxn ang="0">
                <a:pos x="220" y="204"/>
              </a:cxn>
              <a:cxn ang="0">
                <a:pos x="296" y="215"/>
              </a:cxn>
              <a:cxn ang="0">
                <a:pos x="296" y="215"/>
              </a:cxn>
              <a:cxn ang="0">
                <a:pos x="372" y="198"/>
              </a:cxn>
              <a:cxn ang="0">
                <a:pos x="379" y="187"/>
              </a:cxn>
              <a:cxn ang="0">
                <a:pos x="379" y="187"/>
              </a:cxn>
              <a:cxn ang="0">
                <a:pos x="372" y="176"/>
              </a:cxn>
              <a:cxn ang="0">
                <a:pos x="324" y="155"/>
              </a:cxn>
              <a:cxn ang="0">
                <a:pos x="162" y="0"/>
              </a:cxn>
              <a:cxn ang="0">
                <a:pos x="0" y="146"/>
              </a:cxn>
            </a:cxnLst>
            <a:rect l="0" t="0" r="r" b="b"/>
            <a:pathLst>
              <a:path w="379" h="221">
                <a:moveTo>
                  <a:pt x="0" y="146"/>
                </a:moveTo>
                <a:cubicBezTo>
                  <a:pt x="0" y="150"/>
                  <a:pt x="1" y="153"/>
                  <a:pt x="3" y="156"/>
                </a:cubicBezTo>
                <a:cubicBezTo>
                  <a:pt x="5" y="158"/>
                  <a:pt x="9" y="160"/>
                  <a:pt x="12" y="160"/>
                </a:cubicBezTo>
                <a:cubicBezTo>
                  <a:pt x="124" y="160"/>
                  <a:pt x="124" y="160"/>
                  <a:pt x="124" y="160"/>
                </a:cubicBezTo>
                <a:cubicBezTo>
                  <a:pt x="131" y="160"/>
                  <a:pt x="137" y="154"/>
                  <a:pt x="137" y="147"/>
                </a:cubicBezTo>
                <a:cubicBezTo>
                  <a:pt x="137" y="141"/>
                  <a:pt x="131" y="135"/>
                  <a:pt x="124" y="135"/>
                </a:cubicBezTo>
                <a:cubicBezTo>
                  <a:pt x="124" y="135"/>
                  <a:pt x="48" y="135"/>
                  <a:pt x="26" y="135"/>
                </a:cubicBezTo>
                <a:cubicBezTo>
                  <a:pt x="39" y="71"/>
                  <a:pt x="95" y="24"/>
                  <a:pt x="162" y="24"/>
                </a:cubicBezTo>
                <a:cubicBezTo>
                  <a:pt x="238" y="24"/>
                  <a:pt x="300" y="87"/>
                  <a:pt x="300" y="163"/>
                </a:cubicBezTo>
                <a:cubicBezTo>
                  <a:pt x="300" y="168"/>
                  <a:pt x="303" y="172"/>
                  <a:pt x="308" y="174"/>
                </a:cubicBezTo>
                <a:cubicBezTo>
                  <a:pt x="308" y="174"/>
                  <a:pt x="320" y="180"/>
                  <a:pt x="333" y="185"/>
                </a:cubicBezTo>
                <a:cubicBezTo>
                  <a:pt x="322" y="188"/>
                  <a:pt x="309" y="190"/>
                  <a:pt x="296" y="190"/>
                </a:cubicBezTo>
                <a:cubicBezTo>
                  <a:pt x="296" y="190"/>
                  <a:pt x="296" y="190"/>
                  <a:pt x="296" y="190"/>
                </a:cubicBezTo>
                <a:cubicBezTo>
                  <a:pt x="263" y="190"/>
                  <a:pt x="225" y="180"/>
                  <a:pt x="225" y="180"/>
                </a:cubicBezTo>
                <a:cubicBezTo>
                  <a:pt x="224" y="180"/>
                  <a:pt x="223" y="180"/>
                  <a:pt x="222" y="180"/>
                </a:cubicBezTo>
                <a:cubicBezTo>
                  <a:pt x="47" y="180"/>
                  <a:pt x="47" y="180"/>
                  <a:pt x="47" y="180"/>
                </a:cubicBezTo>
                <a:cubicBezTo>
                  <a:pt x="40" y="180"/>
                  <a:pt x="35" y="185"/>
                  <a:pt x="35" y="192"/>
                </a:cubicBezTo>
                <a:cubicBezTo>
                  <a:pt x="35" y="208"/>
                  <a:pt x="35" y="208"/>
                  <a:pt x="35" y="208"/>
                </a:cubicBezTo>
                <a:cubicBezTo>
                  <a:pt x="35" y="215"/>
                  <a:pt x="40" y="221"/>
                  <a:pt x="47" y="221"/>
                </a:cubicBezTo>
                <a:cubicBezTo>
                  <a:pt x="54" y="221"/>
                  <a:pt x="59" y="215"/>
                  <a:pt x="59" y="208"/>
                </a:cubicBezTo>
                <a:cubicBezTo>
                  <a:pt x="59" y="208"/>
                  <a:pt x="59" y="206"/>
                  <a:pt x="59" y="204"/>
                </a:cubicBezTo>
                <a:cubicBezTo>
                  <a:pt x="80" y="204"/>
                  <a:pt x="217" y="204"/>
                  <a:pt x="220" y="204"/>
                </a:cubicBezTo>
                <a:cubicBezTo>
                  <a:pt x="227" y="206"/>
                  <a:pt x="263" y="215"/>
                  <a:pt x="296" y="215"/>
                </a:cubicBezTo>
                <a:cubicBezTo>
                  <a:pt x="296" y="215"/>
                  <a:pt x="296" y="215"/>
                  <a:pt x="296" y="215"/>
                </a:cubicBezTo>
                <a:cubicBezTo>
                  <a:pt x="333" y="215"/>
                  <a:pt x="370" y="199"/>
                  <a:pt x="372" y="198"/>
                </a:cubicBezTo>
                <a:cubicBezTo>
                  <a:pt x="376" y="196"/>
                  <a:pt x="379" y="192"/>
                  <a:pt x="379" y="187"/>
                </a:cubicBezTo>
                <a:cubicBezTo>
                  <a:pt x="379" y="187"/>
                  <a:pt x="379" y="187"/>
                  <a:pt x="379" y="187"/>
                </a:cubicBezTo>
                <a:cubicBezTo>
                  <a:pt x="379" y="182"/>
                  <a:pt x="376" y="178"/>
                  <a:pt x="372" y="176"/>
                </a:cubicBezTo>
                <a:cubicBezTo>
                  <a:pt x="372" y="176"/>
                  <a:pt x="335" y="159"/>
                  <a:pt x="324" y="155"/>
                </a:cubicBezTo>
                <a:cubicBezTo>
                  <a:pt x="320" y="69"/>
                  <a:pt x="249" y="0"/>
                  <a:pt x="162" y="0"/>
                </a:cubicBezTo>
                <a:cubicBezTo>
                  <a:pt x="78" y="0"/>
                  <a:pt x="8" y="63"/>
                  <a:pt x="0" y="14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8" name="Freeform 620"/>
          <p:cNvSpPr>
            <a:spLocks/>
          </p:cNvSpPr>
          <p:nvPr userDrawn="1"/>
        </p:nvSpPr>
        <p:spPr bwMode="auto">
          <a:xfrm>
            <a:off x="7885149" y="2330729"/>
            <a:ext cx="353707" cy="210741"/>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49" name="Freeform 656"/>
          <p:cNvSpPr>
            <a:spLocks/>
          </p:cNvSpPr>
          <p:nvPr userDrawn="1"/>
        </p:nvSpPr>
        <p:spPr bwMode="auto">
          <a:xfrm>
            <a:off x="7869666" y="1311403"/>
            <a:ext cx="384672" cy="383381"/>
          </a:xfrm>
          <a:custGeom>
            <a:avLst/>
            <a:gdLst/>
            <a:ahLst/>
            <a:cxnLst>
              <a:cxn ang="0">
                <a:pos x="227" y="1"/>
              </a:cxn>
              <a:cxn ang="0">
                <a:pos x="11" y="46"/>
              </a:cxn>
              <a:cxn ang="0">
                <a:pos x="1" y="54"/>
              </a:cxn>
              <a:cxn ang="0">
                <a:pos x="0" y="59"/>
              </a:cxn>
              <a:cxn ang="0">
                <a:pos x="2" y="66"/>
              </a:cxn>
              <a:cxn ang="0">
                <a:pos x="45" y="147"/>
              </a:cxn>
              <a:cxn ang="0">
                <a:pos x="45" y="330"/>
              </a:cxn>
              <a:cxn ang="0">
                <a:pos x="50" y="341"/>
              </a:cxn>
              <a:cxn ang="0">
                <a:pos x="186" y="450"/>
              </a:cxn>
              <a:cxn ang="0">
                <a:pos x="200" y="452"/>
              </a:cxn>
              <a:cxn ang="0">
                <a:pos x="208" y="440"/>
              </a:cxn>
              <a:cxn ang="0">
                <a:pos x="208" y="240"/>
              </a:cxn>
              <a:cxn ang="0">
                <a:pos x="250" y="194"/>
              </a:cxn>
              <a:cxn ang="0">
                <a:pos x="368" y="163"/>
              </a:cxn>
              <a:cxn ang="0">
                <a:pos x="378" y="150"/>
              </a:cxn>
              <a:cxn ang="0">
                <a:pos x="377" y="147"/>
              </a:cxn>
              <a:cxn ang="0">
                <a:pos x="361" y="137"/>
              </a:cxn>
              <a:cxn ang="0">
                <a:pos x="240" y="169"/>
              </a:cxn>
              <a:cxn ang="0">
                <a:pos x="234" y="173"/>
              </a:cxn>
              <a:cxn ang="0">
                <a:pos x="184" y="225"/>
              </a:cxn>
              <a:cxn ang="0">
                <a:pos x="181" y="235"/>
              </a:cxn>
              <a:cxn ang="0">
                <a:pos x="181" y="412"/>
              </a:cxn>
              <a:cxn ang="0">
                <a:pos x="72" y="324"/>
              </a:cxn>
              <a:cxn ang="0">
                <a:pos x="72" y="143"/>
              </a:cxn>
              <a:cxn ang="0">
                <a:pos x="70" y="137"/>
              </a:cxn>
              <a:cxn ang="0">
                <a:pos x="34" y="69"/>
              </a:cxn>
              <a:cxn ang="0">
                <a:pos x="224" y="29"/>
              </a:cxn>
              <a:cxn ang="0">
                <a:pos x="265" y="91"/>
              </a:cxn>
              <a:cxn ang="0">
                <a:pos x="273" y="97"/>
              </a:cxn>
              <a:cxn ang="0">
                <a:pos x="420" y="130"/>
              </a:cxn>
              <a:cxn ang="0">
                <a:pos x="364" y="218"/>
              </a:cxn>
              <a:cxn ang="0">
                <a:pos x="362" y="225"/>
              </a:cxn>
              <a:cxn ang="0">
                <a:pos x="361" y="372"/>
              </a:cxn>
              <a:cxn ang="0">
                <a:pos x="242" y="414"/>
              </a:cxn>
              <a:cxn ang="0">
                <a:pos x="233" y="426"/>
              </a:cxn>
              <a:cxn ang="0">
                <a:pos x="234" y="431"/>
              </a:cxn>
              <a:cxn ang="0">
                <a:pos x="251" y="439"/>
              </a:cxn>
              <a:cxn ang="0">
                <a:pos x="379" y="394"/>
              </a:cxn>
              <a:cxn ang="0">
                <a:pos x="388" y="381"/>
              </a:cxn>
              <a:cxn ang="0">
                <a:pos x="388" y="229"/>
              </a:cxn>
              <a:cxn ang="0">
                <a:pos x="452" y="129"/>
              </a:cxn>
              <a:cxn ang="0">
                <a:pos x="455" y="122"/>
              </a:cxn>
              <a:cxn ang="0">
                <a:pos x="454" y="117"/>
              </a:cxn>
              <a:cxn ang="0">
                <a:pos x="444" y="109"/>
              </a:cxn>
              <a:cxn ang="0">
                <a:pos x="284" y="72"/>
              </a:cxn>
              <a:cxn ang="0">
                <a:pos x="241" y="7"/>
              </a:cxn>
              <a:cxn ang="0">
                <a:pos x="227" y="1"/>
              </a:cxn>
            </a:cxnLst>
            <a:rect l="0" t="0" r="r" b="b"/>
            <a:pathLst>
              <a:path w="455" h="454">
                <a:moveTo>
                  <a:pt x="227" y="1"/>
                </a:moveTo>
                <a:cubicBezTo>
                  <a:pt x="11" y="46"/>
                  <a:pt x="11" y="46"/>
                  <a:pt x="11" y="46"/>
                </a:cubicBezTo>
                <a:cubicBezTo>
                  <a:pt x="7" y="47"/>
                  <a:pt x="3" y="50"/>
                  <a:pt x="1" y="54"/>
                </a:cubicBezTo>
                <a:cubicBezTo>
                  <a:pt x="1" y="55"/>
                  <a:pt x="0" y="57"/>
                  <a:pt x="0" y="59"/>
                </a:cubicBezTo>
                <a:cubicBezTo>
                  <a:pt x="0" y="61"/>
                  <a:pt x="1" y="64"/>
                  <a:pt x="2" y="66"/>
                </a:cubicBezTo>
                <a:cubicBezTo>
                  <a:pt x="2" y="66"/>
                  <a:pt x="42" y="141"/>
                  <a:pt x="45" y="147"/>
                </a:cubicBezTo>
                <a:cubicBezTo>
                  <a:pt x="45" y="153"/>
                  <a:pt x="45" y="330"/>
                  <a:pt x="45" y="330"/>
                </a:cubicBezTo>
                <a:cubicBezTo>
                  <a:pt x="45" y="334"/>
                  <a:pt x="47" y="338"/>
                  <a:pt x="50" y="341"/>
                </a:cubicBezTo>
                <a:cubicBezTo>
                  <a:pt x="186" y="450"/>
                  <a:pt x="186" y="450"/>
                  <a:pt x="186" y="450"/>
                </a:cubicBezTo>
                <a:cubicBezTo>
                  <a:pt x="190" y="454"/>
                  <a:pt x="195" y="454"/>
                  <a:pt x="200" y="452"/>
                </a:cubicBezTo>
                <a:cubicBezTo>
                  <a:pt x="205" y="450"/>
                  <a:pt x="208" y="445"/>
                  <a:pt x="208" y="440"/>
                </a:cubicBezTo>
                <a:cubicBezTo>
                  <a:pt x="208" y="440"/>
                  <a:pt x="208" y="250"/>
                  <a:pt x="208" y="240"/>
                </a:cubicBezTo>
                <a:cubicBezTo>
                  <a:pt x="213" y="234"/>
                  <a:pt x="246" y="199"/>
                  <a:pt x="250" y="194"/>
                </a:cubicBezTo>
                <a:cubicBezTo>
                  <a:pt x="257" y="192"/>
                  <a:pt x="368" y="163"/>
                  <a:pt x="368" y="163"/>
                </a:cubicBezTo>
                <a:cubicBezTo>
                  <a:pt x="374" y="161"/>
                  <a:pt x="378" y="156"/>
                  <a:pt x="378" y="150"/>
                </a:cubicBezTo>
                <a:cubicBezTo>
                  <a:pt x="378" y="149"/>
                  <a:pt x="378" y="148"/>
                  <a:pt x="377" y="147"/>
                </a:cubicBezTo>
                <a:cubicBezTo>
                  <a:pt x="375" y="139"/>
                  <a:pt x="368" y="135"/>
                  <a:pt x="361" y="137"/>
                </a:cubicBezTo>
                <a:cubicBezTo>
                  <a:pt x="240" y="169"/>
                  <a:pt x="240" y="169"/>
                  <a:pt x="240" y="169"/>
                </a:cubicBezTo>
                <a:cubicBezTo>
                  <a:pt x="238" y="170"/>
                  <a:pt x="235" y="171"/>
                  <a:pt x="234" y="173"/>
                </a:cubicBezTo>
                <a:cubicBezTo>
                  <a:pt x="184" y="225"/>
                  <a:pt x="184" y="225"/>
                  <a:pt x="184" y="225"/>
                </a:cubicBezTo>
                <a:cubicBezTo>
                  <a:pt x="182" y="228"/>
                  <a:pt x="181" y="231"/>
                  <a:pt x="181" y="235"/>
                </a:cubicBezTo>
                <a:cubicBezTo>
                  <a:pt x="181" y="235"/>
                  <a:pt x="181" y="370"/>
                  <a:pt x="181" y="412"/>
                </a:cubicBezTo>
                <a:cubicBezTo>
                  <a:pt x="151" y="388"/>
                  <a:pt x="79" y="330"/>
                  <a:pt x="72" y="324"/>
                </a:cubicBezTo>
                <a:cubicBezTo>
                  <a:pt x="72" y="312"/>
                  <a:pt x="72" y="143"/>
                  <a:pt x="72" y="143"/>
                </a:cubicBezTo>
                <a:cubicBezTo>
                  <a:pt x="72" y="141"/>
                  <a:pt x="71" y="139"/>
                  <a:pt x="70" y="137"/>
                </a:cubicBezTo>
                <a:cubicBezTo>
                  <a:pt x="70" y="137"/>
                  <a:pt x="45" y="90"/>
                  <a:pt x="34" y="69"/>
                </a:cubicBezTo>
                <a:cubicBezTo>
                  <a:pt x="62" y="63"/>
                  <a:pt x="209" y="32"/>
                  <a:pt x="224" y="29"/>
                </a:cubicBezTo>
                <a:cubicBezTo>
                  <a:pt x="232" y="41"/>
                  <a:pt x="265" y="91"/>
                  <a:pt x="265" y="91"/>
                </a:cubicBezTo>
                <a:cubicBezTo>
                  <a:pt x="267" y="94"/>
                  <a:pt x="270" y="96"/>
                  <a:pt x="273" y="97"/>
                </a:cubicBezTo>
                <a:cubicBezTo>
                  <a:pt x="273" y="97"/>
                  <a:pt x="391" y="124"/>
                  <a:pt x="420" y="130"/>
                </a:cubicBezTo>
                <a:cubicBezTo>
                  <a:pt x="405" y="153"/>
                  <a:pt x="364" y="218"/>
                  <a:pt x="364" y="218"/>
                </a:cubicBezTo>
                <a:cubicBezTo>
                  <a:pt x="362" y="220"/>
                  <a:pt x="362" y="223"/>
                  <a:pt x="362" y="225"/>
                </a:cubicBezTo>
                <a:cubicBezTo>
                  <a:pt x="362" y="225"/>
                  <a:pt x="361" y="355"/>
                  <a:pt x="361" y="372"/>
                </a:cubicBezTo>
                <a:cubicBezTo>
                  <a:pt x="346" y="377"/>
                  <a:pt x="242" y="414"/>
                  <a:pt x="242" y="414"/>
                </a:cubicBezTo>
                <a:cubicBezTo>
                  <a:pt x="236" y="416"/>
                  <a:pt x="233" y="421"/>
                  <a:pt x="233" y="426"/>
                </a:cubicBezTo>
                <a:cubicBezTo>
                  <a:pt x="233" y="428"/>
                  <a:pt x="233" y="429"/>
                  <a:pt x="234" y="431"/>
                </a:cubicBezTo>
                <a:cubicBezTo>
                  <a:pt x="236" y="438"/>
                  <a:pt x="244" y="441"/>
                  <a:pt x="251" y="439"/>
                </a:cubicBezTo>
                <a:cubicBezTo>
                  <a:pt x="379" y="394"/>
                  <a:pt x="379" y="394"/>
                  <a:pt x="379" y="394"/>
                </a:cubicBezTo>
                <a:cubicBezTo>
                  <a:pt x="384" y="392"/>
                  <a:pt x="388" y="387"/>
                  <a:pt x="388" y="381"/>
                </a:cubicBezTo>
                <a:cubicBezTo>
                  <a:pt x="388" y="381"/>
                  <a:pt x="388" y="236"/>
                  <a:pt x="388" y="229"/>
                </a:cubicBezTo>
                <a:cubicBezTo>
                  <a:pt x="392" y="223"/>
                  <a:pt x="452" y="129"/>
                  <a:pt x="452" y="129"/>
                </a:cubicBezTo>
                <a:cubicBezTo>
                  <a:pt x="454" y="127"/>
                  <a:pt x="455" y="124"/>
                  <a:pt x="455" y="122"/>
                </a:cubicBezTo>
                <a:cubicBezTo>
                  <a:pt x="455" y="120"/>
                  <a:pt x="454" y="118"/>
                  <a:pt x="454" y="117"/>
                </a:cubicBezTo>
                <a:cubicBezTo>
                  <a:pt x="452" y="113"/>
                  <a:pt x="448" y="110"/>
                  <a:pt x="444" y="109"/>
                </a:cubicBezTo>
                <a:cubicBezTo>
                  <a:pt x="444" y="109"/>
                  <a:pt x="294" y="74"/>
                  <a:pt x="284" y="72"/>
                </a:cubicBezTo>
                <a:cubicBezTo>
                  <a:pt x="279" y="64"/>
                  <a:pt x="241" y="7"/>
                  <a:pt x="241" y="7"/>
                </a:cubicBezTo>
                <a:cubicBezTo>
                  <a:pt x="238" y="3"/>
                  <a:pt x="233" y="0"/>
                  <a:pt x="227" y="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50" name="Freeform 660"/>
          <p:cNvSpPr>
            <a:spLocks/>
          </p:cNvSpPr>
          <p:nvPr userDrawn="1"/>
        </p:nvSpPr>
        <p:spPr bwMode="auto">
          <a:xfrm>
            <a:off x="7959581" y="893269"/>
            <a:ext cx="204841" cy="346472"/>
          </a:xfrm>
          <a:custGeom>
            <a:avLst/>
            <a:gdLst/>
            <a:ahLst/>
            <a:cxnLst>
              <a:cxn ang="0">
                <a:pos x="172" y="259"/>
              </a:cxn>
              <a:cxn ang="0">
                <a:pos x="172" y="291"/>
              </a:cxn>
              <a:cxn ang="0">
                <a:pos x="0" y="291"/>
              </a:cxn>
              <a:cxn ang="0">
                <a:pos x="0" y="259"/>
              </a:cxn>
              <a:cxn ang="0">
                <a:pos x="19" y="232"/>
              </a:cxn>
              <a:cxn ang="0">
                <a:pos x="153" y="232"/>
              </a:cxn>
              <a:cxn ang="0">
                <a:pos x="142" y="199"/>
              </a:cxn>
              <a:cxn ang="0">
                <a:pos x="31" y="199"/>
              </a:cxn>
              <a:cxn ang="0">
                <a:pos x="34" y="167"/>
              </a:cxn>
              <a:cxn ang="0">
                <a:pos x="139" y="167"/>
              </a:cxn>
              <a:cxn ang="0">
                <a:pos x="139" y="75"/>
              </a:cxn>
              <a:cxn ang="0">
                <a:pos x="166" y="75"/>
              </a:cxn>
              <a:cxn ang="0">
                <a:pos x="166" y="0"/>
              </a:cxn>
              <a:cxn ang="0">
                <a:pos x="132" y="0"/>
              </a:cxn>
              <a:cxn ang="0">
                <a:pos x="132" y="23"/>
              </a:cxn>
              <a:cxn ang="0">
                <a:pos x="105" y="23"/>
              </a:cxn>
              <a:cxn ang="0">
                <a:pos x="105" y="0"/>
              </a:cxn>
              <a:cxn ang="0">
                <a:pos x="68" y="0"/>
              </a:cxn>
              <a:cxn ang="0">
                <a:pos x="68" y="23"/>
              </a:cxn>
              <a:cxn ang="0">
                <a:pos x="41" y="23"/>
              </a:cxn>
              <a:cxn ang="0">
                <a:pos x="41" y="0"/>
              </a:cxn>
              <a:cxn ang="0">
                <a:pos x="7" y="0"/>
              </a:cxn>
              <a:cxn ang="0">
                <a:pos x="7" y="72"/>
              </a:cxn>
              <a:cxn ang="0">
                <a:pos x="32" y="72"/>
              </a:cxn>
              <a:cxn ang="0">
                <a:pos x="32" y="117"/>
              </a:cxn>
            </a:cxnLst>
            <a:rect l="0" t="0" r="r" b="b"/>
            <a:pathLst>
              <a:path w="172" h="291">
                <a:moveTo>
                  <a:pt x="172" y="259"/>
                </a:moveTo>
                <a:lnTo>
                  <a:pt x="172" y="291"/>
                </a:lnTo>
                <a:lnTo>
                  <a:pt x="0" y="291"/>
                </a:lnTo>
                <a:lnTo>
                  <a:pt x="0" y="259"/>
                </a:lnTo>
                <a:lnTo>
                  <a:pt x="19" y="232"/>
                </a:lnTo>
                <a:lnTo>
                  <a:pt x="153" y="232"/>
                </a:lnTo>
                <a:lnTo>
                  <a:pt x="142" y="199"/>
                </a:lnTo>
                <a:lnTo>
                  <a:pt x="31" y="199"/>
                </a:lnTo>
                <a:lnTo>
                  <a:pt x="34" y="167"/>
                </a:lnTo>
                <a:lnTo>
                  <a:pt x="139" y="167"/>
                </a:lnTo>
                <a:lnTo>
                  <a:pt x="139" y="75"/>
                </a:lnTo>
                <a:lnTo>
                  <a:pt x="166" y="75"/>
                </a:lnTo>
                <a:lnTo>
                  <a:pt x="166" y="0"/>
                </a:lnTo>
                <a:lnTo>
                  <a:pt x="132" y="0"/>
                </a:lnTo>
                <a:lnTo>
                  <a:pt x="132" y="23"/>
                </a:lnTo>
                <a:lnTo>
                  <a:pt x="105" y="23"/>
                </a:lnTo>
                <a:lnTo>
                  <a:pt x="105" y="0"/>
                </a:lnTo>
                <a:lnTo>
                  <a:pt x="68" y="0"/>
                </a:lnTo>
                <a:lnTo>
                  <a:pt x="68" y="23"/>
                </a:lnTo>
                <a:lnTo>
                  <a:pt x="41" y="23"/>
                </a:lnTo>
                <a:lnTo>
                  <a:pt x="41" y="0"/>
                </a:lnTo>
                <a:lnTo>
                  <a:pt x="7" y="0"/>
                </a:lnTo>
                <a:lnTo>
                  <a:pt x="7" y="72"/>
                </a:lnTo>
                <a:lnTo>
                  <a:pt x="32" y="72"/>
                </a:lnTo>
                <a:lnTo>
                  <a:pt x="32" y="117"/>
                </a:lnTo>
              </a:path>
            </a:pathLst>
          </a:custGeom>
          <a:noFill/>
          <a:ln w="30163" cap="rnd">
            <a:solidFill>
              <a:srgbClr val="FFFFFF"/>
            </a:solidFill>
            <a:prstDash val="solid"/>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51" name="Freeform 143"/>
          <p:cNvSpPr>
            <a:spLocks noEditPoints="1"/>
          </p:cNvSpPr>
          <p:nvPr userDrawn="1"/>
        </p:nvSpPr>
        <p:spPr bwMode="auto">
          <a:xfrm>
            <a:off x="8400397" y="3878619"/>
            <a:ext cx="221120" cy="227399"/>
          </a:xfrm>
          <a:custGeom>
            <a:avLst/>
            <a:gdLst/>
            <a:ahLst/>
            <a:cxnLst>
              <a:cxn ang="0">
                <a:pos x="88" y="9"/>
              </a:cxn>
              <a:cxn ang="0">
                <a:pos x="31" y="21"/>
              </a:cxn>
              <a:cxn ang="0">
                <a:pos x="0" y="48"/>
              </a:cxn>
              <a:cxn ang="0">
                <a:pos x="0" y="49"/>
              </a:cxn>
              <a:cxn ang="0">
                <a:pos x="74" y="85"/>
              </a:cxn>
              <a:cxn ang="0">
                <a:pos x="214" y="103"/>
              </a:cxn>
              <a:cxn ang="0">
                <a:pos x="339" y="117"/>
              </a:cxn>
              <a:cxn ang="0">
                <a:pos x="393" y="129"/>
              </a:cxn>
              <a:cxn ang="0">
                <a:pos x="335" y="143"/>
              </a:cxn>
              <a:cxn ang="0">
                <a:pos x="203" y="165"/>
              </a:cxn>
              <a:cxn ang="0">
                <a:pos x="71" y="186"/>
              </a:cxn>
              <a:cxn ang="0">
                <a:pos x="27" y="197"/>
              </a:cxn>
              <a:cxn ang="0">
                <a:pos x="2" y="221"/>
              </a:cxn>
              <a:cxn ang="0">
                <a:pos x="2" y="221"/>
              </a:cxn>
              <a:cxn ang="0">
                <a:pos x="219" y="284"/>
              </a:cxn>
              <a:cxn ang="0">
                <a:pos x="341" y="304"/>
              </a:cxn>
              <a:cxn ang="0">
                <a:pos x="390" y="316"/>
              </a:cxn>
              <a:cxn ang="0">
                <a:pos x="334" y="330"/>
              </a:cxn>
              <a:cxn ang="0">
                <a:pos x="201" y="353"/>
              </a:cxn>
              <a:cxn ang="0">
                <a:pos x="71" y="375"/>
              </a:cxn>
              <a:cxn ang="0">
                <a:pos x="27" y="386"/>
              </a:cxn>
              <a:cxn ang="0">
                <a:pos x="2" y="409"/>
              </a:cxn>
              <a:cxn ang="0">
                <a:pos x="29" y="436"/>
              </a:cxn>
              <a:cxn ang="0">
                <a:pos x="80" y="447"/>
              </a:cxn>
              <a:cxn ang="0">
                <a:pos x="227" y="455"/>
              </a:cxn>
              <a:cxn ang="0">
                <a:pos x="368" y="447"/>
              </a:cxn>
              <a:cxn ang="0">
                <a:pos x="443" y="409"/>
              </a:cxn>
              <a:cxn ang="0">
                <a:pos x="435" y="394"/>
              </a:cxn>
              <a:cxn ang="0">
                <a:pos x="326" y="369"/>
              </a:cxn>
              <a:cxn ang="0">
                <a:pos x="289" y="365"/>
              </a:cxn>
              <a:cxn ang="0">
                <a:pos x="350" y="354"/>
              </a:cxn>
              <a:cxn ang="0">
                <a:pos x="427" y="316"/>
              </a:cxn>
              <a:cxn ang="0">
                <a:pos x="356" y="280"/>
              </a:cxn>
              <a:cxn ang="0">
                <a:pos x="223" y="257"/>
              </a:cxn>
              <a:cxn ang="0">
                <a:pos x="93" y="235"/>
              </a:cxn>
              <a:cxn ang="0">
                <a:pos x="38" y="222"/>
              </a:cxn>
              <a:cxn ang="0">
                <a:pos x="87" y="210"/>
              </a:cxn>
              <a:cxn ang="0">
                <a:pos x="207" y="191"/>
              </a:cxn>
              <a:cxn ang="0">
                <a:pos x="350" y="167"/>
              </a:cxn>
              <a:cxn ang="0">
                <a:pos x="400" y="154"/>
              </a:cxn>
              <a:cxn ang="0">
                <a:pos x="427" y="128"/>
              </a:cxn>
              <a:cxn ang="0">
                <a:pos x="354" y="93"/>
              </a:cxn>
              <a:cxn ang="0">
                <a:pos x="217" y="76"/>
              </a:cxn>
              <a:cxn ang="0">
                <a:pos x="89" y="61"/>
              </a:cxn>
              <a:cxn ang="0">
                <a:pos x="33" y="49"/>
              </a:cxn>
              <a:cxn ang="0">
                <a:pos x="101" y="35"/>
              </a:cxn>
              <a:cxn ang="0">
                <a:pos x="221" y="28"/>
              </a:cxn>
              <a:cxn ang="0">
                <a:pos x="235" y="15"/>
              </a:cxn>
              <a:cxn ang="0">
                <a:pos x="222" y="2"/>
              </a:cxn>
              <a:cxn ang="0">
                <a:pos x="88" y="9"/>
              </a:cxn>
              <a:cxn ang="0">
                <a:pos x="86" y="399"/>
              </a:cxn>
              <a:cxn ang="0">
                <a:pos x="205" y="379"/>
              </a:cxn>
              <a:cxn ang="0">
                <a:pos x="210" y="378"/>
              </a:cxn>
              <a:cxn ang="0">
                <a:pos x="211" y="380"/>
              </a:cxn>
              <a:cxn ang="0">
                <a:pos x="226" y="390"/>
              </a:cxn>
              <a:cxn ang="0">
                <a:pos x="324" y="395"/>
              </a:cxn>
              <a:cxn ang="0">
                <a:pos x="409" y="410"/>
              </a:cxn>
              <a:cxn ang="0">
                <a:pos x="363" y="421"/>
              </a:cxn>
              <a:cxn ang="0">
                <a:pos x="250" y="428"/>
              </a:cxn>
              <a:cxn ang="0">
                <a:pos x="103" y="423"/>
              </a:cxn>
              <a:cxn ang="0">
                <a:pos x="38" y="411"/>
              </a:cxn>
              <a:cxn ang="0">
                <a:pos x="86" y="399"/>
              </a:cxn>
            </a:cxnLst>
            <a:rect l="0" t="0" r="r" b="b"/>
            <a:pathLst>
              <a:path w="443" h="455">
                <a:moveTo>
                  <a:pt x="88" y="9"/>
                </a:moveTo>
                <a:cubicBezTo>
                  <a:pt x="64" y="13"/>
                  <a:pt x="45" y="17"/>
                  <a:pt x="31" y="21"/>
                </a:cubicBezTo>
                <a:cubicBezTo>
                  <a:pt x="18" y="25"/>
                  <a:pt x="1" y="33"/>
                  <a:pt x="0" y="48"/>
                </a:cubicBezTo>
                <a:cubicBezTo>
                  <a:pt x="0" y="49"/>
                  <a:pt x="0" y="49"/>
                  <a:pt x="0" y="49"/>
                </a:cubicBezTo>
                <a:cubicBezTo>
                  <a:pt x="0" y="69"/>
                  <a:pt x="27" y="78"/>
                  <a:pt x="74" y="85"/>
                </a:cubicBezTo>
                <a:cubicBezTo>
                  <a:pt x="112" y="92"/>
                  <a:pt x="164" y="97"/>
                  <a:pt x="214" y="103"/>
                </a:cubicBezTo>
                <a:cubicBezTo>
                  <a:pt x="258" y="107"/>
                  <a:pt x="304" y="112"/>
                  <a:pt x="339" y="117"/>
                </a:cubicBezTo>
                <a:cubicBezTo>
                  <a:pt x="368" y="122"/>
                  <a:pt x="384" y="126"/>
                  <a:pt x="393" y="129"/>
                </a:cubicBezTo>
                <a:cubicBezTo>
                  <a:pt x="384" y="132"/>
                  <a:pt x="367" y="137"/>
                  <a:pt x="335" y="143"/>
                </a:cubicBezTo>
                <a:cubicBezTo>
                  <a:pt x="297" y="151"/>
                  <a:pt x="249" y="158"/>
                  <a:pt x="203" y="165"/>
                </a:cubicBezTo>
                <a:cubicBezTo>
                  <a:pt x="153" y="172"/>
                  <a:pt x="107" y="179"/>
                  <a:pt x="71" y="186"/>
                </a:cubicBezTo>
                <a:cubicBezTo>
                  <a:pt x="52" y="190"/>
                  <a:pt x="37" y="194"/>
                  <a:pt x="27" y="197"/>
                </a:cubicBezTo>
                <a:cubicBezTo>
                  <a:pt x="19" y="200"/>
                  <a:pt x="2" y="206"/>
                  <a:pt x="2" y="221"/>
                </a:cubicBezTo>
                <a:cubicBezTo>
                  <a:pt x="2" y="221"/>
                  <a:pt x="2" y="221"/>
                  <a:pt x="2" y="221"/>
                </a:cubicBezTo>
                <a:cubicBezTo>
                  <a:pt x="2" y="247"/>
                  <a:pt x="46" y="257"/>
                  <a:pt x="219" y="284"/>
                </a:cubicBezTo>
                <a:cubicBezTo>
                  <a:pt x="262" y="290"/>
                  <a:pt x="306" y="297"/>
                  <a:pt x="341" y="304"/>
                </a:cubicBezTo>
                <a:cubicBezTo>
                  <a:pt x="366" y="309"/>
                  <a:pt x="381" y="313"/>
                  <a:pt x="390" y="316"/>
                </a:cubicBezTo>
                <a:cubicBezTo>
                  <a:pt x="381" y="320"/>
                  <a:pt x="364" y="324"/>
                  <a:pt x="334" y="330"/>
                </a:cubicBezTo>
                <a:cubicBezTo>
                  <a:pt x="296" y="338"/>
                  <a:pt x="248" y="345"/>
                  <a:pt x="201" y="353"/>
                </a:cubicBezTo>
                <a:cubicBezTo>
                  <a:pt x="152" y="361"/>
                  <a:pt x="106" y="368"/>
                  <a:pt x="71" y="375"/>
                </a:cubicBezTo>
                <a:cubicBezTo>
                  <a:pt x="51" y="379"/>
                  <a:pt x="37" y="383"/>
                  <a:pt x="27" y="386"/>
                </a:cubicBezTo>
                <a:cubicBezTo>
                  <a:pt x="19" y="389"/>
                  <a:pt x="2" y="395"/>
                  <a:pt x="2" y="409"/>
                </a:cubicBezTo>
                <a:cubicBezTo>
                  <a:pt x="2" y="426"/>
                  <a:pt x="22" y="433"/>
                  <a:pt x="29" y="436"/>
                </a:cubicBezTo>
                <a:cubicBezTo>
                  <a:pt x="41" y="440"/>
                  <a:pt x="58" y="444"/>
                  <a:pt x="80" y="447"/>
                </a:cubicBezTo>
                <a:cubicBezTo>
                  <a:pt x="119" y="452"/>
                  <a:pt x="171" y="455"/>
                  <a:pt x="227" y="455"/>
                </a:cubicBezTo>
                <a:cubicBezTo>
                  <a:pt x="281" y="455"/>
                  <a:pt x="331" y="452"/>
                  <a:pt x="368" y="447"/>
                </a:cubicBezTo>
                <a:cubicBezTo>
                  <a:pt x="421" y="439"/>
                  <a:pt x="443" y="428"/>
                  <a:pt x="443" y="409"/>
                </a:cubicBezTo>
                <a:cubicBezTo>
                  <a:pt x="443" y="405"/>
                  <a:pt x="442" y="399"/>
                  <a:pt x="435" y="394"/>
                </a:cubicBezTo>
                <a:cubicBezTo>
                  <a:pt x="423" y="384"/>
                  <a:pt x="386" y="375"/>
                  <a:pt x="326" y="369"/>
                </a:cubicBezTo>
                <a:cubicBezTo>
                  <a:pt x="314" y="368"/>
                  <a:pt x="302" y="366"/>
                  <a:pt x="289" y="365"/>
                </a:cubicBezTo>
                <a:cubicBezTo>
                  <a:pt x="311" y="362"/>
                  <a:pt x="332" y="358"/>
                  <a:pt x="350" y="354"/>
                </a:cubicBezTo>
                <a:cubicBezTo>
                  <a:pt x="408" y="342"/>
                  <a:pt x="427" y="333"/>
                  <a:pt x="427" y="316"/>
                </a:cubicBezTo>
                <a:cubicBezTo>
                  <a:pt x="427" y="300"/>
                  <a:pt x="410" y="291"/>
                  <a:pt x="356" y="280"/>
                </a:cubicBezTo>
                <a:cubicBezTo>
                  <a:pt x="320" y="272"/>
                  <a:pt x="271" y="265"/>
                  <a:pt x="223" y="257"/>
                </a:cubicBezTo>
                <a:cubicBezTo>
                  <a:pt x="177" y="250"/>
                  <a:pt x="130" y="243"/>
                  <a:pt x="93" y="235"/>
                </a:cubicBezTo>
                <a:cubicBezTo>
                  <a:pt x="63" y="230"/>
                  <a:pt x="47" y="225"/>
                  <a:pt x="38" y="222"/>
                </a:cubicBezTo>
                <a:cubicBezTo>
                  <a:pt x="47" y="219"/>
                  <a:pt x="61" y="215"/>
                  <a:pt x="87" y="210"/>
                </a:cubicBezTo>
                <a:cubicBezTo>
                  <a:pt x="120" y="204"/>
                  <a:pt x="162" y="197"/>
                  <a:pt x="207" y="191"/>
                </a:cubicBezTo>
                <a:cubicBezTo>
                  <a:pt x="258" y="183"/>
                  <a:pt x="311" y="176"/>
                  <a:pt x="350" y="167"/>
                </a:cubicBezTo>
                <a:cubicBezTo>
                  <a:pt x="372" y="163"/>
                  <a:pt x="389" y="159"/>
                  <a:pt x="400" y="154"/>
                </a:cubicBezTo>
                <a:cubicBezTo>
                  <a:pt x="408" y="151"/>
                  <a:pt x="427" y="144"/>
                  <a:pt x="427" y="128"/>
                </a:cubicBezTo>
                <a:cubicBezTo>
                  <a:pt x="427" y="109"/>
                  <a:pt x="400" y="100"/>
                  <a:pt x="354" y="93"/>
                </a:cubicBezTo>
                <a:cubicBezTo>
                  <a:pt x="317" y="87"/>
                  <a:pt x="266" y="81"/>
                  <a:pt x="217" y="76"/>
                </a:cubicBezTo>
                <a:cubicBezTo>
                  <a:pt x="172" y="71"/>
                  <a:pt x="126" y="66"/>
                  <a:pt x="89" y="61"/>
                </a:cubicBezTo>
                <a:cubicBezTo>
                  <a:pt x="58" y="56"/>
                  <a:pt x="41" y="52"/>
                  <a:pt x="33" y="49"/>
                </a:cubicBezTo>
                <a:cubicBezTo>
                  <a:pt x="43" y="45"/>
                  <a:pt x="64" y="39"/>
                  <a:pt x="101" y="35"/>
                </a:cubicBezTo>
                <a:cubicBezTo>
                  <a:pt x="140" y="30"/>
                  <a:pt x="186" y="27"/>
                  <a:pt x="221" y="28"/>
                </a:cubicBezTo>
                <a:cubicBezTo>
                  <a:pt x="228" y="29"/>
                  <a:pt x="234" y="23"/>
                  <a:pt x="235" y="15"/>
                </a:cubicBezTo>
                <a:cubicBezTo>
                  <a:pt x="235" y="8"/>
                  <a:pt x="229" y="2"/>
                  <a:pt x="222" y="2"/>
                </a:cubicBezTo>
                <a:cubicBezTo>
                  <a:pt x="183" y="0"/>
                  <a:pt x="130" y="3"/>
                  <a:pt x="88" y="9"/>
                </a:cubicBezTo>
                <a:close/>
                <a:moveTo>
                  <a:pt x="86" y="399"/>
                </a:moveTo>
                <a:cubicBezTo>
                  <a:pt x="120" y="393"/>
                  <a:pt x="161" y="386"/>
                  <a:pt x="205" y="379"/>
                </a:cubicBezTo>
                <a:cubicBezTo>
                  <a:pt x="207" y="379"/>
                  <a:pt x="209" y="379"/>
                  <a:pt x="210" y="378"/>
                </a:cubicBezTo>
                <a:cubicBezTo>
                  <a:pt x="210" y="379"/>
                  <a:pt x="210" y="379"/>
                  <a:pt x="211" y="380"/>
                </a:cubicBezTo>
                <a:cubicBezTo>
                  <a:pt x="212" y="387"/>
                  <a:pt x="219" y="392"/>
                  <a:pt x="226" y="390"/>
                </a:cubicBezTo>
                <a:cubicBezTo>
                  <a:pt x="234" y="389"/>
                  <a:pt x="274" y="390"/>
                  <a:pt x="324" y="395"/>
                </a:cubicBezTo>
                <a:cubicBezTo>
                  <a:pt x="370" y="400"/>
                  <a:pt x="396" y="406"/>
                  <a:pt x="409" y="410"/>
                </a:cubicBezTo>
                <a:cubicBezTo>
                  <a:pt x="402" y="413"/>
                  <a:pt x="388" y="417"/>
                  <a:pt x="363" y="421"/>
                </a:cubicBezTo>
                <a:cubicBezTo>
                  <a:pt x="333" y="425"/>
                  <a:pt x="294" y="428"/>
                  <a:pt x="250" y="428"/>
                </a:cubicBezTo>
                <a:cubicBezTo>
                  <a:pt x="198" y="429"/>
                  <a:pt x="145" y="427"/>
                  <a:pt x="103" y="423"/>
                </a:cubicBezTo>
                <a:cubicBezTo>
                  <a:pt x="67" y="419"/>
                  <a:pt x="48" y="414"/>
                  <a:pt x="38" y="411"/>
                </a:cubicBezTo>
                <a:cubicBezTo>
                  <a:pt x="47" y="408"/>
                  <a:pt x="61" y="404"/>
                  <a:pt x="86" y="399"/>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52" name="Freeform 600"/>
          <p:cNvSpPr>
            <a:spLocks/>
          </p:cNvSpPr>
          <p:nvPr userDrawn="1"/>
        </p:nvSpPr>
        <p:spPr bwMode="auto">
          <a:xfrm>
            <a:off x="8318622" y="2862007"/>
            <a:ext cx="384672" cy="180975"/>
          </a:xfrm>
          <a:custGeom>
            <a:avLst/>
            <a:gdLst/>
            <a:ahLst/>
            <a:cxnLst>
              <a:cxn ang="0">
                <a:pos x="228" y="22"/>
              </a:cxn>
              <a:cxn ang="0">
                <a:pos x="169" y="6"/>
              </a:cxn>
              <a:cxn ang="0">
                <a:pos x="12" y="47"/>
              </a:cxn>
              <a:cxn ang="0">
                <a:pos x="2" y="63"/>
              </a:cxn>
              <a:cxn ang="0">
                <a:pos x="18" y="72"/>
              </a:cxn>
              <a:cxn ang="0">
                <a:pos x="176" y="32"/>
              </a:cxn>
              <a:cxn ang="0">
                <a:pos x="219" y="49"/>
              </a:cxn>
              <a:cxn ang="0">
                <a:pos x="235" y="49"/>
              </a:cxn>
              <a:cxn ang="0">
                <a:pos x="279" y="32"/>
              </a:cxn>
              <a:cxn ang="0">
                <a:pos x="416" y="67"/>
              </a:cxn>
              <a:cxn ang="0">
                <a:pos x="222" y="183"/>
              </a:cxn>
              <a:cxn ang="0">
                <a:pos x="90" y="115"/>
              </a:cxn>
              <a:cxn ang="0">
                <a:pos x="361" y="105"/>
              </a:cxn>
              <a:cxn ang="0">
                <a:pos x="367" y="87"/>
              </a:cxn>
              <a:cxn ang="0">
                <a:pos x="350" y="80"/>
              </a:cxn>
              <a:cxn ang="0">
                <a:pos x="59" y="81"/>
              </a:cxn>
              <a:cxn ang="0">
                <a:pos x="44" y="86"/>
              </a:cxn>
              <a:cxn ang="0">
                <a:pos x="44" y="102"/>
              </a:cxn>
              <a:cxn ang="0">
                <a:pos x="221" y="210"/>
              </a:cxn>
              <a:cxn ang="0">
                <a:pos x="451" y="66"/>
              </a:cxn>
              <a:cxn ang="0">
                <a:pos x="452" y="54"/>
              </a:cxn>
              <a:cxn ang="0">
                <a:pos x="443" y="45"/>
              </a:cxn>
              <a:cxn ang="0">
                <a:pos x="286" y="6"/>
              </a:cxn>
              <a:cxn ang="0">
                <a:pos x="228" y="22"/>
              </a:cxn>
            </a:cxnLst>
            <a:rect l="0" t="0" r="r" b="b"/>
            <a:pathLst>
              <a:path w="454" h="214">
                <a:moveTo>
                  <a:pt x="228" y="22"/>
                </a:moveTo>
                <a:cubicBezTo>
                  <a:pt x="215" y="14"/>
                  <a:pt x="191" y="1"/>
                  <a:pt x="169" y="6"/>
                </a:cubicBezTo>
                <a:cubicBezTo>
                  <a:pt x="151" y="11"/>
                  <a:pt x="13" y="46"/>
                  <a:pt x="12" y="47"/>
                </a:cubicBezTo>
                <a:cubicBezTo>
                  <a:pt x="4" y="48"/>
                  <a:pt x="0" y="56"/>
                  <a:pt x="2" y="63"/>
                </a:cubicBezTo>
                <a:cubicBezTo>
                  <a:pt x="4" y="70"/>
                  <a:pt x="11" y="74"/>
                  <a:pt x="18" y="72"/>
                </a:cubicBezTo>
                <a:cubicBezTo>
                  <a:pt x="20" y="72"/>
                  <a:pt x="157" y="37"/>
                  <a:pt x="176" y="32"/>
                </a:cubicBezTo>
                <a:cubicBezTo>
                  <a:pt x="190" y="29"/>
                  <a:pt x="212" y="43"/>
                  <a:pt x="219" y="49"/>
                </a:cubicBezTo>
                <a:cubicBezTo>
                  <a:pt x="224" y="53"/>
                  <a:pt x="230" y="53"/>
                  <a:pt x="235" y="49"/>
                </a:cubicBezTo>
                <a:cubicBezTo>
                  <a:pt x="247" y="40"/>
                  <a:pt x="269" y="29"/>
                  <a:pt x="279" y="32"/>
                </a:cubicBezTo>
                <a:cubicBezTo>
                  <a:pt x="308" y="41"/>
                  <a:pt x="381" y="58"/>
                  <a:pt x="416" y="67"/>
                </a:cubicBezTo>
                <a:cubicBezTo>
                  <a:pt x="386" y="102"/>
                  <a:pt x="306" y="186"/>
                  <a:pt x="222" y="183"/>
                </a:cubicBezTo>
                <a:cubicBezTo>
                  <a:pt x="163" y="181"/>
                  <a:pt x="117" y="143"/>
                  <a:pt x="90" y="115"/>
                </a:cubicBezTo>
                <a:cubicBezTo>
                  <a:pt x="152" y="127"/>
                  <a:pt x="274" y="143"/>
                  <a:pt x="361" y="105"/>
                </a:cubicBezTo>
                <a:cubicBezTo>
                  <a:pt x="367" y="102"/>
                  <a:pt x="370" y="94"/>
                  <a:pt x="367" y="87"/>
                </a:cubicBezTo>
                <a:cubicBezTo>
                  <a:pt x="364" y="80"/>
                  <a:pt x="357" y="77"/>
                  <a:pt x="350" y="80"/>
                </a:cubicBezTo>
                <a:cubicBezTo>
                  <a:pt x="241" y="128"/>
                  <a:pt x="61" y="82"/>
                  <a:pt x="59" y="81"/>
                </a:cubicBezTo>
                <a:cubicBezTo>
                  <a:pt x="53" y="80"/>
                  <a:pt x="48" y="82"/>
                  <a:pt x="44" y="86"/>
                </a:cubicBezTo>
                <a:cubicBezTo>
                  <a:pt x="41" y="91"/>
                  <a:pt x="41" y="97"/>
                  <a:pt x="44" y="102"/>
                </a:cubicBezTo>
                <a:cubicBezTo>
                  <a:pt x="47" y="106"/>
                  <a:pt x="115" y="206"/>
                  <a:pt x="221" y="210"/>
                </a:cubicBezTo>
                <a:cubicBezTo>
                  <a:pt x="342" y="214"/>
                  <a:pt x="446" y="72"/>
                  <a:pt x="451" y="66"/>
                </a:cubicBezTo>
                <a:cubicBezTo>
                  <a:pt x="453" y="63"/>
                  <a:pt x="454" y="58"/>
                  <a:pt x="452" y="54"/>
                </a:cubicBezTo>
                <a:cubicBezTo>
                  <a:pt x="451" y="50"/>
                  <a:pt x="447" y="47"/>
                  <a:pt x="443" y="45"/>
                </a:cubicBezTo>
                <a:cubicBezTo>
                  <a:pt x="442" y="45"/>
                  <a:pt x="325" y="18"/>
                  <a:pt x="286" y="6"/>
                </a:cubicBezTo>
                <a:cubicBezTo>
                  <a:pt x="266" y="0"/>
                  <a:pt x="241" y="14"/>
                  <a:pt x="228" y="2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53" name="Freeform 612"/>
          <p:cNvSpPr>
            <a:spLocks/>
          </p:cNvSpPr>
          <p:nvPr userDrawn="1"/>
        </p:nvSpPr>
        <p:spPr bwMode="auto">
          <a:xfrm>
            <a:off x="8338271" y="3323250"/>
            <a:ext cx="345372" cy="345281"/>
          </a:xfrm>
          <a:custGeom>
            <a:avLst/>
            <a:gdLst/>
            <a:ahLst/>
            <a:cxnLst>
              <a:cxn ang="0">
                <a:pos x="153" y="404"/>
              </a:cxn>
              <a:cxn ang="0">
                <a:pos x="149" y="156"/>
              </a:cxn>
              <a:cxn ang="0">
                <a:pos x="175" y="156"/>
              </a:cxn>
              <a:cxn ang="0">
                <a:pos x="249" y="381"/>
              </a:cxn>
              <a:cxn ang="0">
                <a:pos x="253" y="232"/>
              </a:cxn>
              <a:cxn ang="0">
                <a:pos x="310" y="228"/>
              </a:cxn>
              <a:cxn ang="0">
                <a:pos x="323" y="242"/>
              </a:cxn>
              <a:cxn ang="0">
                <a:pos x="381" y="269"/>
              </a:cxn>
              <a:cxn ang="0">
                <a:pos x="381" y="238"/>
              </a:cxn>
              <a:cxn ang="0">
                <a:pos x="378" y="203"/>
              </a:cxn>
              <a:cxn ang="0">
                <a:pos x="351" y="173"/>
              </a:cxn>
              <a:cxn ang="0">
                <a:pos x="323" y="169"/>
              </a:cxn>
              <a:cxn ang="0">
                <a:pos x="254" y="165"/>
              </a:cxn>
              <a:cxn ang="0">
                <a:pos x="250" y="102"/>
              </a:cxn>
              <a:cxn ang="0">
                <a:pos x="212" y="98"/>
              </a:cxn>
              <a:cxn ang="0">
                <a:pos x="208" y="33"/>
              </a:cxn>
              <a:cxn ang="0">
                <a:pos x="176" y="27"/>
              </a:cxn>
              <a:cxn ang="0">
                <a:pos x="158" y="29"/>
              </a:cxn>
              <a:cxn ang="0">
                <a:pos x="124" y="69"/>
              </a:cxn>
              <a:cxn ang="0">
                <a:pos x="113" y="113"/>
              </a:cxn>
              <a:cxn ang="0">
                <a:pos x="24" y="329"/>
              </a:cxn>
              <a:cxn ang="0">
                <a:pos x="6" y="330"/>
              </a:cxn>
              <a:cxn ang="0">
                <a:pos x="5" y="311"/>
              </a:cxn>
              <a:cxn ang="0">
                <a:pos x="5" y="311"/>
              </a:cxn>
              <a:cxn ang="0">
                <a:pos x="10" y="305"/>
              </a:cxn>
              <a:cxn ang="0">
                <a:pos x="25" y="285"/>
              </a:cxn>
              <a:cxn ang="0">
                <a:pos x="82" y="135"/>
              </a:cxn>
              <a:cxn ang="0">
                <a:pos x="99" y="60"/>
              </a:cxn>
              <a:cxn ang="0">
                <a:pos x="149" y="4"/>
              </a:cxn>
              <a:cxn ang="0">
                <a:pos x="176" y="0"/>
              </a:cxn>
              <a:cxn ang="0">
                <a:pos x="235" y="24"/>
              </a:cxn>
              <a:cxn ang="0">
                <a:pos x="263" y="75"/>
              </a:cxn>
              <a:cxn ang="0">
                <a:pos x="277" y="88"/>
              </a:cxn>
              <a:cxn ang="0">
                <a:pos x="324" y="142"/>
              </a:cxn>
              <a:cxn ang="0">
                <a:pos x="360" y="148"/>
              </a:cxn>
              <a:cxn ang="0">
                <a:pos x="405" y="198"/>
              </a:cxn>
              <a:cxn ang="0">
                <a:pos x="408" y="238"/>
              </a:cxn>
              <a:cxn ang="0">
                <a:pos x="408" y="283"/>
              </a:cxn>
              <a:cxn ang="0">
                <a:pos x="395" y="296"/>
              </a:cxn>
              <a:cxn ang="0">
                <a:pos x="297" y="283"/>
              </a:cxn>
              <a:cxn ang="0">
                <a:pos x="275" y="255"/>
              </a:cxn>
              <a:cxn ang="0">
                <a:pos x="271" y="404"/>
              </a:cxn>
              <a:cxn ang="0">
                <a:pos x="162" y="408"/>
              </a:cxn>
            </a:cxnLst>
            <a:rect l="0" t="0" r="r" b="b"/>
            <a:pathLst>
              <a:path w="408" h="408">
                <a:moveTo>
                  <a:pt x="162" y="408"/>
                </a:moveTo>
                <a:cubicBezTo>
                  <a:pt x="158" y="408"/>
                  <a:pt x="155" y="406"/>
                  <a:pt x="153" y="404"/>
                </a:cubicBezTo>
                <a:cubicBezTo>
                  <a:pt x="153" y="404"/>
                  <a:pt x="153" y="404"/>
                  <a:pt x="153" y="404"/>
                </a:cubicBezTo>
                <a:cubicBezTo>
                  <a:pt x="150" y="401"/>
                  <a:pt x="149" y="398"/>
                  <a:pt x="149" y="394"/>
                </a:cubicBezTo>
                <a:cubicBezTo>
                  <a:pt x="149" y="394"/>
                  <a:pt x="149" y="394"/>
                  <a:pt x="149" y="394"/>
                </a:cubicBezTo>
                <a:cubicBezTo>
                  <a:pt x="149" y="156"/>
                  <a:pt x="149" y="156"/>
                  <a:pt x="149" y="156"/>
                </a:cubicBezTo>
                <a:cubicBezTo>
                  <a:pt x="149" y="149"/>
                  <a:pt x="155" y="143"/>
                  <a:pt x="162" y="143"/>
                </a:cubicBezTo>
                <a:cubicBezTo>
                  <a:pt x="162" y="143"/>
                  <a:pt x="162" y="143"/>
                  <a:pt x="162" y="143"/>
                </a:cubicBezTo>
                <a:cubicBezTo>
                  <a:pt x="169" y="143"/>
                  <a:pt x="175" y="149"/>
                  <a:pt x="175" y="156"/>
                </a:cubicBezTo>
                <a:cubicBezTo>
                  <a:pt x="175" y="156"/>
                  <a:pt x="175" y="156"/>
                  <a:pt x="175" y="156"/>
                </a:cubicBezTo>
                <a:cubicBezTo>
                  <a:pt x="175" y="381"/>
                  <a:pt x="175" y="381"/>
                  <a:pt x="175" y="381"/>
                </a:cubicBezTo>
                <a:cubicBezTo>
                  <a:pt x="249" y="381"/>
                  <a:pt x="249" y="381"/>
                  <a:pt x="249" y="381"/>
                </a:cubicBezTo>
                <a:cubicBezTo>
                  <a:pt x="249" y="242"/>
                  <a:pt x="249" y="242"/>
                  <a:pt x="249" y="242"/>
                </a:cubicBezTo>
                <a:cubicBezTo>
                  <a:pt x="249" y="238"/>
                  <a:pt x="250" y="235"/>
                  <a:pt x="253" y="232"/>
                </a:cubicBezTo>
                <a:cubicBezTo>
                  <a:pt x="253" y="232"/>
                  <a:pt x="253" y="232"/>
                  <a:pt x="253" y="232"/>
                </a:cubicBezTo>
                <a:cubicBezTo>
                  <a:pt x="255" y="230"/>
                  <a:pt x="258" y="228"/>
                  <a:pt x="262" y="228"/>
                </a:cubicBezTo>
                <a:cubicBezTo>
                  <a:pt x="262" y="228"/>
                  <a:pt x="262" y="228"/>
                  <a:pt x="262" y="228"/>
                </a:cubicBezTo>
                <a:cubicBezTo>
                  <a:pt x="310" y="228"/>
                  <a:pt x="310" y="228"/>
                  <a:pt x="310" y="228"/>
                </a:cubicBezTo>
                <a:cubicBezTo>
                  <a:pt x="313" y="228"/>
                  <a:pt x="317" y="230"/>
                  <a:pt x="319" y="232"/>
                </a:cubicBezTo>
                <a:cubicBezTo>
                  <a:pt x="319" y="232"/>
                  <a:pt x="319" y="232"/>
                  <a:pt x="319" y="232"/>
                </a:cubicBezTo>
                <a:cubicBezTo>
                  <a:pt x="322" y="235"/>
                  <a:pt x="323" y="238"/>
                  <a:pt x="323" y="242"/>
                </a:cubicBezTo>
                <a:cubicBezTo>
                  <a:pt x="323" y="242"/>
                  <a:pt x="323" y="242"/>
                  <a:pt x="323" y="242"/>
                </a:cubicBezTo>
                <a:cubicBezTo>
                  <a:pt x="323" y="269"/>
                  <a:pt x="323" y="269"/>
                  <a:pt x="323" y="269"/>
                </a:cubicBezTo>
                <a:cubicBezTo>
                  <a:pt x="381" y="269"/>
                  <a:pt x="381" y="269"/>
                  <a:pt x="381" y="269"/>
                </a:cubicBezTo>
                <a:cubicBezTo>
                  <a:pt x="381" y="247"/>
                  <a:pt x="381" y="247"/>
                  <a:pt x="381" y="247"/>
                </a:cubicBezTo>
                <a:cubicBezTo>
                  <a:pt x="381" y="246"/>
                  <a:pt x="381" y="246"/>
                  <a:pt x="381" y="246"/>
                </a:cubicBezTo>
                <a:cubicBezTo>
                  <a:pt x="381" y="243"/>
                  <a:pt x="381" y="241"/>
                  <a:pt x="381" y="238"/>
                </a:cubicBezTo>
                <a:cubicBezTo>
                  <a:pt x="381" y="238"/>
                  <a:pt x="381" y="238"/>
                  <a:pt x="381" y="238"/>
                </a:cubicBezTo>
                <a:cubicBezTo>
                  <a:pt x="381" y="223"/>
                  <a:pt x="380" y="212"/>
                  <a:pt x="378" y="203"/>
                </a:cubicBezTo>
                <a:cubicBezTo>
                  <a:pt x="378" y="203"/>
                  <a:pt x="378" y="203"/>
                  <a:pt x="378" y="203"/>
                </a:cubicBezTo>
                <a:cubicBezTo>
                  <a:pt x="377" y="195"/>
                  <a:pt x="374" y="190"/>
                  <a:pt x="371" y="187"/>
                </a:cubicBezTo>
                <a:cubicBezTo>
                  <a:pt x="371" y="187"/>
                  <a:pt x="371" y="187"/>
                  <a:pt x="371" y="187"/>
                </a:cubicBezTo>
                <a:cubicBezTo>
                  <a:pt x="366" y="180"/>
                  <a:pt x="359" y="176"/>
                  <a:pt x="351" y="173"/>
                </a:cubicBezTo>
                <a:cubicBezTo>
                  <a:pt x="351" y="173"/>
                  <a:pt x="351" y="173"/>
                  <a:pt x="351" y="173"/>
                </a:cubicBezTo>
                <a:cubicBezTo>
                  <a:pt x="344" y="170"/>
                  <a:pt x="334" y="169"/>
                  <a:pt x="323" y="169"/>
                </a:cubicBezTo>
                <a:cubicBezTo>
                  <a:pt x="323" y="169"/>
                  <a:pt x="323" y="169"/>
                  <a:pt x="323" y="169"/>
                </a:cubicBezTo>
                <a:cubicBezTo>
                  <a:pt x="263" y="169"/>
                  <a:pt x="263" y="169"/>
                  <a:pt x="263" y="169"/>
                </a:cubicBezTo>
                <a:cubicBezTo>
                  <a:pt x="260" y="169"/>
                  <a:pt x="256" y="167"/>
                  <a:pt x="254" y="165"/>
                </a:cubicBezTo>
                <a:cubicBezTo>
                  <a:pt x="254" y="165"/>
                  <a:pt x="254" y="165"/>
                  <a:pt x="254" y="165"/>
                </a:cubicBezTo>
                <a:cubicBezTo>
                  <a:pt x="251" y="162"/>
                  <a:pt x="250" y="159"/>
                  <a:pt x="250" y="156"/>
                </a:cubicBezTo>
                <a:cubicBezTo>
                  <a:pt x="250" y="156"/>
                  <a:pt x="250" y="156"/>
                  <a:pt x="250" y="156"/>
                </a:cubicBezTo>
                <a:cubicBezTo>
                  <a:pt x="250" y="102"/>
                  <a:pt x="250" y="102"/>
                  <a:pt x="250" y="102"/>
                </a:cubicBezTo>
                <a:cubicBezTo>
                  <a:pt x="222" y="102"/>
                  <a:pt x="222" y="102"/>
                  <a:pt x="222" y="102"/>
                </a:cubicBezTo>
                <a:cubicBezTo>
                  <a:pt x="218" y="102"/>
                  <a:pt x="215" y="100"/>
                  <a:pt x="212" y="98"/>
                </a:cubicBezTo>
                <a:cubicBezTo>
                  <a:pt x="212" y="98"/>
                  <a:pt x="212" y="98"/>
                  <a:pt x="212" y="98"/>
                </a:cubicBezTo>
                <a:cubicBezTo>
                  <a:pt x="210" y="95"/>
                  <a:pt x="208" y="92"/>
                  <a:pt x="208" y="88"/>
                </a:cubicBezTo>
                <a:cubicBezTo>
                  <a:pt x="208" y="88"/>
                  <a:pt x="208" y="88"/>
                  <a:pt x="208" y="88"/>
                </a:cubicBezTo>
                <a:cubicBezTo>
                  <a:pt x="208" y="33"/>
                  <a:pt x="208" y="33"/>
                  <a:pt x="208" y="33"/>
                </a:cubicBezTo>
                <a:cubicBezTo>
                  <a:pt x="207" y="33"/>
                  <a:pt x="205" y="32"/>
                  <a:pt x="204" y="31"/>
                </a:cubicBezTo>
                <a:cubicBezTo>
                  <a:pt x="204" y="31"/>
                  <a:pt x="204" y="31"/>
                  <a:pt x="204" y="31"/>
                </a:cubicBezTo>
                <a:cubicBezTo>
                  <a:pt x="196" y="29"/>
                  <a:pt x="186" y="27"/>
                  <a:pt x="176" y="27"/>
                </a:cubicBezTo>
                <a:cubicBezTo>
                  <a:pt x="176" y="27"/>
                  <a:pt x="176" y="27"/>
                  <a:pt x="176" y="27"/>
                </a:cubicBezTo>
                <a:cubicBezTo>
                  <a:pt x="170" y="27"/>
                  <a:pt x="164" y="27"/>
                  <a:pt x="158" y="29"/>
                </a:cubicBezTo>
                <a:cubicBezTo>
                  <a:pt x="158" y="29"/>
                  <a:pt x="158" y="29"/>
                  <a:pt x="158" y="29"/>
                </a:cubicBezTo>
                <a:cubicBezTo>
                  <a:pt x="152" y="31"/>
                  <a:pt x="146" y="35"/>
                  <a:pt x="141" y="40"/>
                </a:cubicBezTo>
                <a:cubicBezTo>
                  <a:pt x="141" y="40"/>
                  <a:pt x="141" y="40"/>
                  <a:pt x="141" y="40"/>
                </a:cubicBezTo>
                <a:cubicBezTo>
                  <a:pt x="134" y="46"/>
                  <a:pt x="128" y="56"/>
                  <a:pt x="124" y="69"/>
                </a:cubicBezTo>
                <a:cubicBezTo>
                  <a:pt x="124" y="69"/>
                  <a:pt x="124" y="69"/>
                  <a:pt x="124" y="69"/>
                </a:cubicBezTo>
                <a:cubicBezTo>
                  <a:pt x="119" y="81"/>
                  <a:pt x="116" y="97"/>
                  <a:pt x="113" y="113"/>
                </a:cubicBezTo>
                <a:cubicBezTo>
                  <a:pt x="113" y="113"/>
                  <a:pt x="113" y="113"/>
                  <a:pt x="113" y="113"/>
                </a:cubicBezTo>
                <a:cubicBezTo>
                  <a:pt x="107" y="147"/>
                  <a:pt x="102" y="186"/>
                  <a:pt x="89" y="221"/>
                </a:cubicBezTo>
                <a:cubicBezTo>
                  <a:pt x="89" y="221"/>
                  <a:pt x="89" y="221"/>
                  <a:pt x="89" y="221"/>
                </a:cubicBezTo>
                <a:cubicBezTo>
                  <a:pt x="63" y="287"/>
                  <a:pt x="25" y="329"/>
                  <a:pt x="24" y="329"/>
                </a:cubicBezTo>
                <a:cubicBezTo>
                  <a:pt x="24" y="329"/>
                  <a:pt x="24" y="329"/>
                  <a:pt x="24" y="329"/>
                </a:cubicBezTo>
                <a:cubicBezTo>
                  <a:pt x="19" y="335"/>
                  <a:pt x="11" y="335"/>
                  <a:pt x="6" y="330"/>
                </a:cubicBezTo>
                <a:cubicBezTo>
                  <a:pt x="6" y="330"/>
                  <a:pt x="6" y="330"/>
                  <a:pt x="6" y="330"/>
                </a:cubicBezTo>
                <a:cubicBezTo>
                  <a:pt x="0" y="325"/>
                  <a:pt x="0" y="317"/>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6" y="310"/>
                  <a:pt x="6" y="310"/>
                </a:cubicBezTo>
                <a:cubicBezTo>
                  <a:pt x="6" y="310"/>
                  <a:pt x="6" y="310"/>
                  <a:pt x="6" y="310"/>
                </a:cubicBezTo>
                <a:cubicBezTo>
                  <a:pt x="7" y="309"/>
                  <a:pt x="9" y="307"/>
                  <a:pt x="10" y="305"/>
                </a:cubicBezTo>
                <a:cubicBezTo>
                  <a:pt x="10" y="305"/>
                  <a:pt x="10" y="305"/>
                  <a:pt x="10" y="305"/>
                </a:cubicBezTo>
                <a:cubicBezTo>
                  <a:pt x="14" y="300"/>
                  <a:pt x="19" y="293"/>
                  <a:pt x="25" y="285"/>
                </a:cubicBezTo>
                <a:cubicBezTo>
                  <a:pt x="25" y="285"/>
                  <a:pt x="25" y="285"/>
                  <a:pt x="25" y="285"/>
                </a:cubicBezTo>
                <a:cubicBezTo>
                  <a:pt x="37" y="267"/>
                  <a:pt x="52" y="242"/>
                  <a:pt x="64" y="211"/>
                </a:cubicBezTo>
                <a:cubicBezTo>
                  <a:pt x="64" y="211"/>
                  <a:pt x="64" y="211"/>
                  <a:pt x="64" y="211"/>
                </a:cubicBezTo>
                <a:cubicBezTo>
                  <a:pt x="73" y="188"/>
                  <a:pt x="78" y="162"/>
                  <a:pt x="82" y="135"/>
                </a:cubicBezTo>
                <a:cubicBezTo>
                  <a:pt x="82" y="135"/>
                  <a:pt x="82" y="135"/>
                  <a:pt x="82" y="135"/>
                </a:cubicBezTo>
                <a:cubicBezTo>
                  <a:pt x="87" y="109"/>
                  <a:pt x="91" y="82"/>
                  <a:pt x="99" y="60"/>
                </a:cubicBezTo>
                <a:cubicBezTo>
                  <a:pt x="99" y="60"/>
                  <a:pt x="99" y="60"/>
                  <a:pt x="99" y="60"/>
                </a:cubicBezTo>
                <a:cubicBezTo>
                  <a:pt x="104" y="45"/>
                  <a:pt x="111" y="31"/>
                  <a:pt x="123" y="20"/>
                </a:cubicBezTo>
                <a:cubicBezTo>
                  <a:pt x="123" y="20"/>
                  <a:pt x="123" y="20"/>
                  <a:pt x="123" y="20"/>
                </a:cubicBezTo>
                <a:cubicBezTo>
                  <a:pt x="131" y="12"/>
                  <a:pt x="140" y="7"/>
                  <a:pt x="149" y="4"/>
                </a:cubicBezTo>
                <a:cubicBezTo>
                  <a:pt x="149" y="4"/>
                  <a:pt x="149" y="4"/>
                  <a:pt x="149" y="4"/>
                </a:cubicBezTo>
                <a:cubicBezTo>
                  <a:pt x="158" y="1"/>
                  <a:pt x="168" y="0"/>
                  <a:pt x="176" y="0"/>
                </a:cubicBezTo>
                <a:cubicBezTo>
                  <a:pt x="176" y="0"/>
                  <a:pt x="176" y="0"/>
                  <a:pt x="176" y="0"/>
                </a:cubicBezTo>
                <a:cubicBezTo>
                  <a:pt x="205" y="0"/>
                  <a:pt x="227" y="12"/>
                  <a:pt x="228" y="13"/>
                </a:cubicBezTo>
                <a:cubicBezTo>
                  <a:pt x="228" y="13"/>
                  <a:pt x="228" y="13"/>
                  <a:pt x="228" y="13"/>
                </a:cubicBezTo>
                <a:cubicBezTo>
                  <a:pt x="232" y="15"/>
                  <a:pt x="235" y="20"/>
                  <a:pt x="235" y="24"/>
                </a:cubicBezTo>
                <a:cubicBezTo>
                  <a:pt x="235" y="24"/>
                  <a:pt x="235" y="24"/>
                  <a:pt x="235" y="24"/>
                </a:cubicBezTo>
                <a:cubicBezTo>
                  <a:pt x="235" y="75"/>
                  <a:pt x="235" y="75"/>
                  <a:pt x="235" y="75"/>
                </a:cubicBezTo>
                <a:cubicBezTo>
                  <a:pt x="263" y="75"/>
                  <a:pt x="263" y="75"/>
                  <a:pt x="263" y="75"/>
                </a:cubicBezTo>
                <a:cubicBezTo>
                  <a:pt x="267" y="75"/>
                  <a:pt x="270" y="76"/>
                  <a:pt x="273" y="79"/>
                </a:cubicBezTo>
                <a:cubicBezTo>
                  <a:pt x="273" y="79"/>
                  <a:pt x="273" y="79"/>
                  <a:pt x="273" y="79"/>
                </a:cubicBezTo>
                <a:cubicBezTo>
                  <a:pt x="275" y="82"/>
                  <a:pt x="277" y="85"/>
                  <a:pt x="277" y="88"/>
                </a:cubicBezTo>
                <a:cubicBezTo>
                  <a:pt x="277" y="88"/>
                  <a:pt x="277" y="88"/>
                  <a:pt x="277" y="88"/>
                </a:cubicBezTo>
                <a:cubicBezTo>
                  <a:pt x="277" y="142"/>
                  <a:pt x="277" y="142"/>
                  <a:pt x="277" y="142"/>
                </a:cubicBezTo>
                <a:cubicBezTo>
                  <a:pt x="324" y="142"/>
                  <a:pt x="324" y="142"/>
                  <a:pt x="324" y="142"/>
                </a:cubicBezTo>
                <a:cubicBezTo>
                  <a:pt x="324" y="142"/>
                  <a:pt x="324" y="142"/>
                  <a:pt x="324" y="142"/>
                </a:cubicBezTo>
                <a:cubicBezTo>
                  <a:pt x="336" y="142"/>
                  <a:pt x="349" y="144"/>
                  <a:pt x="360" y="148"/>
                </a:cubicBezTo>
                <a:cubicBezTo>
                  <a:pt x="360" y="148"/>
                  <a:pt x="360" y="148"/>
                  <a:pt x="360" y="148"/>
                </a:cubicBezTo>
                <a:cubicBezTo>
                  <a:pt x="372" y="152"/>
                  <a:pt x="383" y="159"/>
                  <a:pt x="391" y="169"/>
                </a:cubicBezTo>
                <a:cubicBezTo>
                  <a:pt x="391" y="169"/>
                  <a:pt x="391" y="169"/>
                  <a:pt x="391" y="169"/>
                </a:cubicBezTo>
                <a:cubicBezTo>
                  <a:pt x="398" y="177"/>
                  <a:pt x="402" y="186"/>
                  <a:pt x="405" y="198"/>
                </a:cubicBezTo>
                <a:cubicBezTo>
                  <a:pt x="405" y="198"/>
                  <a:pt x="405" y="198"/>
                  <a:pt x="405" y="198"/>
                </a:cubicBezTo>
                <a:cubicBezTo>
                  <a:pt x="407" y="209"/>
                  <a:pt x="408" y="222"/>
                  <a:pt x="408" y="238"/>
                </a:cubicBezTo>
                <a:cubicBezTo>
                  <a:pt x="408" y="238"/>
                  <a:pt x="408" y="238"/>
                  <a:pt x="408" y="238"/>
                </a:cubicBezTo>
                <a:cubicBezTo>
                  <a:pt x="408" y="241"/>
                  <a:pt x="408" y="244"/>
                  <a:pt x="408" y="246"/>
                </a:cubicBezTo>
                <a:cubicBezTo>
                  <a:pt x="408" y="246"/>
                  <a:pt x="408" y="246"/>
                  <a:pt x="408" y="246"/>
                </a:cubicBezTo>
                <a:cubicBezTo>
                  <a:pt x="408" y="283"/>
                  <a:pt x="408" y="283"/>
                  <a:pt x="408" y="283"/>
                </a:cubicBezTo>
                <a:cubicBezTo>
                  <a:pt x="408" y="286"/>
                  <a:pt x="407" y="290"/>
                  <a:pt x="404" y="292"/>
                </a:cubicBezTo>
                <a:cubicBezTo>
                  <a:pt x="404" y="292"/>
                  <a:pt x="404" y="292"/>
                  <a:pt x="404" y="292"/>
                </a:cubicBezTo>
                <a:cubicBezTo>
                  <a:pt x="402" y="295"/>
                  <a:pt x="398" y="296"/>
                  <a:pt x="395" y="296"/>
                </a:cubicBezTo>
                <a:cubicBezTo>
                  <a:pt x="395" y="296"/>
                  <a:pt x="395" y="296"/>
                  <a:pt x="395" y="296"/>
                </a:cubicBezTo>
                <a:cubicBezTo>
                  <a:pt x="310" y="296"/>
                  <a:pt x="310" y="296"/>
                  <a:pt x="310" y="296"/>
                </a:cubicBezTo>
                <a:cubicBezTo>
                  <a:pt x="303" y="296"/>
                  <a:pt x="297" y="290"/>
                  <a:pt x="297" y="283"/>
                </a:cubicBezTo>
                <a:cubicBezTo>
                  <a:pt x="297" y="283"/>
                  <a:pt x="297" y="283"/>
                  <a:pt x="297" y="283"/>
                </a:cubicBezTo>
                <a:cubicBezTo>
                  <a:pt x="297" y="255"/>
                  <a:pt x="297" y="255"/>
                  <a:pt x="297" y="255"/>
                </a:cubicBezTo>
                <a:cubicBezTo>
                  <a:pt x="275" y="255"/>
                  <a:pt x="275" y="255"/>
                  <a:pt x="275" y="255"/>
                </a:cubicBezTo>
                <a:cubicBezTo>
                  <a:pt x="275" y="394"/>
                  <a:pt x="275" y="394"/>
                  <a:pt x="275" y="394"/>
                </a:cubicBezTo>
                <a:cubicBezTo>
                  <a:pt x="275" y="398"/>
                  <a:pt x="274" y="401"/>
                  <a:pt x="271" y="404"/>
                </a:cubicBezTo>
                <a:cubicBezTo>
                  <a:pt x="271" y="404"/>
                  <a:pt x="271" y="404"/>
                  <a:pt x="271" y="404"/>
                </a:cubicBezTo>
                <a:cubicBezTo>
                  <a:pt x="269" y="406"/>
                  <a:pt x="266" y="408"/>
                  <a:pt x="262" y="408"/>
                </a:cubicBezTo>
                <a:cubicBezTo>
                  <a:pt x="262" y="408"/>
                  <a:pt x="262" y="408"/>
                  <a:pt x="262" y="408"/>
                </a:cubicBezTo>
                <a:cubicBezTo>
                  <a:pt x="162" y="408"/>
                  <a:pt x="162" y="408"/>
                  <a:pt x="162" y="40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54" name="Freeform 616"/>
          <p:cNvSpPr>
            <a:spLocks/>
          </p:cNvSpPr>
          <p:nvPr userDrawn="1"/>
        </p:nvSpPr>
        <p:spPr bwMode="auto">
          <a:xfrm>
            <a:off x="8324576" y="2282509"/>
            <a:ext cx="372763" cy="307181"/>
          </a:xfrm>
          <a:custGeom>
            <a:avLst/>
            <a:gdLst/>
            <a:ahLst/>
            <a:cxnLst>
              <a:cxn ang="0">
                <a:pos x="439" y="11"/>
              </a:cxn>
              <a:cxn ang="0">
                <a:pos x="318" y="78"/>
              </a:cxn>
              <a:cxn ang="0">
                <a:pos x="230" y="141"/>
              </a:cxn>
              <a:cxn ang="0">
                <a:pos x="191" y="159"/>
              </a:cxn>
              <a:cxn ang="0">
                <a:pos x="162" y="198"/>
              </a:cxn>
              <a:cxn ang="0">
                <a:pos x="248" y="168"/>
              </a:cxn>
              <a:cxn ang="0">
                <a:pos x="361" y="95"/>
              </a:cxn>
              <a:cxn ang="0">
                <a:pos x="376" y="202"/>
              </a:cxn>
              <a:cxn ang="0">
                <a:pos x="29" y="214"/>
              </a:cxn>
              <a:cxn ang="0">
                <a:pos x="88" y="178"/>
              </a:cxn>
              <a:cxn ang="0">
                <a:pos x="63" y="129"/>
              </a:cxn>
              <a:cxn ang="0">
                <a:pos x="89" y="56"/>
              </a:cxn>
              <a:cxn ang="0">
                <a:pos x="301" y="35"/>
              </a:cxn>
            </a:cxnLst>
            <a:rect l="0" t="0" r="r" b="b"/>
            <a:pathLst>
              <a:path w="439" h="363">
                <a:moveTo>
                  <a:pt x="439" y="11"/>
                </a:moveTo>
                <a:cubicBezTo>
                  <a:pt x="439" y="11"/>
                  <a:pt x="372" y="42"/>
                  <a:pt x="318" y="78"/>
                </a:cubicBezTo>
                <a:cubicBezTo>
                  <a:pt x="276" y="106"/>
                  <a:pt x="239" y="135"/>
                  <a:pt x="230" y="141"/>
                </a:cubicBezTo>
                <a:cubicBezTo>
                  <a:pt x="221" y="144"/>
                  <a:pt x="205" y="145"/>
                  <a:pt x="191" y="159"/>
                </a:cubicBezTo>
                <a:cubicBezTo>
                  <a:pt x="181" y="169"/>
                  <a:pt x="176" y="191"/>
                  <a:pt x="162" y="198"/>
                </a:cubicBezTo>
                <a:cubicBezTo>
                  <a:pt x="208" y="217"/>
                  <a:pt x="241" y="170"/>
                  <a:pt x="248" y="168"/>
                </a:cubicBezTo>
                <a:cubicBezTo>
                  <a:pt x="255" y="165"/>
                  <a:pt x="358" y="97"/>
                  <a:pt x="361" y="95"/>
                </a:cubicBezTo>
                <a:cubicBezTo>
                  <a:pt x="409" y="136"/>
                  <a:pt x="376" y="202"/>
                  <a:pt x="376" y="202"/>
                </a:cubicBezTo>
                <a:cubicBezTo>
                  <a:pt x="313" y="330"/>
                  <a:pt x="0" y="363"/>
                  <a:pt x="29" y="214"/>
                </a:cubicBezTo>
                <a:cubicBezTo>
                  <a:pt x="35" y="194"/>
                  <a:pt x="56" y="182"/>
                  <a:pt x="88" y="178"/>
                </a:cubicBezTo>
                <a:cubicBezTo>
                  <a:pt x="121" y="174"/>
                  <a:pt x="125" y="131"/>
                  <a:pt x="63" y="129"/>
                </a:cubicBezTo>
                <a:cubicBezTo>
                  <a:pt x="22" y="128"/>
                  <a:pt x="68" y="77"/>
                  <a:pt x="89" y="56"/>
                </a:cubicBezTo>
                <a:cubicBezTo>
                  <a:pt x="135" y="11"/>
                  <a:pt x="214" y="0"/>
                  <a:pt x="301" y="35"/>
                </a:cubicBezTo>
              </a:path>
            </a:pathLst>
          </a:custGeom>
          <a:noFill/>
          <a:ln w="30163" cap="rnd">
            <a:solidFill>
              <a:srgbClr val="FFFFFF"/>
            </a:solidFill>
            <a:prstDash val="solid"/>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55" name="Freeform 624"/>
          <p:cNvSpPr>
            <a:spLocks/>
          </p:cNvSpPr>
          <p:nvPr userDrawn="1"/>
        </p:nvSpPr>
        <p:spPr bwMode="auto">
          <a:xfrm>
            <a:off x="8338867" y="1805746"/>
            <a:ext cx="344181" cy="351235"/>
          </a:xfrm>
          <a:custGeom>
            <a:avLst/>
            <a:gdLst/>
            <a:ahLst/>
            <a:cxnLst>
              <a:cxn ang="0">
                <a:pos x="198" y="5"/>
              </a:cxn>
              <a:cxn ang="0">
                <a:pos x="186" y="41"/>
              </a:cxn>
              <a:cxn ang="0">
                <a:pos x="145" y="74"/>
              </a:cxn>
              <a:cxn ang="0">
                <a:pos x="112" y="60"/>
              </a:cxn>
              <a:cxn ang="0">
                <a:pos x="80" y="70"/>
              </a:cxn>
              <a:cxn ang="0">
                <a:pos x="79" y="108"/>
              </a:cxn>
              <a:cxn ang="0">
                <a:pos x="61" y="93"/>
              </a:cxn>
              <a:cxn ang="0">
                <a:pos x="1" y="110"/>
              </a:cxn>
              <a:cxn ang="0">
                <a:pos x="22" y="165"/>
              </a:cxn>
              <a:cxn ang="0">
                <a:pos x="96" y="286"/>
              </a:cxn>
              <a:cxn ang="0">
                <a:pos x="79" y="344"/>
              </a:cxn>
              <a:cxn ang="0">
                <a:pos x="247" y="406"/>
              </a:cxn>
              <a:cxn ang="0">
                <a:pos x="258" y="390"/>
              </a:cxn>
              <a:cxn ang="0">
                <a:pos x="284" y="355"/>
              </a:cxn>
              <a:cxn ang="0">
                <a:pos x="355" y="372"/>
              </a:cxn>
              <a:cxn ang="0">
                <a:pos x="400" y="318"/>
              </a:cxn>
              <a:cxn ang="0">
                <a:pos x="363" y="228"/>
              </a:cxn>
              <a:cxn ang="0">
                <a:pos x="345" y="259"/>
              </a:cxn>
              <a:cxn ang="0">
                <a:pos x="346" y="349"/>
              </a:cxn>
              <a:cxn ang="0">
                <a:pos x="282" y="330"/>
              </a:cxn>
              <a:cxn ang="0">
                <a:pos x="232" y="380"/>
              </a:cxn>
              <a:cxn ang="0">
                <a:pos x="105" y="348"/>
              </a:cxn>
              <a:cxn ang="0">
                <a:pos x="123" y="263"/>
              </a:cxn>
              <a:cxn ang="0">
                <a:pos x="28" y="141"/>
              </a:cxn>
              <a:cxn ang="0">
                <a:pos x="56" y="119"/>
              </a:cxn>
              <a:cxn ang="0">
                <a:pos x="80" y="133"/>
              </a:cxn>
              <a:cxn ang="0">
                <a:pos x="123" y="117"/>
              </a:cxn>
              <a:cxn ang="0">
                <a:pos x="119" y="105"/>
              </a:cxn>
              <a:cxn ang="0">
                <a:pos x="128" y="94"/>
              </a:cxn>
              <a:cxn ang="0">
                <a:pos x="167" y="87"/>
              </a:cxn>
              <a:cxn ang="0">
                <a:pos x="211" y="42"/>
              </a:cxn>
              <a:cxn ang="0">
                <a:pos x="211" y="32"/>
              </a:cxn>
              <a:cxn ang="0">
                <a:pos x="221" y="25"/>
              </a:cxn>
              <a:cxn ang="0">
                <a:pos x="368" y="157"/>
              </a:cxn>
              <a:cxn ang="0">
                <a:pos x="320" y="228"/>
              </a:cxn>
              <a:cxn ang="0">
                <a:pos x="333" y="241"/>
              </a:cxn>
              <a:cxn ang="0">
                <a:pos x="386" y="178"/>
              </a:cxn>
              <a:cxn ang="0">
                <a:pos x="403" y="103"/>
              </a:cxn>
              <a:cxn ang="0">
                <a:pos x="393" y="87"/>
              </a:cxn>
              <a:cxn ang="0">
                <a:pos x="225" y="0"/>
              </a:cxn>
            </a:cxnLst>
            <a:rect l="0" t="0" r="r" b="b"/>
            <a:pathLst>
              <a:path w="406" h="414">
                <a:moveTo>
                  <a:pt x="225" y="0"/>
                </a:moveTo>
                <a:cubicBezTo>
                  <a:pt x="222" y="0"/>
                  <a:pt x="207" y="1"/>
                  <a:pt x="198" y="5"/>
                </a:cubicBezTo>
                <a:cubicBezTo>
                  <a:pt x="184" y="10"/>
                  <a:pt x="185" y="24"/>
                  <a:pt x="186" y="33"/>
                </a:cubicBezTo>
                <a:cubicBezTo>
                  <a:pt x="186" y="36"/>
                  <a:pt x="186" y="38"/>
                  <a:pt x="186" y="41"/>
                </a:cubicBezTo>
                <a:cubicBezTo>
                  <a:pt x="185" y="44"/>
                  <a:pt x="179" y="52"/>
                  <a:pt x="172" y="52"/>
                </a:cubicBezTo>
                <a:cubicBezTo>
                  <a:pt x="156" y="51"/>
                  <a:pt x="149" y="65"/>
                  <a:pt x="145" y="74"/>
                </a:cubicBezTo>
                <a:cubicBezTo>
                  <a:pt x="143" y="73"/>
                  <a:pt x="141" y="72"/>
                  <a:pt x="138" y="71"/>
                </a:cubicBezTo>
                <a:cubicBezTo>
                  <a:pt x="130" y="68"/>
                  <a:pt x="120" y="63"/>
                  <a:pt x="112" y="60"/>
                </a:cubicBezTo>
                <a:cubicBezTo>
                  <a:pt x="103" y="57"/>
                  <a:pt x="88" y="51"/>
                  <a:pt x="82" y="63"/>
                </a:cubicBezTo>
                <a:cubicBezTo>
                  <a:pt x="81" y="65"/>
                  <a:pt x="80" y="67"/>
                  <a:pt x="80" y="70"/>
                </a:cubicBezTo>
                <a:cubicBezTo>
                  <a:pt x="80" y="76"/>
                  <a:pt x="84" y="86"/>
                  <a:pt x="93" y="107"/>
                </a:cubicBezTo>
                <a:cubicBezTo>
                  <a:pt x="89" y="108"/>
                  <a:pt x="84" y="108"/>
                  <a:pt x="79" y="108"/>
                </a:cubicBezTo>
                <a:cubicBezTo>
                  <a:pt x="77" y="106"/>
                  <a:pt x="75" y="102"/>
                  <a:pt x="73" y="100"/>
                </a:cubicBezTo>
                <a:cubicBezTo>
                  <a:pt x="72" y="97"/>
                  <a:pt x="68" y="93"/>
                  <a:pt x="61" y="93"/>
                </a:cubicBezTo>
                <a:cubicBezTo>
                  <a:pt x="53" y="93"/>
                  <a:pt x="35" y="97"/>
                  <a:pt x="31" y="98"/>
                </a:cubicBezTo>
                <a:cubicBezTo>
                  <a:pt x="8" y="103"/>
                  <a:pt x="4" y="105"/>
                  <a:pt x="1" y="110"/>
                </a:cubicBezTo>
                <a:cubicBezTo>
                  <a:pt x="0" y="112"/>
                  <a:pt x="0" y="114"/>
                  <a:pt x="0" y="116"/>
                </a:cubicBezTo>
                <a:cubicBezTo>
                  <a:pt x="0" y="130"/>
                  <a:pt x="1" y="163"/>
                  <a:pt x="22" y="165"/>
                </a:cubicBezTo>
                <a:cubicBezTo>
                  <a:pt x="30" y="166"/>
                  <a:pt x="65" y="182"/>
                  <a:pt x="76" y="198"/>
                </a:cubicBezTo>
                <a:cubicBezTo>
                  <a:pt x="90" y="219"/>
                  <a:pt x="103" y="243"/>
                  <a:pt x="96" y="286"/>
                </a:cubicBezTo>
                <a:cubicBezTo>
                  <a:pt x="89" y="329"/>
                  <a:pt x="79" y="344"/>
                  <a:pt x="78" y="344"/>
                </a:cubicBezTo>
                <a:cubicBezTo>
                  <a:pt x="79" y="344"/>
                  <a:pt x="79" y="344"/>
                  <a:pt x="79" y="344"/>
                </a:cubicBezTo>
                <a:cubicBezTo>
                  <a:pt x="74" y="349"/>
                  <a:pt x="75" y="357"/>
                  <a:pt x="81" y="361"/>
                </a:cubicBezTo>
                <a:cubicBezTo>
                  <a:pt x="83" y="363"/>
                  <a:pt x="148" y="414"/>
                  <a:pt x="247" y="406"/>
                </a:cubicBezTo>
                <a:cubicBezTo>
                  <a:pt x="251" y="405"/>
                  <a:pt x="254" y="403"/>
                  <a:pt x="256" y="400"/>
                </a:cubicBezTo>
                <a:cubicBezTo>
                  <a:pt x="259" y="397"/>
                  <a:pt x="259" y="393"/>
                  <a:pt x="258" y="390"/>
                </a:cubicBezTo>
                <a:cubicBezTo>
                  <a:pt x="257" y="386"/>
                  <a:pt x="255" y="373"/>
                  <a:pt x="261" y="365"/>
                </a:cubicBezTo>
                <a:cubicBezTo>
                  <a:pt x="265" y="359"/>
                  <a:pt x="273" y="356"/>
                  <a:pt x="284" y="355"/>
                </a:cubicBezTo>
                <a:cubicBezTo>
                  <a:pt x="307" y="353"/>
                  <a:pt x="314" y="359"/>
                  <a:pt x="321" y="365"/>
                </a:cubicBezTo>
                <a:cubicBezTo>
                  <a:pt x="328" y="371"/>
                  <a:pt x="338" y="379"/>
                  <a:pt x="355" y="372"/>
                </a:cubicBezTo>
                <a:cubicBezTo>
                  <a:pt x="382" y="362"/>
                  <a:pt x="402" y="336"/>
                  <a:pt x="402" y="335"/>
                </a:cubicBezTo>
                <a:cubicBezTo>
                  <a:pt x="406" y="330"/>
                  <a:pt x="405" y="322"/>
                  <a:pt x="400" y="318"/>
                </a:cubicBezTo>
                <a:cubicBezTo>
                  <a:pt x="399" y="317"/>
                  <a:pt x="362" y="287"/>
                  <a:pt x="372" y="243"/>
                </a:cubicBezTo>
                <a:cubicBezTo>
                  <a:pt x="374" y="236"/>
                  <a:pt x="370" y="230"/>
                  <a:pt x="363" y="228"/>
                </a:cubicBezTo>
                <a:cubicBezTo>
                  <a:pt x="357" y="226"/>
                  <a:pt x="350" y="230"/>
                  <a:pt x="348" y="237"/>
                </a:cubicBezTo>
                <a:cubicBezTo>
                  <a:pt x="346" y="245"/>
                  <a:pt x="345" y="252"/>
                  <a:pt x="345" y="259"/>
                </a:cubicBezTo>
                <a:cubicBezTo>
                  <a:pt x="345" y="292"/>
                  <a:pt x="363" y="316"/>
                  <a:pt x="375" y="328"/>
                </a:cubicBezTo>
                <a:cubicBezTo>
                  <a:pt x="368" y="335"/>
                  <a:pt x="358" y="344"/>
                  <a:pt x="346" y="349"/>
                </a:cubicBezTo>
                <a:cubicBezTo>
                  <a:pt x="342" y="351"/>
                  <a:pt x="342" y="351"/>
                  <a:pt x="337" y="346"/>
                </a:cubicBezTo>
                <a:cubicBezTo>
                  <a:pt x="328" y="339"/>
                  <a:pt x="315" y="328"/>
                  <a:pt x="282" y="330"/>
                </a:cubicBezTo>
                <a:cubicBezTo>
                  <a:pt x="263" y="331"/>
                  <a:pt x="249" y="338"/>
                  <a:pt x="241" y="350"/>
                </a:cubicBezTo>
                <a:cubicBezTo>
                  <a:pt x="234" y="360"/>
                  <a:pt x="232" y="371"/>
                  <a:pt x="232" y="380"/>
                </a:cubicBezTo>
                <a:cubicBezTo>
                  <a:pt x="232" y="380"/>
                  <a:pt x="232" y="381"/>
                  <a:pt x="232" y="381"/>
                </a:cubicBezTo>
                <a:cubicBezTo>
                  <a:pt x="169" y="383"/>
                  <a:pt x="123" y="359"/>
                  <a:pt x="105" y="348"/>
                </a:cubicBezTo>
                <a:cubicBezTo>
                  <a:pt x="109" y="337"/>
                  <a:pt x="116" y="319"/>
                  <a:pt x="121" y="290"/>
                </a:cubicBezTo>
                <a:cubicBezTo>
                  <a:pt x="122" y="280"/>
                  <a:pt x="123" y="272"/>
                  <a:pt x="123" y="263"/>
                </a:cubicBezTo>
                <a:cubicBezTo>
                  <a:pt x="123" y="223"/>
                  <a:pt x="106" y="199"/>
                  <a:pt x="96" y="184"/>
                </a:cubicBezTo>
                <a:cubicBezTo>
                  <a:pt x="82" y="163"/>
                  <a:pt x="45" y="145"/>
                  <a:pt x="28" y="141"/>
                </a:cubicBezTo>
                <a:cubicBezTo>
                  <a:pt x="27" y="138"/>
                  <a:pt x="26" y="132"/>
                  <a:pt x="25" y="125"/>
                </a:cubicBezTo>
                <a:cubicBezTo>
                  <a:pt x="33" y="123"/>
                  <a:pt x="48" y="120"/>
                  <a:pt x="56" y="119"/>
                </a:cubicBezTo>
                <a:cubicBezTo>
                  <a:pt x="62" y="129"/>
                  <a:pt x="67" y="135"/>
                  <a:pt x="75" y="134"/>
                </a:cubicBezTo>
                <a:cubicBezTo>
                  <a:pt x="76" y="134"/>
                  <a:pt x="80" y="133"/>
                  <a:pt x="80" y="133"/>
                </a:cubicBezTo>
                <a:cubicBezTo>
                  <a:pt x="110" y="131"/>
                  <a:pt x="116" y="130"/>
                  <a:pt x="121" y="124"/>
                </a:cubicBezTo>
                <a:cubicBezTo>
                  <a:pt x="122" y="122"/>
                  <a:pt x="123" y="119"/>
                  <a:pt x="123" y="117"/>
                </a:cubicBezTo>
                <a:cubicBezTo>
                  <a:pt x="123" y="115"/>
                  <a:pt x="123" y="114"/>
                  <a:pt x="122" y="112"/>
                </a:cubicBezTo>
                <a:cubicBezTo>
                  <a:pt x="119" y="105"/>
                  <a:pt x="119" y="105"/>
                  <a:pt x="119" y="105"/>
                </a:cubicBezTo>
                <a:cubicBezTo>
                  <a:pt x="116" y="98"/>
                  <a:pt x="113" y="92"/>
                  <a:pt x="111" y="87"/>
                </a:cubicBezTo>
                <a:cubicBezTo>
                  <a:pt x="117" y="89"/>
                  <a:pt x="124" y="92"/>
                  <a:pt x="128" y="94"/>
                </a:cubicBezTo>
                <a:cubicBezTo>
                  <a:pt x="145" y="101"/>
                  <a:pt x="147" y="103"/>
                  <a:pt x="152" y="102"/>
                </a:cubicBezTo>
                <a:cubicBezTo>
                  <a:pt x="161" y="102"/>
                  <a:pt x="164" y="94"/>
                  <a:pt x="167" y="87"/>
                </a:cubicBezTo>
                <a:cubicBezTo>
                  <a:pt x="168" y="85"/>
                  <a:pt x="170" y="79"/>
                  <a:pt x="172" y="77"/>
                </a:cubicBezTo>
                <a:cubicBezTo>
                  <a:pt x="192" y="77"/>
                  <a:pt x="209" y="59"/>
                  <a:pt x="211" y="42"/>
                </a:cubicBezTo>
                <a:cubicBezTo>
                  <a:pt x="211" y="41"/>
                  <a:pt x="211" y="40"/>
                  <a:pt x="211" y="38"/>
                </a:cubicBezTo>
                <a:cubicBezTo>
                  <a:pt x="211" y="36"/>
                  <a:pt x="211" y="34"/>
                  <a:pt x="211" y="32"/>
                </a:cubicBezTo>
                <a:cubicBezTo>
                  <a:pt x="210" y="30"/>
                  <a:pt x="210" y="28"/>
                  <a:pt x="210" y="27"/>
                </a:cubicBezTo>
                <a:cubicBezTo>
                  <a:pt x="213" y="26"/>
                  <a:pt x="217" y="26"/>
                  <a:pt x="221" y="25"/>
                </a:cubicBezTo>
                <a:cubicBezTo>
                  <a:pt x="237" y="40"/>
                  <a:pt x="296" y="90"/>
                  <a:pt x="375" y="109"/>
                </a:cubicBezTo>
                <a:cubicBezTo>
                  <a:pt x="372" y="121"/>
                  <a:pt x="368" y="140"/>
                  <a:pt x="368" y="157"/>
                </a:cubicBezTo>
                <a:cubicBezTo>
                  <a:pt x="368" y="157"/>
                  <a:pt x="368" y="158"/>
                  <a:pt x="368" y="159"/>
                </a:cubicBezTo>
                <a:cubicBezTo>
                  <a:pt x="353" y="167"/>
                  <a:pt x="321" y="190"/>
                  <a:pt x="320" y="228"/>
                </a:cubicBezTo>
                <a:cubicBezTo>
                  <a:pt x="320" y="228"/>
                  <a:pt x="320" y="228"/>
                  <a:pt x="320" y="228"/>
                </a:cubicBezTo>
                <a:cubicBezTo>
                  <a:pt x="320" y="235"/>
                  <a:pt x="326" y="241"/>
                  <a:pt x="333" y="241"/>
                </a:cubicBezTo>
                <a:cubicBezTo>
                  <a:pt x="339" y="241"/>
                  <a:pt x="345" y="235"/>
                  <a:pt x="345" y="228"/>
                </a:cubicBezTo>
                <a:cubicBezTo>
                  <a:pt x="345" y="195"/>
                  <a:pt x="386" y="178"/>
                  <a:pt x="386" y="178"/>
                </a:cubicBezTo>
                <a:cubicBezTo>
                  <a:pt x="391" y="175"/>
                  <a:pt x="394" y="170"/>
                  <a:pt x="394" y="164"/>
                </a:cubicBezTo>
                <a:cubicBezTo>
                  <a:pt x="391" y="146"/>
                  <a:pt x="399" y="114"/>
                  <a:pt x="403" y="103"/>
                </a:cubicBezTo>
                <a:cubicBezTo>
                  <a:pt x="404" y="100"/>
                  <a:pt x="403" y="96"/>
                  <a:pt x="402" y="93"/>
                </a:cubicBezTo>
                <a:cubicBezTo>
                  <a:pt x="400" y="90"/>
                  <a:pt x="397" y="88"/>
                  <a:pt x="393" y="87"/>
                </a:cubicBezTo>
                <a:cubicBezTo>
                  <a:pt x="303" y="70"/>
                  <a:pt x="235" y="4"/>
                  <a:pt x="235" y="4"/>
                </a:cubicBezTo>
                <a:cubicBezTo>
                  <a:pt x="232" y="1"/>
                  <a:pt x="229" y="0"/>
                  <a:pt x="225" y="0"/>
                </a:cubicBezTo>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56" name="Freeform 664"/>
          <p:cNvSpPr>
            <a:spLocks noEditPoints="1"/>
          </p:cNvSpPr>
          <p:nvPr userDrawn="1"/>
        </p:nvSpPr>
        <p:spPr bwMode="auto">
          <a:xfrm>
            <a:off x="8318622" y="903984"/>
            <a:ext cx="384672" cy="325041"/>
          </a:xfrm>
          <a:custGeom>
            <a:avLst/>
            <a:gdLst/>
            <a:ahLst/>
            <a:cxnLst>
              <a:cxn ang="0">
                <a:pos x="443" y="0"/>
              </a:cxn>
              <a:cxn ang="0">
                <a:pos x="217" y="90"/>
              </a:cxn>
              <a:cxn ang="0">
                <a:pos x="215" y="97"/>
              </a:cxn>
              <a:cxn ang="0">
                <a:pos x="215" y="336"/>
              </a:cxn>
              <a:cxn ang="0">
                <a:pos x="27" y="275"/>
              </a:cxn>
              <a:cxn ang="0">
                <a:pos x="27" y="28"/>
              </a:cxn>
              <a:cxn ang="0">
                <a:pos x="191" y="77"/>
              </a:cxn>
              <a:cxn ang="0">
                <a:pos x="210" y="75"/>
              </a:cxn>
              <a:cxn ang="0">
                <a:pos x="207" y="56"/>
              </a:cxn>
              <a:cxn ang="0">
                <a:pos x="14" y="0"/>
              </a:cxn>
              <a:cxn ang="0">
                <a:pos x="4" y="4"/>
              </a:cxn>
              <a:cxn ang="0">
                <a:pos x="0" y="14"/>
              </a:cxn>
              <a:cxn ang="0">
                <a:pos x="0" y="287"/>
              </a:cxn>
              <a:cxn ang="0">
                <a:pos x="13" y="301"/>
              </a:cxn>
              <a:cxn ang="0">
                <a:pos x="217" y="378"/>
              </a:cxn>
              <a:cxn ang="0">
                <a:pos x="218" y="379"/>
              </a:cxn>
              <a:cxn ang="0">
                <a:pos x="219" y="381"/>
              </a:cxn>
              <a:cxn ang="0">
                <a:pos x="220" y="382"/>
              </a:cxn>
              <a:cxn ang="0">
                <a:pos x="221" y="382"/>
              </a:cxn>
              <a:cxn ang="0">
                <a:pos x="222" y="383"/>
              </a:cxn>
              <a:cxn ang="0">
                <a:pos x="224" y="384"/>
              </a:cxn>
              <a:cxn ang="0">
                <a:pos x="225" y="384"/>
              </a:cxn>
              <a:cxn ang="0">
                <a:pos x="228" y="384"/>
              </a:cxn>
              <a:cxn ang="0">
                <a:pos x="228" y="384"/>
              </a:cxn>
              <a:cxn ang="0">
                <a:pos x="228" y="384"/>
              </a:cxn>
              <a:cxn ang="0">
                <a:pos x="232" y="384"/>
              </a:cxn>
              <a:cxn ang="0">
                <a:pos x="232" y="384"/>
              </a:cxn>
              <a:cxn ang="0">
                <a:pos x="234" y="383"/>
              </a:cxn>
              <a:cxn ang="0">
                <a:pos x="235" y="383"/>
              </a:cxn>
              <a:cxn ang="0">
                <a:pos x="237" y="381"/>
              </a:cxn>
              <a:cxn ang="0">
                <a:pos x="237" y="381"/>
              </a:cxn>
              <a:cxn ang="0">
                <a:pos x="239" y="379"/>
              </a:cxn>
              <a:cxn ang="0">
                <a:pos x="240" y="378"/>
              </a:cxn>
              <a:cxn ang="0">
                <a:pos x="443" y="301"/>
              </a:cxn>
              <a:cxn ang="0">
                <a:pos x="456" y="287"/>
              </a:cxn>
              <a:cxn ang="0">
                <a:pos x="456" y="14"/>
              </a:cxn>
              <a:cxn ang="0">
                <a:pos x="452" y="4"/>
              </a:cxn>
              <a:cxn ang="0">
                <a:pos x="443" y="0"/>
              </a:cxn>
              <a:cxn ang="0">
                <a:pos x="430" y="28"/>
              </a:cxn>
              <a:cxn ang="0">
                <a:pos x="430" y="275"/>
              </a:cxn>
              <a:cxn ang="0">
                <a:pos x="242" y="336"/>
              </a:cxn>
              <a:cxn ang="0">
                <a:pos x="242" y="102"/>
              </a:cxn>
              <a:cxn ang="0">
                <a:pos x="430" y="28"/>
              </a:cxn>
            </a:cxnLst>
            <a:rect l="0" t="0" r="r" b="b"/>
            <a:pathLst>
              <a:path w="456" h="384">
                <a:moveTo>
                  <a:pt x="443" y="0"/>
                </a:moveTo>
                <a:cubicBezTo>
                  <a:pt x="436" y="0"/>
                  <a:pt x="273" y="5"/>
                  <a:pt x="217" y="90"/>
                </a:cubicBezTo>
                <a:cubicBezTo>
                  <a:pt x="216" y="92"/>
                  <a:pt x="215" y="95"/>
                  <a:pt x="215" y="97"/>
                </a:cubicBezTo>
                <a:cubicBezTo>
                  <a:pt x="215" y="97"/>
                  <a:pt x="215" y="283"/>
                  <a:pt x="215" y="336"/>
                </a:cubicBezTo>
                <a:cubicBezTo>
                  <a:pt x="159" y="288"/>
                  <a:pt x="62" y="277"/>
                  <a:pt x="27" y="275"/>
                </a:cubicBezTo>
                <a:cubicBezTo>
                  <a:pt x="27" y="253"/>
                  <a:pt x="27" y="52"/>
                  <a:pt x="27" y="28"/>
                </a:cubicBezTo>
                <a:cubicBezTo>
                  <a:pt x="59" y="30"/>
                  <a:pt x="141" y="40"/>
                  <a:pt x="191" y="77"/>
                </a:cubicBezTo>
                <a:cubicBezTo>
                  <a:pt x="197" y="82"/>
                  <a:pt x="205" y="81"/>
                  <a:pt x="210" y="75"/>
                </a:cubicBezTo>
                <a:cubicBezTo>
                  <a:pt x="214" y="69"/>
                  <a:pt x="213" y="61"/>
                  <a:pt x="207" y="56"/>
                </a:cubicBezTo>
                <a:cubicBezTo>
                  <a:pt x="137" y="3"/>
                  <a:pt x="19" y="0"/>
                  <a:pt x="14" y="0"/>
                </a:cubicBezTo>
                <a:cubicBezTo>
                  <a:pt x="10" y="0"/>
                  <a:pt x="7" y="1"/>
                  <a:pt x="4" y="4"/>
                </a:cubicBezTo>
                <a:cubicBezTo>
                  <a:pt x="2" y="6"/>
                  <a:pt x="0" y="10"/>
                  <a:pt x="0" y="14"/>
                </a:cubicBezTo>
                <a:cubicBezTo>
                  <a:pt x="0" y="287"/>
                  <a:pt x="0" y="287"/>
                  <a:pt x="0" y="287"/>
                </a:cubicBezTo>
                <a:cubicBezTo>
                  <a:pt x="0" y="294"/>
                  <a:pt x="6" y="300"/>
                  <a:pt x="13" y="301"/>
                </a:cubicBezTo>
                <a:cubicBezTo>
                  <a:pt x="15" y="301"/>
                  <a:pt x="169" y="305"/>
                  <a:pt x="217" y="378"/>
                </a:cubicBezTo>
                <a:cubicBezTo>
                  <a:pt x="217" y="379"/>
                  <a:pt x="218" y="379"/>
                  <a:pt x="218" y="379"/>
                </a:cubicBezTo>
                <a:cubicBezTo>
                  <a:pt x="218" y="380"/>
                  <a:pt x="219" y="380"/>
                  <a:pt x="219" y="381"/>
                </a:cubicBezTo>
                <a:cubicBezTo>
                  <a:pt x="219" y="381"/>
                  <a:pt x="220" y="381"/>
                  <a:pt x="220" y="382"/>
                </a:cubicBezTo>
                <a:cubicBezTo>
                  <a:pt x="221" y="382"/>
                  <a:pt x="221" y="382"/>
                  <a:pt x="221" y="382"/>
                </a:cubicBezTo>
                <a:cubicBezTo>
                  <a:pt x="221" y="382"/>
                  <a:pt x="221" y="382"/>
                  <a:pt x="222" y="383"/>
                </a:cubicBezTo>
                <a:cubicBezTo>
                  <a:pt x="222" y="383"/>
                  <a:pt x="223" y="383"/>
                  <a:pt x="224" y="384"/>
                </a:cubicBezTo>
                <a:cubicBezTo>
                  <a:pt x="224" y="384"/>
                  <a:pt x="224" y="384"/>
                  <a:pt x="225" y="384"/>
                </a:cubicBezTo>
                <a:cubicBezTo>
                  <a:pt x="226" y="384"/>
                  <a:pt x="227" y="384"/>
                  <a:pt x="228" y="384"/>
                </a:cubicBezTo>
                <a:cubicBezTo>
                  <a:pt x="228" y="384"/>
                  <a:pt x="228" y="384"/>
                  <a:pt x="228" y="384"/>
                </a:cubicBezTo>
                <a:cubicBezTo>
                  <a:pt x="228" y="384"/>
                  <a:pt x="228" y="384"/>
                  <a:pt x="228" y="384"/>
                </a:cubicBezTo>
                <a:cubicBezTo>
                  <a:pt x="230" y="384"/>
                  <a:pt x="231" y="384"/>
                  <a:pt x="232" y="384"/>
                </a:cubicBezTo>
                <a:cubicBezTo>
                  <a:pt x="232" y="384"/>
                  <a:pt x="232" y="384"/>
                  <a:pt x="232" y="384"/>
                </a:cubicBezTo>
                <a:cubicBezTo>
                  <a:pt x="233" y="384"/>
                  <a:pt x="234" y="383"/>
                  <a:pt x="234" y="383"/>
                </a:cubicBezTo>
                <a:cubicBezTo>
                  <a:pt x="235" y="383"/>
                  <a:pt x="235" y="383"/>
                  <a:pt x="235" y="383"/>
                </a:cubicBezTo>
                <a:cubicBezTo>
                  <a:pt x="236" y="382"/>
                  <a:pt x="236" y="382"/>
                  <a:pt x="237" y="381"/>
                </a:cubicBezTo>
                <a:cubicBezTo>
                  <a:pt x="237" y="381"/>
                  <a:pt x="237" y="381"/>
                  <a:pt x="237" y="381"/>
                </a:cubicBezTo>
                <a:cubicBezTo>
                  <a:pt x="238" y="380"/>
                  <a:pt x="239" y="379"/>
                  <a:pt x="239" y="379"/>
                </a:cubicBezTo>
                <a:cubicBezTo>
                  <a:pt x="239" y="379"/>
                  <a:pt x="239" y="378"/>
                  <a:pt x="240" y="378"/>
                </a:cubicBezTo>
                <a:cubicBezTo>
                  <a:pt x="287" y="305"/>
                  <a:pt x="442" y="301"/>
                  <a:pt x="443" y="301"/>
                </a:cubicBezTo>
                <a:cubicBezTo>
                  <a:pt x="450" y="300"/>
                  <a:pt x="456" y="294"/>
                  <a:pt x="456" y="287"/>
                </a:cubicBezTo>
                <a:cubicBezTo>
                  <a:pt x="456" y="14"/>
                  <a:pt x="456" y="14"/>
                  <a:pt x="456" y="14"/>
                </a:cubicBezTo>
                <a:cubicBezTo>
                  <a:pt x="456" y="10"/>
                  <a:pt x="455" y="6"/>
                  <a:pt x="452" y="4"/>
                </a:cubicBezTo>
                <a:cubicBezTo>
                  <a:pt x="450" y="1"/>
                  <a:pt x="446" y="0"/>
                  <a:pt x="443" y="0"/>
                </a:cubicBezTo>
                <a:close/>
                <a:moveTo>
                  <a:pt x="430" y="28"/>
                </a:moveTo>
                <a:cubicBezTo>
                  <a:pt x="430" y="52"/>
                  <a:pt x="430" y="253"/>
                  <a:pt x="430" y="275"/>
                </a:cubicBezTo>
                <a:cubicBezTo>
                  <a:pt x="395" y="277"/>
                  <a:pt x="298" y="288"/>
                  <a:pt x="242" y="336"/>
                </a:cubicBezTo>
                <a:cubicBezTo>
                  <a:pt x="242" y="284"/>
                  <a:pt x="242" y="109"/>
                  <a:pt x="242" y="102"/>
                </a:cubicBezTo>
                <a:cubicBezTo>
                  <a:pt x="283" y="44"/>
                  <a:pt x="391" y="30"/>
                  <a:pt x="430" y="2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57" name="Freeform 668"/>
          <p:cNvSpPr>
            <a:spLocks/>
          </p:cNvSpPr>
          <p:nvPr userDrawn="1"/>
        </p:nvSpPr>
        <p:spPr bwMode="auto">
          <a:xfrm>
            <a:off x="8371619" y="1361409"/>
            <a:ext cx="278679" cy="283369"/>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41" name="Freeform 17"/>
          <p:cNvSpPr>
            <a:spLocks noEditPoints="1"/>
          </p:cNvSpPr>
          <p:nvPr userDrawn="1"/>
        </p:nvSpPr>
        <p:spPr bwMode="auto">
          <a:xfrm>
            <a:off x="665733" y="4518423"/>
            <a:ext cx="131003" cy="69056"/>
          </a:xfrm>
          <a:custGeom>
            <a:avLst/>
            <a:gdLst/>
            <a:ahLst/>
            <a:cxnLst>
              <a:cxn ang="0">
                <a:pos x="149" y="6"/>
              </a:cxn>
              <a:cxn ang="0">
                <a:pos x="149" y="6"/>
              </a:cxn>
              <a:cxn ang="0">
                <a:pos x="149" y="6"/>
              </a:cxn>
              <a:cxn ang="0">
                <a:pos x="152" y="60"/>
              </a:cxn>
              <a:cxn ang="0">
                <a:pos x="153" y="53"/>
              </a:cxn>
              <a:cxn ang="0">
                <a:pos x="153" y="23"/>
              </a:cxn>
              <a:cxn ang="0">
                <a:pos x="153" y="14"/>
              </a:cxn>
              <a:cxn ang="0">
                <a:pos x="149" y="6"/>
              </a:cxn>
              <a:cxn ang="0">
                <a:pos x="140" y="2"/>
              </a:cxn>
              <a:cxn ang="0">
                <a:pos x="132" y="2"/>
              </a:cxn>
              <a:cxn ang="0">
                <a:pos x="103" y="3"/>
              </a:cxn>
              <a:cxn ang="0">
                <a:pos x="96" y="4"/>
              </a:cxn>
              <a:cxn ang="0">
                <a:pos x="88" y="16"/>
              </a:cxn>
              <a:cxn ang="0">
                <a:pos x="102" y="25"/>
              </a:cxn>
              <a:cxn ang="0">
                <a:pos x="114" y="24"/>
              </a:cxn>
              <a:cxn ang="0">
                <a:pos x="98" y="39"/>
              </a:cxn>
              <a:cxn ang="0">
                <a:pos x="77" y="48"/>
              </a:cxn>
              <a:cxn ang="0">
                <a:pos x="28" y="12"/>
              </a:cxn>
              <a:cxn ang="0">
                <a:pos x="12" y="1"/>
              </a:cxn>
              <a:cxn ang="0">
                <a:pos x="1" y="17"/>
              </a:cxn>
              <a:cxn ang="0">
                <a:pos x="82" y="75"/>
              </a:cxn>
              <a:cxn ang="0">
                <a:pos x="112" y="62"/>
              </a:cxn>
              <a:cxn ang="0">
                <a:pos x="132" y="43"/>
              </a:cxn>
              <a:cxn ang="0">
                <a:pos x="131" y="54"/>
              </a:cxn>
              <a:cxn ang="0">
                <a:pos x="140" y="68"/>
              </a:cxn>
              <a:cxn ang="0">
                <a:pos x="152" y="60"/>
              </a:cxn>
            </a:cxnLst>
            <a:rect l="0" t="0" r="r" b="b"/>
            <a:pathLst>
              <a:path w="154" h="81">
                <a:moveTo>
                  <a:pt x="149" y="6"/>
                </a:moveTo>
                <a:cubicBezTo>
                  <a:pt x="149" y="6"/>
                  <a:pt x="149" y="6"/>
                  <a:pt x="149" y="6"/>
                </a:cubicBezTo>
                <a:cubicBezTo>
                  <a:pt x="149" y="6"/>
                  <a:pt x="149" y="6"/>
                  <a:pt x="149" y="6"/>
                </a:cubicBezTo>
                <a:close/>
                <a:moveTo>
                  <a:pt x="152" y="60"/>
                </a:moveTo>
                <a:cubicBezTo>
                  <a:pt x="153" y="53"/>
                  <a:pt x="153" y="53"/>
                  <a:pt x="153" y="53"/>
                </a:cubicBezTo>
                <a:cubicBezTo>
                  <a:pt x="153" y="23"/>
                  <a:pt x="153" y="23"/>
                  <a:pt x="153" y="23"/>
                </a:cubicBezTo>
                <a:cubicBezTo>
                  <a:pt x="154" y="19"/>
                  <a:pt x="154" y="17"/>
                  <a:pt x="153" y="14"/>
                </a:cubicBezTo>
                <a:cubicBezTo>
                  <a:pt x="153" y="12"/>
                  <a:pt x="151" y="9"/>
                  <a:pt x="149" y="6"/>
                </a:cubicBezTo>
                <a:cubicBezTo>
                  <a:pt x="146" y="3"/>
                  <a:pt x="143" y="2"/>
                  <a:pt x="140" y="2"/>
                </a:cubicBezTo>
                <a:cubicBezTo>
                  <a:pt x="138" y="1"/>
                  <a:pt x="135" y="1"/>
                  <a:pt x="132" y="2"/>
                </a:cubicBezTo>
                <a:cubicBezTo>
                  <a:pt x="103" y="3"/>
                  <a:pt x="103" y="3"/>
                  <a:pt x="103" y="3"/>
                </a:cubicBezTo>
                <a:cubicBezTo>
                  <a:pt x="96" y="4"/>
                  <a:pt x="96" y="4"/>
                  <a:pt x="96" y="4"/>
                </a:cubicBezTo>
                <a:cubicBezTo>
                  <a:pt x="96" y="4"/>
                  <a:pt x="86" y="4"/>
                  <a:pt x="88" y="16"/>
                </a:cubicBezTo>
                <a:cubicBezTo>
                  <a:pt x="89" y="24"/>
                  <a:pt x="94" y="26"/>
                  <a:pt x="102" y="25"/>
                </a:cubicBezTo>
                <a:cubicBezTo>
                  <a:pt x="105" y="25"/>
                  <a:pt x="109" y="25"/>
                  <a:pt x="114" y="24"/>
                </a:cubicBezTo>
                <a:cubicBezTo>
                  <a:pt x="107" y="32"/>
                  <a:pt x="98" y="39"/>
                  <a:pt x="98" y="39"/>
                </a:cubicBezTo>
                <a:cubicBezTo>
                  <a:pt x="92" y="44"/>
                  <a:pt x="85" y="47"/>
                  <a:pt x="77" y="48"/>
                </a:cubicBezTo>
                <a:cubicBezTo>
                  <a:pt x="54" y="52"/>
                  <a:pt x="32" y="36"/>
                  <a:pt x="28" y="12"/>
                </a:cubicBezTo>
                <a:cubicBezTo>
                  <a:pt x="26" y="5"/>
                  <a:pt x="20" y="0"/>
                  <a:pt x="12" y="1"/>
                </a:cubicBezTo>
                <a:cubicBezTo>
                  <a:pt x="5" y="3"/>
                  <a:pt x="0" y="9"/>
                  <a:pt x="1" y="17"/>
                </a:cubicBezTo>
                <a:cubicBezTo>
                  <a:pt x="7" y="55"/>
                  <a:pt x="44" y="81"/>
                  <a:pt x="82" y="75"/>
                </a:cubicBezTo>
                <a:cubicBezTo>
                  <a:pt x="93" y="73"/>
                  <a:pt x="103" y="68"/>
                  <a:pt x="112" y="62"/>
                </a:cubicBezTo>
                <a:cubicBezTo>
                  <a:pt x="112" y="62"/>
                  <a:pt x="124" y="53"/>
                  <a:pt x="132" y="43"/>
                </a:cubicBezTo>
                <a:cubicBezTo>
                  <a:pt x="132" y="47"/>
                  <a:pt x="131" y="50"/>
                  <a:pt x="131" y="54"/>
                </a:cubicBezTo>
                <a:cubicBezTo>
                  <a:pt x="130" y="62"/>
                  <a:pt x="132" y="67"/>
                  <a:pt x="140" y="68"/>
                </a:cubicBezTo>
                <a:cubicBezTo>
                  <a:pt x="152" y="69"/>
                  <a:pt x="152" y="60"/>
                  <a:pt x="152" y="60"/>
                </a:cubicBezTo>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45" name="Freeform 21"/>
          <p:cNvSpPr>
            <a:spLocks noEditPoints="1"/>
          </p:cNvSpPr>
          <p:nvPr userDrawn="1"/>
        </p:nvSpPr>
        <p:spPr bwMode="auto">
          <a:xfrm>
            <a:off x="932503" y="4502945"/>
            <a:ext cx="120284" cy="88106"/>
          </a:xfrm>
          <a:custGeom>
            <a:avLst/>
            <a:gdLst/>
            <a:ahLst/>
            <a:cxnLst>
              <a:cxn ang="0">
                <a:pos x="132" y="35"/>
              </a:cxn>
              <a:cxn ang="0">
                <a:pos x="107" y="12"/>
              </a:cxn>
              <a:cxn ang="0">
                <a:pos x="102" y="8"/>
              </a:cxn>
              <a:cxn ang="0">
                <a:pos x="86" y="11"/>
              </a:cxn>
              <a:cxn ang="0">
                <a:pos x="90" y="29"/>
              </a:cxn>
              <a:cxn ang="0">
                <a:pos x="100" y="38"/>
              </a:cxn>
              <a:cxn ang="0">
                <a:pos x="14" y="38"/>
              </a:cxn>
              <a:cxn ang="0">
                <a:pos x="0" y="51"/>
              </a:cxn>
              <a:cxn ang="0">
                <a:pos x="0" y="53"/>
              </a:cxn>
              <a:cxn ang="0">
                <a:pos x="14" y="65"/>
              </a:cxn>
              <a:cxn ang="0">
                <a:pos x="100" y="65"/>
              </a:cxn>
              <a:cxn ang="0">
                <a:pos x="90" y="74"/>
              </a:cxn>
              <a:cxn ang="0">
                <a:pos x="86" y="92"/>
              </a:cxn>
              <a:cxn ang="0">
                <a:pos x="102" y="95"/>
              </a:cxn>
              <a:cxn ang="0">
                <a:pos x="108" y="90"/>
              </a:cxn>
              <a:cxn ang="0">
                <a:pos x="132" y="68"/>
              </a:cxn>
              <a:cxn ang="0">
                <a:pos x="138" y="62"/>
              </a:cxn>
              <a:cxn ang="0">
                <a:pos x="141" y="52"/>
              </a:cxn>
              <a:cxn ang="0">
                <a:pos x="138" y="42"/>
              </a:cxn>
              <a:cxn ang="0">
                <a:pos x="132" y="35"/>
              </a:cxn>
              <a:cxn ang="0">
                <a:pos x="141" y="52"/>
              </a:cxn>
              <a:cxn ang="0">
                <a:pos x="141" y="52"/>
              </a:cxn>
              <a:cxn ang="0">
                <a:pos x="141" y="52"/>
              </a:cxn>
              <a:cxn ang="0">
                <a:pos x="141" y="52"/>
              </a:cxn>
            </a:cxnLst>
            <a:rect l="0" t="0" r="r" b="b"/>
            <a:pathLst>
              <a:path w="141" h="103">
                <a:moveTo>
                  <a:pt x="132" y="35"/>
                </a:moveTo>
                <a:cubicBezTo>
                  <a:pt x="107" y="12"/>
                  <a:pt x="107" y="12"/>
                  <a:pt x="107" y="12"/>
                </a:cubicBezTo>
                <a:cubicBezTo>
                  <a:pt x="102" y="8"/>
                  <a:pt x="102" y="8"/>
                  <a:pt x="102" y="8"/>
                </a:cubicBezTo>
                <a:cubicBezTo>
                  <a:pt x="102" y="8"/>
                  <a:pt x="94" y="0"/>
                  <a:pt x="86" y="11"/>
                </a:cubicBezTo>
                <a:cubicBezTo>
                  <a:pt x="80" y="18"/>
                  <a:pt x="83" y="23"/>
                  <a:pt x="90" y="29"/>
                </a:cubicBezTo>
                <a:cubicBezTo>
                  <a:pt x="92" y="31"/>
                  <a:pt x="96" y="35"/>
                  <a:pt x="100" y="38"/>
                </a:cubicBezTo>
                <a:cubicBezTo>
                  <a:pt x="14" y="38"/>
                  <a:pt x="14" y="38"/>
                  <a:pt x="14" y="38"/>
                </a:cubicBezTo>
                <a:cubicBezTo>
                  <a:pt x="4" y="38"/>
                  <a:pt x="0" y="43"/>
                  <a:pt x="0" y="51"/>
                </a:cubicBezTo>
                <a:cubicBezTo>
                  <a:pt x="0" y="53"/>
                  <a:pt x="0" y="53"/>
                  <a:pt x="0" y="53"/>
                </a:cubicBezTo>
                <a:cubicBezTo>
                  <a:pt x="0" y="60"/>
                  <a:pt x="4" y="65"/>
                  <a:pt x="14" y="65"/>
                </a:cubicBezTo>
                <a:cubicBezTo>
                  <a:pt x="100" y="65"/>
                  <a:pt x="100" y="65"/>
                  <a:pt x="100" y="65"/>
                </a:cubicBezTo>
                <a:cubicBezTo>
                  <a:pt x="96" y="68"/>
                  <a:pt x="93" y="71"/>
                  <a:pt x="90" y="74"/>
                </a:cubicBezTo>
                <a:cubicBezTo>
                  <a:pt x="83" y="80"/>
                  <a:pt x="81" y="85"/>
                  <a:pt x="86" y="92"/>
                </a:cubicBezTo>
                <a:cubicBezTo>
                  <a:pt x="94" y="103"/>
                  <a:pt x="102" y="95"/>
                  <a:pt x="102" y="95"/>
                </a:cubicBezTo>
                <a:cubicBezTo>
                  <a:pt x="108" y="90"/>
                  <a:pt x="108" y="90"/>
                  <a:pt x="108" y="90"/>
                </a:cubicBezTo>
                <a:cubicBezTo>
                  <a:pt x="132" y="68"/>
                  <a:pt x="132" y="68"/>
                  <a:pt x="132" y="68"/>
                </a:cubicBezTo>
                <a:cubicBezTo>
                  <a:pt x="135" y="66"/>
                  <a:pt x="137" y="64"/>
                  <a:pt x="138" y="62"/>
                </a:cubicBezTo>
                <a:cubicBezTo>
                  <a:pt x="140" y="59"/>
                  <a:pt x="141" y="56"/>
                  <a:pt x="141" y="52"/>
                </a:cubicBezTo>
                <a:cubicBezTo>
                  <a:pt x="141" y="48"/>
                  <a:pt x="140" y="44"/>
                  <a:pt x="138" y="42"/>
                </a:cubicBezTo>
                <a:cubicBezTo>
                  <a:pt x="137" y="39"/>
                  <a:pt x="135" y="38"/>
                  <a:pt x="132" y="35"/>
                </a:cubicBezTo>
                <a:close/>
                <a:moveTo>
                  <a:pt x="141" y="52"/>
                </a:moveTo>
                <a:cubicBezTo>
                  <a:pt x="141" y="52"/>
                  <a:pt x="141" y="52"/>
                  <a:pt x="141" y="52"/>
                </a:cubicBezTo>
                <a:cubicBezTo>
                  <a:pt x="141" y="52"/>
                  <a:pt x="141" y="52"/>
                  <a:pt x="141" y="52"/>
                </a:cubicBezTo>
                <a:cubicBezTo>
                  <a:pt x="141" y="52"/>
                  <a:pt x="141" y="52"/>
                  <a:pt x="141" y="5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49" name="Freeform 25"/>
          <p:cNvSpPr>
            <a:spLocks/>
          </p:cNvSpPr>
          <p:nvPr userDrawn="1"/>
        </p:nvSpPr>
        <p:spPr bwMode="auto">
          <a:xfrm>
            <a:off x="1184981" y="4496991"/>
            <a:ext cx="128621" cy="110728"/>
          </a:xfrm>
          <a:custGeom>
            <a:avLst/>
            <a:gdLst/>
            <a:ahLst/>
            <a:cxnLst>
              <a:cxn ang="0">
                <a:pos x="143" y="34"/>
              </a:cxn>
              <a:cxn ang="0">
                <a:pos x="138" y="30"/>
              </a:cxn>
              <a:cxn ang="0">
                <a:pos x="118" y="8"/>
              </a:cxn>
              <a:cxn ang="0">
                <a:pos x="112" y="2"/>
              </a:cxn>
              <a:cxn ang="0">
                <a:pos x="103" y="0"/>
              </a:cxn>
              <a:cxn ang="0">
                <a:pos x="94" y="2"/>
              </a:cxn>
              <a:cxn ang="0">
                <a:pos x="88" y="8"/>
              </a:cxn>
              <a:cxn ang="0">
                <a:pos x="69" y="30"/>
              </a:cxn>
              <a:cxn ang="0">
                <a:pos x="64" y="35"/>
              </a:cxn>
              <a:cxn ang="0">
                <a:pos x="67" y="49"/>
              </a:cxn>
              <a:cxn ang="0">
                <a:pos x="84" y="45"/>
              </a:cxn>
              <a:cxn ang="0">
                <a:pos x="91" y="37"/>
              </a:cxn>
              <a:cxn ang="0">
                <a:pos x="90" y="58"/>
              </a:cxn>
              <a:cxn ang="0">
                <a:pos x="82" y="79"/>
              </a:cxn>
              <a:cxn ang="0">
                <a:pos x="22" y="89"/>
              </a:cxn>
              <a:cxn ang="0">
                <a:pos x="4" y="92"/>
              </a:cxn>
              <a:cxn ang="0">
                <a:pos x="7" y="110"/>
              </a:cxn>
              <a:cxn ang="0">
                <a:pos x="104" y="94"/>
              </a:cxn>
              <a:cxn ang="0">
                <a:pos x="116" y="64"/>
              </a:cxn>
              <a:cxn ang="0">
                <a:pos x="117" y="37"/>
              </a:cxn>
              <a:cxn ang="0">
                <a:pos x="124" y="45"/>
              </a:cxn>
              <a:cxn ang="0">
                <a:pos x="140" y="49"/>
              </a:cxn>
              <a:cxn ang="0">
                <a:pos x="143" y="34"/>
              </a:cxn>
            </a:cxnLst>
            <a:rect l="0" t="0" r="r" b="b"/>
            <a:pathLst>
              <a:path w="150" h="132">
                <a:moveTo>
                  <a:pt x="143" y="34"/>
                </a:moveTo>
                <a:cubicBezTo>
                  <a:pt x="138" y="30"/>
                  <a:pt x="138" y="30"/>
                  <a:pt x="138" y="30"/>
                </a:cubicBezTo>
                <a:cubicBezTo>
                  <a:pt x="118" y="8"/>
                  <a:pt x="118" y="8"/>
                  <a:pt x="118" y="8"/>
                </a:cubicBezTo>
                <a:cubicBezTo>
                  <a:pt x="116" y="5"/>
                  <a:pt x="114" y="3"/>
                  <a:pt x="112" y="2"/>
                </a:cubicBezTo>
                <a:cubicBezTo>
                  <a:pt x="110" y="0"/>
                  <a:pt x="107" y="0"/>
                  <a:pt x="103" y="0"/>
                </a:cubicBezTo>
                <a:cubicBezTo>
                  <a:pt x="99" y="0"/>
                  <a:pt x="96" y="0"/>
                  <a:pt x="94" y="2"/>
                </a:cubicBezTo>
                <a:cubicBezTo>
                  <a:pt x="92" y="4"/>
                  <a:pt x="90" y="6"/>
                  <a:pt x="88" y="8"/>
                </a:cubicBezTo>
                <a:cubicBezTo>
                  <a:pt x="69" y="30"/>
                  <a:pt x="69" y="30"/>
                  <a:pt x="69" y="30"/>
                </a:cubicBezTo>
                <a:cubicBezTo>
                  <a:pt x="64" y="35"/>
                  <a:pt x="64" y="35"/>
                  <a:pt x="64" y="35"/>
                </a:cubicBezTo>
                <a:cubicBezTo>
                  <a:pt x="64" y="35"/>
                  <a:pt x="58" y="42"/>
                  <a:pt x="67" y="49"/>
                </a:cubicBezTo>
                <a:cubicBezTo>
                  <a:pt x="74" y="54"/>
                  <a:pt x="78" y="52"/>
                  <a:pt x="84" y="45"/>
                </a:cubicBezTo>
                <a:cubicBezTo>
                  <a:pt x="86" y="43"/>
                  <a:pt x="88" y="40"/>
                  <a:pt x="91" y="37"/>
                </a:cubicBezTo>
                <a:cubicBezTo>
                  <a:pt x="91" y="47"/>
                  <a:pt x="90" y="58"/>
                  <a:pt x="90" y="58"/>
                </a:cubicBezTo>
                <a:cubicBezTo>
                  <a:pt x="89" y="65"/>
                  <a:pt x="87" y="72"/>
                  <a:pt x="82" y="79"/>
                </a:cubicBezTo>
                <a:cubicBezTo>
                  <a:pt x="69" y="98"/>
                  <a:pt x="42" y="102"/>
                  <a:pt x="22" y="89"/>
                </a:cubicBezTo>
                <a:cubicBezTo>
                  <a:pt x="17" y="84"/>
                  <a:pt x="8" y="86"/>
                  <a:pt x="4" y="92"/>
                </a:cubicBezTo>
                <a:cubicBezTo>
                  <a:pt x="0" y="98"/>
                  <a:pt x="1" y="106"/>
                  <a:pt x="7" y="110"/>
                </a:cubicBezTo>
                <a:cubicBezTo>
                  <a:pt x="38" y="132"/>
                  <a:pt x="82" y="125"/>
                  <a:pt x="104" y="94"/>
                </a:cubicBezTo>
                <a:cubicBezTo>
                  <a:pt x="111" y="85"/>
                  <a:pt x="115" y="75"/>
                  <a:pt x="116" y="64"/>
                </a:cubicBezTo>
                <a:cubicBezTo>
                  <a:pt x="116" y="64"/>
                  <a:pt x="118" y="49"/>
                  <a:pt x="117" y="37"/>
                </a:cubicBezTo>
                <a:cubicBezTo>
                  <a:pt x="119" y="40"/>
                  <a:pt x="121" y="42"/>
                  <a:pt x="124" y="45"/>
                </a:cubicBezTo>
                <a:cubicBezTo>
                  <a:pt x="129" y="52"/>
                  <a:pt x="134" y="54"/>
                  <a:pt x="140" y="49"/>
                </a:cubicBezTo>
                <a:cubicBezTo>
                  <a:pt x="150" y="42"/>
                  <a:pt x="143" y="34"/>
                  <a:pt x="143" y="3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53" name="Freeform 29"/>
          <p:cNvSpPr>
            <a:spLocks/>
          </p:cNvSpPr>
          <p:nvPr userDrawn="1"/>
        </p:nvSpPr>
        <p:spPr bwMode="auto">
          <a:xfrm>
            <a:off x="1441032" y="4487466"/>
            <a:ext cx="128621" cy="113110"/>
          </a:xfrm>
          <a:custGeom>
            <a:avLst/>
            <a:gdLst/>
            <a:ahLst/>
            <a:cxnLst>
              <a:cxn ang="0">
                <a:pos x="140" y="84"/>
              </a:cxn>
              <a:cxn ang="0">
                <a:pos x="124" y="87"/>
              </a:cxn>
              <a:cxn ang="0">
                <a:pos x="117" y="96"/>
              </a:cxn>
              <a:cxn ang="0">
                <a:pos x="116" y="68"/>
              </a:cxn>
              <a:cxn ang="0">
                <a:pos x="104" y="38"/>
              </a:cxn>
              <a:cxn ang="0">
                <a:pos x="7" y="23"/>
              </a:cxn>
              <a:cxn ang="0">
                <a:pos x="4" y="41"/>
              </a:cxn>
              <a:cxn ang="0">
                <a:pos x="22" y="44"/>
              </a:cxn>
              <a:cxn ang="0">
                <a:pos x="82" y="54"/>
              </a:cxn>
              <a:cxn ang="0">
                <a:pos x="90" y="75"/>
              </a:cxn>
              <a:cxn ang="0">
                <a:pos x="91" y="96"/>
              </a:cxn>
              <a:cxn ang="0">
                <a:pos x="84" y="87"/>
              </a:cxn>
              <a:cxn ang="0">
                <a:pos x="67" y="84"/>
              </a:cxn>
              <a:cxn ang="0">
                <a:pos x="64" y="98"/>
              </a:cxn>
              <a:cxn ang="0">
                <a:pos x="69" y="103"/>
              </a:cxn>
              <a:cxn ang="0">
                <a:pos x="88" y="125"/>
              </a:cxn>
              <a:cxn ang="0">
                <a:pos x="94" y="131"/>
              </a:cxn>
              <a:cxn ang="0">
                <a:pos x="103" y="133"/>
              </a:cxn>
              <a:cxn ang="0">
                <a:pos x="112" y="131"/>
              </a:cxn>
              <a:cxn ang="0">
                <a:pos x="118" y="125"/>
              </a:cxn>
              <a:cxn ang="0">
                <a:pos x="138" y="103"/>
              </a:cxn>
              <a:cxn ang="0">
                <a:pos x="143" y="98"/>
              </a:cxn>
              <a:cxn ang="0">
                <a:pos x="140" y="84"/>
              </a:cxn>
            </a:cxnLst>
            <a:rect l="0" t="0" r="r" b="b"/>
            <a:pathLst>
              <a:path w="150" h="133">
                <a:moveTo>
                  <a:pt x="140" y="84"/>
                </a:moveTo>
                <a:cubicBezTo>
                  <a:pt x="134" y="79"/>
                  <a:pt x="129" y="81"/>
                  <a:pt x="124" y="87"/>
                </a:cubicBezTo>
                <a:cubicBezTo>
                  <a:pt x="121" y="90"/>
                  <a:pt x="119" y="93"/>
                  <a:pt x="117" y="96"/>
                </a:cubicBezTo>
                <a:cubicBezTo>
                  <a:pt x="118" y="83"/>
                  <a:pt x="116" y="68"/>
                  <a:pt x="116" y="68"/>
                </a:cubicBezTo>
                <a:cubicBezTo>
                  <a:pt x="115" y="58"/>
                  <a:pt x="111" y="48"/>
                  <a:pt x="104" y="38"/>
                </a:cubicBezTo>
                <a:cubicBezTo>
                  <a:pt x="82" y="7"/>
                  <a:pt x="38" y="0"/>
                  <a:pt x="7" y="23"/>
                </a:cubicBezTo>
                <a:cubicBezTo>
                  <a:pt x="1" y="27"/>
                  <a:pt x="0" y="35"/>
                  <a:pt x="4" y="41"/>
                </a:cubicBezTo>
                <a:cubicBezTo>
                  <a:pt x="8" y="47"/>
                  <a:pt x="17" y="48"/>
                  <a:pt x="22" y="44"/>
                </a:cubicBezTo>
                <a:cubicBezTo>
                  <a:pt x="42" y="30"/>
                  <a:pt x="69" y="35"/>
                  <a:pt x="82" y="54"/>
                </a:cubicBezTo>
                <a:cubicBezTo>
                  <a:pt x="87" y="60"/>
                  <a:pt x="89" y="67"/>
                  <a:pt x="90" y="75"/>
                </a:cubicBezTo>
                <a:cubicBezTo>
                  <a:pt x="90" y="75"/>
                  <a:pt x="91" y="86"/>
                  <a:pt x="91" y="96"/>
                </a:cubicBezTo>
                <a:cubicBezTo>
                  <a:pt x="88" y="93"/>
                  <a:pt x="86" y="90"/>
                  <a:pt x="84" y="87"/>
                </a:cubicBezTo>
                <a:cubicBezTo>
                  <a:pt x="78" y="81"/>
                  <a:pt x="74" y="79"/>
                  <a:pt x="67" y="84"/>
                </a:cubicBezTo>
                <a:cubicBezTo>
                  <a:pt x="58" y="91"/>
                  <a:pt x="64" y="98"/>
                  <a:pt x="64" y="98"/>
                </a:cubicBezTo>
                <a:cubicBezTo>
                  <a:pt x="69" y="103"/>
                  <a:pt x="69" y="103"/>
                  <a:pt x="69" y="103"/>
                </a:cubicBezTo>
                <a:cubicBezTo>
                  <a:pt x="88" y="125"/>
                  <a:pt x="88" y="125"/>
                  <a:pt x="88" y="125"/>
                </a:cubicBezTo>
                <a:cubicBezTo>
                  <a:pt x="90" y="127"/>
                  <a:pt x="92" y="129"/>
                  <a:pt x="94" y="131"/>
                </a:cubicBezTo>
                <a:cubicBezTo>
                  <a:pt x="96" y="132"/>
                  <a:pt x="99" y="133"/>
                  <a:pt x="103" y="133"/>
                </a:cubicBezTo>
                <a:cubicBezTo>
                  <a:pt x="107" y="133"/>
                  <a:pt x="110" y="132"/>
                  <a:pt x="112" y="131"/>
                </a:cubicBezTo>
                <a:cubicBezTo>
                  <a:pt x="114" y="129"/>
                  <a:pt x="116" y="127"/>
                  <a:pt x="118" y="125"/>
                </a:cubicBezTo>
                <a:cubicBezTo>
                  <a:pt x="138" y="103"/>
                  <a:pt x="138" y="103"/>
                  <a:pt x="138" y="103"/>
                </a:cubicBezTo>
                <a:cubicBezTo>
                  <a:pt x="143" y="98"/>
                  <a:pt x="143" y="98"/>
                  <a:pt x="143" y="98"/>
                </a:cubicBezTo>
                <a:cubicBezTo>
                  <a:pt x="143" y="98"/>
                  <a:pt x="150" y="91"/>
                  <a:pt x="140" y="8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grpSp>
        <p:nvGrpSpPr>
          <p:cNvPr id="83" name="Group 32"/>
          <p:cNvGrpSpPr>
            <a:grpSpLocks noChangeAspect="1"/>
          </p:cNvGrpSpPr>
          <p:nvPr userDrawn="1"/>
        </p:nvGrpSpPr>
        <p:grpSpPr bwMode="auto">
          <a:xfrm>
            <a:off x="1697083" y="4511282"/>
            <a:ext cx="107184" cy="72629"/>
            <a:chOff x="1425" y="3789"/>
            <a:chExt cx="90" cy="61"/>
          </a:xfrm>
          <a:solidFill>
            <a:schemeClr val="bg1"/>
          </a:solidFill>
        </p:grpSpPr>
        <p:sp>
          <p:nvSpPr>
            <p:cNvPr id="1057" name="Freeform 33"/>
            <p:cNvSpPr>
              <a:spLocks/>
            </p:cNvSpPr>
            <p:nvPr userDrawn="1"/>
          </p:nvSpPr>
          <p:spPr bwMode="auto">
            <a:xfrm>
              <a:off x="1425" y="3789"/>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8" name="Freeform 34"/>
            <p:cNvSpPr>
              <a:spLocks/>
            </p:cNvSpPr>
            <p:nvPr userDrawn="1"/>
          </p:nvSpPr>
          <p:spPr bwMode="auto">
            <a:xfrm>
              <a:off x="1425" y="3830"/>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62" name="Freeform 38"/>
          <p:cNvSpPr>
            <a:spLocks/>
          </p:cNvSpPr>
          <p:nvPr userDrawn="1"/>
        </p:nvSpPr>
        <p:spPr bwMode="auto">
          <a:xfrm>
            <a:off x="1938842" y="4536281"/>
            <a:ext cx="105994" cy="23813"/>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3"/>
                  <a:pt x="0" y="15"/>
                </a:cubicBezTo>
                <a:cubicBezTo>
                  <a:pt x="0" y="13"/>
                  <a:pt x="0" y="13"/>
                  <a:pt x="0" y="13"/>
                </a:cubicBezTo>
                <a:cubicBezTo>
                  <a:pt x="0" y="6"/>
                  <a:pt x="5" y="0"/>
                  <a:pt x="16" y="0"/>
                </a:cubicBezTo>
                <a:cubicBezTo>
                  <a:pt x="49" y="0"/>
                  <a:pt x="49" y="0"/>
                  <a:pt x="49" y="0"/>
                </a:cubicBezTo>
                <a:cubicBezTo>
                  <a:pt x="78" y="0"/>
                  <a:pt x="78" y="0"/>
                  <a:pt x="78" y="0"/>
                </a:cubicBezTo>
                <a:cubicBezTo>
                  <a:pt x="111" y="0"/>
                  <a:pt x="111" y="0"/>
                  <a:pt x="111" y="0"/>
                </a:cubicBezTo>
                <a:cubicBezTo>
                  <a:pt x="122" y="0"/>
                  <a:pt x="126" y="6"/>
                  <a:pt x="126" y="13"/>
                </a:cubicBezTo>
                <a:cubicBezTo>
                  <a:pt x="126" y="15"/>
                  <a:pt x="126" y="15"/>
                  <a:pt x="126" y="15"/>
                </a:cubicBezTo>
                <a:cubicBezTo>
                  <a:pt x="126" y="23"/>
                  <a:pt x="122" y="28"/>
                  <a:pt x="111" y="28"/>
                </a:cubicBezTo>
                <a:cubicBezTo>
                  <a:pt x="78" y="28"/>
                  <a:pt x="78" y="28"/>
                  <a:pt x="78" y="28"/>
                </a:cubicBezTo>
                <a:lnTo>
                  <a:pt x="49" y="28"/>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66" name="Freeform 42"/>
          <p:cNvSpPr>
            <a:spLocks/>
          </p:cNvSpPr>
          <p:nvPr userDrawn="1"/>
        </p:nvSpPr>
        <p:spPr bwMode="auto">
          <a:xfrm>
            <a:off x="2177030" y="4494610"/>
            <a:ext cx="107184" cy="108347"/>
          </a:xfrm>
          <a:custGeom>
            <a:avLst/>
            <a:gdLst/>
            <a:ahLst/>
            <a:cxnLst>
              <a:cxn ang="0">
                <a:pos x="16" y="76"/>
              </a:cxn>
              <a:cxn ang="0">
                <a:pos x="0" y="63"/>
              </a:cxn>
              <a:cxn ang="0">
                <a:pos x="0" y="61"/>
              </a:cxn>
              <a:cxn ang="0">
                <a:pos x="16" y="49"/>
              </a:cxn>
              <a:cxn ang="0">
                <a:pos x="49" y="49"/>
              </a:cxn>
              <a:cxn ang="0">
                <a:pos x="49" y="15"/>
              </a:cxn>
              <a:cxn ang="0">
                <a:pos x="62" y="0"/>
              </a:cxn>
              <a:cxn ang="0">
                <a:pos x="65" y="0"/>
              </a:cxn>
              <a:cxn ang="0">
                <a:pos x="78" y="15"/>
              </a:cxn>
              <a:cxn ang="0">
                <a:pos x="78" y="49"/>
              </a:cxn>
              <a:cxn ang="0">
                <a:pos x="111" y="49"/>
              </a:cxn>
              <a:cxn ang="0">
                <a:pos x="126" y="61"/>
              </a:cxn>
              <a:cxn ang="0">
                <a:pos x="126" y="63"/>
              </a:cxn>
              <a:cxn ang="0">
                <a:pos x="111" y="76"/>
              </a:cxn>
              <a:cxn ang="0">
                <a:pos x="78" y="76"/>
              </a:cxn>
              <a:cxn ang="0">
                <a:pos x="78" y="112"/>
              </a:cxn>
              <a:cxn ang="0">
                <a:pos x="65" y="127"/>
              </a:cxn>
              <a:cxn ang="0">
                <a:pos x="62" y="127"/>
              </a:cxn>
              <a:cxn ang="0">
                <a:pos x="49" y="112"/>
              </a:cxn>
              <a:cxn ang="0">
                <a:pos x="49" y="76"/>
              </a:cxn>
              <a:cxn ang="0">
                <a:pos x="16" y="76"/>
              </a:cxn>
            </a:cxnLst>
            <a:rect l="0" t="0" r="r" b="b"/>
            <a:pathLst>
              <a:path w="126" h="127">
                <a:moveTo>
                  <a:pt x="16" y="76"/>
                </a:moveTo>
                <a:cubicBezTo>
                  <a:pt x="5" y="76"/>
                  <a:pt x="0" y="71"/>
                  <a:pt x="0" y="63"/>
                </a:cubicBezTo>
                <a:cubicBezTo>
                  <a:pt x="0" y="61"/>
                  <a:pt x="0" y="61"/>
                  <a:pt x="0" y="61"/>
                </a:cubicBezTo>
                <a:cubicBezTo>
                  <a:pt x="0" y="54"/>
                  <a:pt x="5" y="49"/>
                  <a:pt x="16" y="49"/>
                </a:cubicBezTo>
                <a:cubicBezTo>
                  <a:pt x="49" y="49"/>
                  <a:pt x="49" y="49"/>
                  <a:pt x="49" y="49"/>
                </a:cubicBezTo>
                <a:cubicBezTo>
                  <a:pt x="49" y="15"/>
                  <a:pt x="49" y="15"/>
                  <a:pt x="49" y="15"/>
                </a:cubicBezTo>
                <a:cubicBezTo>
                  <a:pt x="49" y="4"/>
                  <a:pt x="54" y="0"/>
                  <a:pt x="62" y="0"/>
                </a:cubicBezTo>
                <a:cubicBezTo>
                  <a:pt x="65" y="0"/>
                  <a:pt x="65" y="0"/>
                  <a:pt x="65" y="0"/>
                </a:cubicBezTo>
                <a:cubicBezTo>
                  <a:pt x="72" y="0"/>
                  <a:pt x="78" y="4"/>
                  <a:pt x="78" y="15"/>
                </a:cubicBezTo>
                <a:cubicBezTo>
                  <a:pt x="78" y="49"/>
                  <a:pt x="78" y="49"/>
                  <a:pt x="78" y="49"/>
                </a:cubicBezTo>
                <a:cubicBezTo>
                  <a:pt x="111" y="49"/>
                  <a:pt x="111" y="49"/>
                  <a:pt x="111" y="49"/>
                </a:cubicBezTo>
                <a:cubicBezTo>
                  <a:pt x="122" y="49"/>
                  <a:pt x="126" y="54"/>
                  <a:pt x="126" y="61"/>
                </a:cubicBezTo>
                <a:cubicBezTo>
                  <a:pt x="126" y="63"/>
                  <a:pt x="126" y="63"/>
                  <a:pt x="126" y="63"/>
                </a:cubicBezTo>
                <a:cubicBezTo>
                  <a:pt x="126" y="71"/>
                  <a:pt x="122" y="76"/>
                  <a:pt x="111" y="76"/>
                </a:cubicBezTo>
                <a:cubicBezTo>
                  <a:pt x="78" y="76"/>
                  <a:pt x="78" y="76"/>
                  <a:pt x="78" y="76"/>
                </a:cubicBezTo>
                <a:cubicBezTo>
                  <a:pt x="78" y="112"/>
                  <a:pt x="78" y="112"/>
                  <a:pt x="78" y="112"/>
                </a:cubicBezTo>
                <a:cubicBezTo>
                  <a:pt x="78" y="122"/>
                  <a:pt x="72" y="127"/>
                  <a:pt x="65" y="127"/>
                </a:cubicBezTo>
                <a:cubicBezTo>
                  <a:pt x="62" y="127"/>
                  <a:pt x="62" y="127"/>
                  <a:pt x="62" y="127"/>
                </a:cubicBezTo>
                <a:cubicBezTo>
                  <a:pt x="54" y="127"/>
                  <a:pt x="49" y="122"/>
                  <a:pt x="49" y="112"/>
                </a:cubicBezTo>
                <a:cubicBezTo>
                  <a:pt x="49" y="76"/>
                  <a:pt x="49" y="76"/>
                  <a:pt x="49" y="76"/>
                </a:cubicBezTo>
                <a:lnTo>
                  <a:pt x="16" y="76"/>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grpSp>
        <p:nvGrpSpPr>
          <p:cNvPr id="84" name="Group 45"/>
          <p:cNvGrpSpPr>
            <a:grpSpLocks noChangeAspect="1"/>
          </p:cNvGrpSpPr>
          <p:nvPr userDrawn="1"/>
        </p:nvGrpSpPr>
        <p:grpSpPr bwMode="auto">
          <a:xfrm>
            <a:off x="2417598" y="4499370"/>
            <a:ext cx="101229" cy="98822"/>
            <a:chOff x="2030" y="3779"/>
            <a:chExt cx="85" cy="83"/>
          </a:xfrm>
          <a:solidFill>
            <a:schemeClr val="bg1"/>
          </a:solidFill>
        </p:grpSpPr>
        <p:sp>
          <p:nvSpPr>
            <p:cNvPr id="1070" name="Freeform 46"/>
            <p:cNvSpPr>
              <a:spLocks noEditPoints="1"/>
            </p:cNvSpPr>
            <p:nvPr userDrawn="1"/>
          </p:nvSpPr>
          <p:spPr bwMode="auto">
            <a:xfrm>
              <a:off x="2030" y="3780"/>
              <a:ext cx="85" cy="82"/>
            </a:xfrm>
            <a:custGeom>
              <a:avLst/>
              <a:gdLst/>
              <a:ahLst/>
              <a:cxnLst>
                <a:cxn ang="0">
                  <a:pos x="28" y="54"/>
                </a:cxn>
                <a:cxn ang="0">
                  <a:pos x="16" y="52"/>
                </a:cxn>
                <a:cxn ang="0">
                  <a:pos x="7" y="46"/>
                </a:cxn>
                <a:cxn ang="0">
                  <a:pos x="2" y="38"/>
                </a:cxn>
                <a:cxn ang="0">
                  <a:pos x="0" y="27"/>
                </a:cxn>
                <a:cxn ang="0">
                  <a:pos x="0" y="26"/>
                </a:cxn>
                <a:cxn ang="0">
                  <a:pos x="2" y="15"/>
                </a:cxn>
                <a:cxn ang="0">
                  <a:pos x="8" y="7"/>
                </a:cxn>
                <a:cxn ang="0">
                  <a:pos x="16" y="2"/>
                </a:cxn>
                <a:cxn ang="0">
                  <a:pos x="28" y="0"/>
                </a:cxn>
                <a:cxn ang="0">
                  <a:pos x="39" y="2"/>
                </a:cxn>
                <a:cxn ang="0">
                  <a:pos x="48" y="7"/>
                </a:cxn>
                <a:cxn ang="0">
                  <a:pos x="53" y="15"/>
                </a:cxn>
                <a:cxn ang="0">
                  <a:pos x="55" y="26"/>
                </a:cxn>
                <a:cxn ang="0">
                  <a:pos x="55" y="27"/>
                </a:cxn>
                <a:cxn ang="0">
                  <a:pos x="53" y="38"/>
                </a:cxn>
                <a:cxn ang="0">
                  <a:pos x="48" y="46"/>
                </a:cxn>
                <a:cxn ang="0">
                  <a:pos x="39" y="52"/>
                </a:cxn>
                <a:cxn ang="0">
                  <a:pos x="28" y="54"/>
                </a:cxn>
                <a:cxn ang="0">
                  <a:pos x="28" y="41"/>
                </a:cxn>
                <a:cxn ang="0">
                  <a:pos x="36" y="37"/>
                </a:cxn>
                <a:cxn ang="0">
                  <a:pos x="39" y="28"/>
                </a:cxn>
                <a:cxn ang="0">
                  <a:pos x="39" y="25"/>
                </a:cxn>
                <a:cxn ang="0">
                  <a:pos x="36" y="16"/>
                </a:cxn>
                <a:cxn ang="0">
                  <a:pos x="28" y="13"/>
                </a:cxn>
                <a:cxn ang="0">
                  <a:pos x="19" y="16"/>
                </a:cxn>
                <a:cxn ang="0">
                  <a:pos x="16" y="25"/>
                </a:cxn>
                <a:cxn ang="0">
                  <a:pos x="16" y="28"/>
                </a:cxn>
                <a:cxn ang="0">
                  <a:pos x="20" y="37"/>
                </a:cxn>
                <a:cxn ang="0">
                  <a:pos x="28" y="41"/>
                </a:cxn>
                <a:cxn ang="0">
                  <a:pos x="91" y="113"/>
                </a:cxn>
                <a:cxn ang="0">
                  <a:pos x="80" y="111"/>
                </a:cxn>
                <a:cxn ang="0">
                  <a:pos x="71" y="106"/>
                </a:cxn>
                <a:cxn ang="0">
                  <a:pos x="65" y="97"/>
                </a:cxn>
                <a:cxn ang="0">
                  <a:pos x="63" y="87"/>
                </a:cxn>
                <a:cxn ang="0">
                  <a:pos x="63" y="85"/>
                </a:cxn>
                <a:cxn ang="0">
                  <a:pos x="65" y="75"/>
                </a:cxn>
                <a:cxn ang="0">
                  <a:pos x="71" y="66"/>
                </a:cxn>
                <a:cxn ang="0">
                  <a:pos x="80" y="61"/>
                </a:cxn>
                <a:cxn ang="0">
                  <a:pos x="91" y="59"/>
                </a:cxn>
                <a:cxn ang="0">
                  <a:pos x="102" y="61"/>
                </a:cxn>
                <a:cxn ang="0">
                  <a:pos x="111" y="66"/>
                </a:cxn>
                <a:cxn ang="0">
                  <a:pos x="117" y="75"/>
                </a:cxn>
                <a:cxn ang="0">
                  <a:pos x="119" y="85"/>
                </a:cxn>
                <a:cxn ang="0">
                  <a:pos x="119" y="87"/>
                </a:cxn>
                <a:cxn ang="0">
                  <a:pos x="117" y="97"/>
                </a:cxn>
                <a:cxn ang="0">
                  <a:pos x="111" y="106"/>
                </a:cxn>
                <a:cxn ang="0">
                  <a:pos x="102" y="111"/>
                </a:cxn>
                <a:cxn ang="0">
                  <a:pos x="91" y="113"/>
                </a:cxn>
                <a:cxn ang="0">
                  <a:pos x="91" y="100"/>
                </a:cxn>
                <a:cxn ang="0">
                  <a:pos x="99" y="96"/>
                </a:cxn>
                <a:cxn ang="0">
                  <a:pos x="102" y="87"/>
                </a:cxn>
                <a:cxn ang="0">
                  <a:pos x="102" y="85"/>
                </a:cxn>
                <a:cxn ang="0">
                  <a:pos x="99" y="75"/>
                </a:cxn>
                <a:cxn ang="0">
                  <a:pos x="91" y="72"/>
                </a:cxn>
                <a:cxn ang="0">
                  <a:pos x="83" y="75"/>
                </a:cxn>
                <a:cxn ang="0">
                  <a:pos x="80" y="85"/>
                </a:cxn>
                <a:cxn ang="0">
                  <a:pos x="80" y="87"/>
                </a:cxn>
                <a:cxn ang="0">
                  <a:pos x="83" y="96"/>
                </a:cxn>
                <a:cxn ang="0">
                  <a:pos x="91" y="100"/>
                </a:cxn>
              </a:cxnLst>
              <a:rect l="0" t="0" r="r" b="b"/>
              <a:pathLst>
                <a:path w="119" h="113">
                  <a:moveTo>
                    <a:pt x="28" y="54"/>
                  </a:moveTo>
                  <a:cubicBezTo>
                    <a:pt x="23" y="54"/>
                    <a:pt x="20" y="53"/>
                    <a:pt x="16" y="52"/>
                  </a:cubicBezTo>
                  <a:cubicBezTo>
                    <a:pt x="13" y="50"/>
                    <a:pt x="10" y="49"/>
                    <a:pt x="7" y="46"/>
                  </a:cubicBezTo>
                  <a:cubicBezTo>
                    <a:pt x="5" y="44"/>
                    <a:pt x="3" y="41"/>
                    <a:pt x="2" y="38"/>
                  </a:cubicBezTo>
                  <a:cubicBezTo>
                    <a:pt x="0" y="35"/>
                    <a:pt x="0" y="31"/>
                    <a:pt x="0" y="27"/>
                  </a:cubicBezTo>
                  <a:cubicBezTo>
                    <a:pt x="0" y="26"/>
                    <a:pt x="0" y="26"/>
                    <a:pt x="0" y="26"/>
                  </a:cubicBezTo>
                  <a:cubicBezTo>
                    <a:pt x="0" y="22"/>
                    <a:pt x="0" y="19"/>
                    <a:pt x="2" y="15"/>
                  </a:cubicBezTo>
                  <a:cubicBezTo>
                    <a:pt x="3" y="12"/>
                    <a:pt x="5" y="9"/>
                    <a:pt x="8" y="7"/>
                  </a:cubicBezTo>
                  <a:cubicBezTo>
                    <a:pt x="10" y="5"/>
                    <a:pt x="13" y="3"/>
                    <a:pt x="16" y="2"/>
                  </a:cubicBezTo>
                  <a:cubicBezTo>
                    <a:pt x="20" y="0"/>
                    <a:pt x="24" y="0"/>
                    <a:pt x="28" y="0"/>
                  </a:cubicBezTo>
                  <a:cubicBezTo>
                    <a:pt x="32" y="0"/>
                    <a:pt x="36" y="0"/>
                    <a:pt x="39" y="2"/>
                  </a:cubicBezTo>
                  <a:cubicBezTo>
                    <a:pt x="42" y="3"/>
                    <a:pt x="45" y="5"/>
                    <a:pt x="48" y="7"/>
                  </a:cubicBezTo>
                  <a:cubicBezTo>
                    <a:pt x="50" y="9"/>
                    <a:pt x="52" y="12"/>
                    <a:pt x="53" y="15"/>
                  </a:cubicBezTo>
                  <a:cubicBezTo>
                    <a:pt x="55" y="19"/>
                    <a:pt x="55" y="22"/>
                    <a:pt x="55" y="26"/>
                  </a:cubicBezTo>
                  <a:cubicBezTo>
                    <a:pt x="55" y="27"/>
                    <a:pt x="55" y="27"/>
                    <a:pt x="55" y="27"/>
                  </a:cubicBezTo>
                  <a:cubicBezTo>
                    <a:pt x="55" y="31"/>
                    <a:pt x="55" y="35"/>
                    <a:pt x="53" y="38"/>
                  </a:cubicBezTo>
                  <a:cubicBezTo>
                    <a:pt x="52" y="41"/>
                    <a:pt x="50" y="44"/>
                    <a:pt x="48" y="46"/>
                  </a:cubicBezTo>
                  <a:cubicBezTo>
                    <a:pt x="45" y="49"/>
                    <a:pt x="42" y="50"/>
                    <a:pt x="39" y="52"/>
                  </a:cubicBezTo>
                  <a:cubicBezTo>
                    <a:pt x="35" y="53"/>
                    <a:pt x="32" y="54"/>
                    <a:pt x="28" y="54"/>
                  </a:cubicBezTo>
                  <a:close/>
                  <a:moveTo>
                    <a:pt x="28" y="41"/>
                  </a:moveTo>
                  <a:cubicBezTo>
                    <a:pt x="31" y="41"/>
                    <a:pt x="34" y="39"/>
                    <a:pt x="36" y="37"/>
                  </a:cubicBezTo>
                  <a:cubicBezTo>
                    <a:pt x="38" y="35"/>
                    <a:pt x="39" y="32"/>
                    <a:pt x="39" y="28"/>
                  </a:cubicBezTo>
                  <a:cubicBezTo>
                    <a:pt x="39" y="25"/>
                    <a:pt x="39" y="25"/>
                    <a:pt x="39" y="25"/>
                  </a:cubicBezTo>
                  <a:cubicBezTo>
                    <a:pt x="39" y="21"/>
                    <a:pt x="38" y="18"/>
                    <a:pt x="36" y="16"/>
                  </a:cubicBezTo>
                  <a:cubicBezTo>
                    <a:pt x="34" y="14"/>
                    <a:pt x="31" y="13"/>
                    <a:pt x="28" y="13"/>
                  </a:cubicBezTo>
                  <a:cubicBezTo>
                    <a:pt x="24" y="13"/>
                    <a:pt x="22" y="14"/>
                    <a:pt x="19" y="16"/>
                  </a:cubicBezTo>
                  <a:cubicBezTo>
                    <a:pt x="17" y="18"/>
                    <a:pt x="16" y="21"/>
                    <a:pt x="16" y="25"/>
                  </a:cubicBezTo>
                  <a:cubicBezTo>
                    <a:pt x="16" y="28"/>
                    <a:pt x="16" y="28"/>
                    <a:pt x="16" y="28"/>
                  </a:cubicBezTo>
                  <a:cubicBezTo>
                    <a:pt x="16" y="32"/>
                    <a:pt x="17" y="35"/>
                    <a:pt x="20" y="37"/>
                  </a:cubicBezTo>
                  <a:cubicBezTo>
                    <a:pt x="22" y="39"/>
                    <a:pt x="24" y="41"/>
                    <a:pt x="28" y="41"/>
                  </a:cubicBezTo>
                  <a:close/>
                  <a:moveTo>
                    <a:pt x="91" y="113"/>
                  </a:moveTo>
                  <a:cubicBezTo>
                    <a:pt x="87" y="113"/>
                    <a:pt x="83" y="112"/>
                    <a:pt x="80" y="111"/>
                  </a:cubicBezTo>
                  <a:cubicBezTo>
                    <a:pt x="76" y="110"/>
                    <a:pt x="73" y="108"/>
                    <a:pt x="71" y="106"/>
                  </a:cubicBezTo>
                  <a:cubicBezTo>
                    <a:pt x="69" y="103"/>
                    <a:pt x="67" y="101"/>
                    <a:pt x="65" y="97"/>
                  </a:cubicBezTo>
                  <a:cubicBezTo>
                    <a:pt x="64" y="94"/>
                    <a:pt x="63" y="91"/>
                    <a:pt x="63" y="87"/>
                  </a:cubicBezTo>
                  <a:cubicBezTo>
                    <a:pt x="63" y="85"/>
                    <a:pt x="63" y="85"/>
                    <a:pt x="63" y="85"/>
                  </a:cubicBezTo>
                  <a:cubicBezTo>
                    <a:pt x="63" y="82"/>
                    <a:pt x="64" y="78"/>
                    <a:pt x="65" y="75"/>
                  </a:cubicBezTo>
                  <a:cubicBezTo>
                    <a:pt x="67" y="72"/>
                    <a:pt x="69" y="69"/>
                    <a:pt x="71" y="66"/>
                  </a:cubicBezTo>
                  <a:cubicBezTo>
                    <a:pt x="74" y="64"/>
                    <a:pt x="77" y="62"/>
                    <a:pt x="80" y="61"/>
                  </a:cubicBezTo>
                  <a:cubicBezTo>
                    <a:pt x="83" y="60"/>
                    <a:pt x="87" y="59"/>
                    <a:pt x="91" y="59"/>
                  </a:cubicBezTo>
                  <a:cubicBezTo>
                    <a:pt x="95" y="59"/>
                    <a:pt x="99" y="60"/>
                    <a:pt x="102" y="61"/>
                  </a:cubicBezTo>
                  <a:cubicBezTo>
                    <a:pt x="106" y="62"/>
                    <a:pt x="109" y="64"/>
                    <a:pt x="111" y="66"/>
                  </a:cubicBezTo>
                  <a:cubicBezTo>
                    <a:pt x="114" y="69"/>
                    <a:pt x="116" y="71"/>
                    <a:pt x="117" y="75"/>
                  </a:cubicBezTo>
                  <a:cubicBezTo>
                    <a:pt x="118" y="78"/>
                    <a:pt x="119" y="81"/>
                    <a:pt x="119" y="85"/>
                  </a:cubicBezTo>
                  <a:cubicBezTo>
                    <a:pt x="119" y="87"/>
                    <a:pt x="119" y="87"/>
                    <a:pt x="119" y="87"/>
                  </a:cubicBezTo>
                  <a:cubicBezTo>
                    <a:pt x="119" y="90"/>
                    <a:pt x="118" y="94"/>
                    <a:pt x="117" y="97"/>
                  </a:cubicBezTo>
                  <a:cubicBezTo>
                    <a:pt x="116" y="100"/>
                    <a:pt x="114" y="103"/>
                    <a:pt x="111" y="106"/>
                  </a:cubicBezTo>
                  <a:cubicBezTo>
                    <a:pt x="109" y="108"/>
                    <a:pt x="106" y="110"/>
                    <a:pt x="102" y="111"/>
                  </a:cubicBezTo>
                  <a:cubicBezTo>
                    <a:pt x="99" y="112"/>
                    <a:pt x="95" y="113"/>
                    <a:pt x="91" y="113"/>
                  </a:cubicBezTo>
                  <a:close/>
                  <a:moveTo>
                    <a:pt x="91" y="100"/>
                  </a:moveTo>
                  <a:cubicBezTo>
                    <a:pt x="94" y="100"/>
                    <a:pt x="97" y="99"/>
                    <a:pt x="99" y="96"/>
                  </a:cubicBezTo>
                  <a:cubicBezTo>
                    <a:pt x="101" y="94"/>
                    <a:pt x="102" y="91"/>
                    <a:pt x="102" y="87"/>
                  </a:cubicBezTo>
                  <a:cubicBezTo>
                    <a:pt x="102" y="85"/>
                    <a:pt x="102" y="85"/>
                    <a:pt x="102" y="85"/>
                  </a:cubicBezTo>
                  <a:cubicBezTo>
                    <a:pt x="102" y="81"/>
                    <a:pt x="101" y="78"/>
                    <a:pt x="99" y="75"/>
                  </a:cubicBezTo>
                  <a:cubicBezTo>
                    <a:pt x="97" y="73"/>
                    <a:pt x="94" y="72"/>
                    <a:pt x="91" y="72"/>
                  </a:cubicBezTo>
                  <a:cubicBezTo>
                    <a:pt x="88" y="72"/>
                    <a:pt x="85" y="73"/>
                    <a:pt x="83" y="75"/>
                  </a:cubicBezTo>
                  <a:cubicBezTo>
                    <a:pt x="81" y="78"/>
                    <a:pt x="80" y="81"/>
                    <a:pt x="80" y="85"/>
                  </a:cubicBezTo>
                  <a:cubicBezTo>
                    <a:pt x="80" y="87"/>
                    <a:pt x="80" y="87"/>
                    <a:pt x="80" y="87"/>
                  </a:cubicBezTo>
                  <a:cubicBezTo>
                    <a:pt x="80" y="91"/>
                    <a:pt x="81" y="94"/>
                    <a:pt x="83" y="96"/>
                  </a:cubicBezTo>
                  <a:cubicBezTo>
                    <a:pt x="85" y="99"/>
                    <a:pt x="88" y="100"/>
                    <a:pt x="91"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1" name="Freeform 47"/>
            <p:cNvSpPr>
              <a:spLocks/>
            </p:cNvSpPr>
            <p:nvPr userDrawn="1"/>
          </p:nvSpPr>
          <p:spPr bwMode="auto">
            <a:xfrm>
              <a:off x="2036" y="3779"/>
              <a:ext cx="74" cy="83"/>
            </a:xfrm>
            <a:custGeom>
              <a:avLst/>
              <a:gdLst/>
              <a:ahLst/>
              <a:cxnLst>
                <a:cxn ang="0">
                  <a:pos x="35" y="90"/>
                </a:cxn>
                <a:cxn ang="0">
                  <a:pos x="17" y="111"/>
                </a:cxn>
                <a:cxn ang="0">
                  <a:pos x="10" y="116"/>
                </a:cxn>
                <a:cxn ang="0">
                  <a:pos x="4" y="113"/>
                </a:cxn>
                <a:cxn ang="0">
                  <a:pos x="3" y="113"/>
                </a:cxn>
                <a:cxn ang="0">
                  <a:pos x="0" y="107"/>
                </a:cxn>
                <a:cxn ang="0">
                  <a:pos x="4" y="99"/>
                </a:cxn>
                <a:cxn ang="0">
                  <a:pos x="16" y="85"/>
                </a:cxn>
                <a:cxn ang="0">
                  <a:pos x="19" y="82"/>
                </a:cxn>
                <a:cxn ang="0">
                  <a:pos x="66" y="29"/>
                </a:cxn>
                <a:cxn ang="0">
                  <a:pos x="67" y="27"/>
                </a:cxn>
                <a:cxn ang="0">
                  <a:pos x="86" y="5"/>
                </a:cxn>
                <a:cxn ang="0">
                  <a:pos x="99" y="3"/>
                </a:cxn>
                <a:cxn ang="0">
                  <a:pos x="100" y="4"/>
                </a:cxn>
                <a:cxn ang="0">
                  <a:pos x="100" y="17"/>
                </a:cxn>
                <a:cxn ang="0">
                  <a:pos x="80" y="39"/>
                </a:cxn>
                <a:cxn ang="0">
                  <a:pos x="76" y="44"/>
                </a:cxn>
                <a:cxn ang="0">
                  <a:pos x="35" y="91"/>
                </a:cxn>
              </a:cxnLst>
              <a:rect l="0" t="0" r="r" b="b"/>
              <a:pathLst>
                <a:path w="104" h="116">
                  <a:moveTo>
                    <a:pt x="35" y="90"/>
                  </a:moveTo>
                  <a:cubicBezTo>
                    <a:pt x="17" y="111"/>
                    <a:pt x="17" y="111"/>
                    <a:pt x="17" y="111"/>
                  </a:cubicBezTo>
                  <a:cubicBezTo>
                    <a:pt x="15" y="114"/>
                    <a:pt x="12" y="115"/>
                    <a:pt x="10" y="116"/>
                  </a:cubicBezTo>
                  <a:cubicBezTo>
                    <a:pt x="8" y="116"/>
                    <a:pt x="6" y="115"/>
                    <a:pt x="4" y="113"/>
                  </a:cubicBezTo>
                  <a:cubicBezTo>
                    <a:pt x="3" y="113"/>
                    <a:pt x="3" y="113"/>
                    <a:pt x="3" y="113"/>
                  </a:cubicBezTo>
                  <a:cubicBezTo>
                    <a:pt x="1" y="111"/>
                    <a:pt x="0" y="109"/>
                    <a:pt x="0" y="107"/>
                  </a:cubicBezTo>
                  <a:cubicBezTo>
                    <a:pt x="0" y="105"/>
                    <a:pt x="1" y="102"/>
                    <a:pt x="4" y="99"/>
                  </a:cubicBezTo>
                  <a:cubicBezTo>
                    <a:pt x="16" y="85"/>
                    <a:pt x="16" y="85"/>
                    <a:pt x="16" y="85"/>
                  </a:cubicBezTo>
                  <a:cubicBezTo>
                    <a:pt x="16" y="85"/>
                    <a:pt x="16" y="85"/>
                    <a:pt x="19" y="82"/>
                  </a:cubicBezTo>
                  <a:cubicBezTo>
                    <a:pt x="66" y="29"/>
                    <a:pt x="66" y="29"/>
                    <a:pt x="66" y="29"/>
                  </a:cubicBezTo>
                  <a:cubicBezTo>
                    <a:pt x="68" y="26"/>
                    <a:pt x="67" y="27"/>
                    <a:pt x="67" y="27"/>
                  </a:cubicBezTo>
                  <a:cubicBezTo>
                    <a:pt x="86" y="5"/>
                    <a:pt x="86" y="5"/>
                    <a:pt x="86" y="5"/>
                  </a:cubicBezTo>
                  <a:cubicBezTo>
                    <a:pt x="91" y="0"/>
                    <a:pt x="95" y="0"/>
                    <a:pt x="99" y="3"/>
                  </a:cubicBezTo>
                  <a:cubicBezTo>
                    <a:pt x="100" y="4"/>
                    <a:pt x="100" y="4"/>
                    <a:pt x="100" y="4"/>
                  </a:cubicBezTo>
                  <a:cubicBezTo>
                    <a:pt x="104" y="7"/>
                    <a:pt x="104" y="11"/>
                    <a:pt x="100" y="17"/>
                  </a:cubicBezTo>
                  <a:cubicBezTo>
                    <a:pt x="80" y="39"/>
                    <a:pt x="80" y="39"/>
                    <a:pt x="80" y="39"/>
                  </a:cubicBezTo>
                  <a:cubicBezTo>
                    <a:pt x="76" y="44"/>
                    <a:pt x="76" y="44"/>
                    <a:pt x="76" y="44"/>
                  </a:cubicBezTo>
                  <a:cubicBezTo>
                    <a:pt x="35" y="91"/>
                    <a:pt x="35" y="91"/>
                    <a:pt x="35" y="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5" name="Group 50"/>
          <p:cNvGrpSpPr>
            <a:grpSpLocks noChangeAspect="1"/>
          </p:cNvGrpSpPr>
          <p:nvPr userDrawn="1"/>
        </p:nvGrpSpPr>
        <p:grpSpPr bwMode="auto">
          <a:xfrm>
            <a:off x="2652205" y="4495802"/>
            <a:ext cx="102420" cy="105966"/>
            <a:chOff x="2227" y="3776"/>
            <a:chExt cx="86" cy="89"/>
          </a:xfrm>
          <a:solidFill>
            <a:schemeClr val="bg1"/>
          </a:solidFill>
        </p:grpSpPr>
        <p:sp>
          <p:nvSpPr>
            <p:cNvPr id="1075" name="Freeform 51"/>
            <p:cNvSpPr>
              <a:spLocks/>
            </p:cNvSpPr>
            <p:nvPr userDrawn="1"/>
          </p:nvSpPr>
          <p:spPr bwMode="auto">
            <a:xfrm>
              <a:off x="2227" y="3811"/>
              <a:ext cx="86" cy="19"/>
            </a:xfrm>
            <a:custGeom>
              <a:avLst/>
              <a:gdLst/>
              <a:ahLst/>
              <a:cxnLst>
                <a:cxn ang="0">
                  <a:pos x="46" y="26"/>
                </a:cxn>
                <a:cxn ang="0">
                  <a:pos x="15" y="26"/>
                </a:cxn>
                <a:cxn ang="0">
                  <a:pos x="0" y="14"/>
                </a:cxn>
                <a:cxn ang="0">
                  <a:pos x="0" y="12"/>
                </a:cxn>
                <a:cxn ang="0">
                  <a:pos x="15" y="0"/>
                </a:cxn>
                <a:cxn ang="0">
                  <a:pos x="46" y="0"/>
                </a:cxn>
                <a:cxn ang="0">
                  <a:pos x="74" y="0"/>
                </a:cxn>
                <a:cxn ang="0">
                  <a:pos x="106" y="0"/>
                </a:cxn>
                <a:cxn ang="0">
                  <a:pos x="121" y="12"/>
                </a:cxn>
                <a:cxn ang="0">
                  <a:pos x="121" y="14"/>
                </a:cxn>
                <a:cxn ang="0">
                  <a:pos x="106" y="26"/>
                </a:cxn>
                <a:cxn ang="0">
                  <a:pos x="74" y="26"/>
                </a:cxn>
                <a:cxn ang="0">
                  <a:pos x="46" y="26"/>
                </a:cxn>
              </a:cxnLst>
              <a:rect l="0" t="0" r="r" b="b"/>
              <a:pathLst>
                <a:path w="121" h="26">
                  <a:moveTo>
                    <a:pt x="46" y="26"/>
                  </a:moveTo>
                  <a:cubicBezTo>
                    <a:pt x="15" y="26"/>
                    <a:pt x="15" y="26"/>
                    <a:pt x="15" y="26"/>
                  </a:cubicBezTo>
                  <a:cubicBezTo>
                    <a:pt x="5" y="26"/>
                    <a:pt x="0" y="21"/>
                    <a:pt x="0" y="14"/>
                  </a:cubicBezTo>
                  <a:cubicBezTo>
                    <a:pt x="0" y="12"/>
                    <a:pt x="0" y="12"/>
                    <a:pt x="0" y="12"/>
                  </a:cubicBezTo>
                  <a:cubicBezTo>
                    <a:pt x="0" y="5"/>
                    <a:pt x="5" y="0"/>
                    <a:pt x="15" y="0"/>
                  </a:cubicBezTo>
                  <a:cubicBezTo>
                    <a:pt x="46" y="0"/>
                    <a:pt x="46" y="0"/>
                    <a:pt x="46" y="0"/>
                  </a:cubicBezTo>
                  <a:cubicBezTo>
                    <a:pt x="74" y="0"/>
                    <a:pt x="74" y="0"/>
                    <a:pt x="74" y="0"/>
                  </a:cubicBezTo>
                  <a:cubicBezTo>
                    <a:pt x="106" y="0"/>
                    <a:pt x="106" y="0"/>
                    <a:pt x="106" y="0"/>
                  </a:cubicBezTo>
                  <a:cubicBezTo>
                    <a:pt x="116" y="0"/>
                    <a:pt x="121" y="5"/>
                    <a:pt x="121" y="12"/>
                  </a:cubicBezTo>
                  <a:cubicBezTo>
                    <a:pt x="121" y="14"/>
                    <a:pt x="121" y="14"/>
                    <a:pt x="121" y="14"/>
                  </a:cubicBezTo>
                  <a:cubicBezTo>
                    <a:pt x="121" y="21"/>
                    <a:pt x="116" y="26"/>
                    <a:pt x="106" y="26"/>
                  </a:cubicBezTo>
                  <a:cubicBezTo>
                    <a:pt x="74" y="26"/>
                    <a:pt x="74" y="26"/>
                    <a:pt x="74" y="26"/>
                  </a:cubicBezTo>
                  <a:lnTo>
                    <a:pt x="46"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6" name="Oval 52"/>
            <p:cNvSpPr>
              <a:spLocks noChangeArrowheads="1"/>
            </p:cNvSpPr>
            <p:nvPr userDrawn="1"/>
          </p:nvSpPr>
          <p:spPr bwMode="auto">
            <a:xfrm>
              <a:off x="2260" y="3776"/>
              <a:ext cx="21" cy="2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7" name="Oval 53"/>
            <p:cNvSpPr>
              <a:spLocks noChangeArrowheads="1"/>
            </p:cNvSpPr>
            <p:nvPr userDrawn="1"/>
          </p:nvSpPr>
          <p:spPr bwMode="auto">
            <a:xfrm>
              <a:off x="2260" y="3845"/>
              <a:ext cx="21" cy="2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81" name="Freeform 57"/>
          <p:cNvSpPr>
            <a:spLocks/>
          </p:cNvSpPr>
          <p:nvPr userDrawn="1"/>
        </p:nvSpPr>
        <p:spPr bwMode="auto">
          <a:xfrm>
            <a:off x="2892782" y="4496991"/>
            <a:ext cx="82174" cy="103584"/>
          </a:xfrm>
          <a:custGeom>
            <a:avLst/>
            <a:gdLst/>
            <a:ahLst/>
            <a:cxnLst>
              <a:cxn ang="0">
                <a:pos x="11" y="73"/>
              </a:cxn>
              <a:cxn ang="0">
                <a:pos x="4" y="70"/>
              </a:cxn>
              <a:cxn ang="0">
                <a:pos x="1" y="65"/>
              </a:cxn>
              <a:cxn ang="0">
                <a:pos x="1" y="63"/>
              </a:cxn>
              <a:cxn ang="0">
                <a:pos x="4" y="58"/>
              </a:cxn>
              <a:cxn ang="0">
                <a:pos x="11" y="55"/>
              </a:cxn>
              <a:cxn ang="0">
                <a:pos x="29" y="55"/>
              </a:cxn>
              <a:cxn ang="0">
                <a:pos x="24" y="49"/>
              </a:cxn>
              <a:cxn ang="0">
                <a:pos x="20" y="41"/>
              </a:cxn>
              <a:cxn ang="0">
                <a:pos x="14" y="34"/>
              </a:cxn>
              <a:cxn ang="0">
                <a:pos x="0" y="12"/>
              </a:cxn>
              <a:cxn ang="0">
                <a:pos x="1" y="9"/>
              </a:cxn>
              <a:cxn ang="0">
                <a:pos x="3" y="6"/>
              </a:cxn>
              <a:cxn ang="0">
                <a:pos x="8" y="2"/>
              </a:cxn>
              <a:cxn ang="0">
                <a:pos x="16" y="1"/>
              </a:cxn>
              <a:cxn ang="0">
                <a:pos x="23" y="3"/>
              </a:cxn>
              <a:cxn ang="0">
                <a:pos x="28" y="10"/>
              </a:cxn>
              <a:cxn ang="0">
                <a:pos x="49" y="48"/>
              </a:cxn>
              <a:cxn ang="0">
                <a:pos x="69" y="10"/>
              </a:cxn>
              <a:cxn ang="0">
                <a:pos x="75" y="3"/>
              </a:cxn>
              <a:cxn ang="0">
                <a:pos x="82" y="0"/>
              </a:cxn>
              <a:cxn ang="0">
                <a:pos x="89" y="2"/>
              </a:cxn>
              <a:cxn ang="0">
                <a:pos x="94" y="6"/>
              </a:cxn>
              <a:cxn ang="0">
                <a:pos x="96" y="9"/>
              </a:cxn>
              <a:cxn ang="0">
                <a:pos x="96" y="12"/>
              </a:cxn>
              <a:cxn ang="0">
                <a:pos x="68" y="55"/>
              </a:cxn>
              <a:cxn ang="0">
                <a:pos x="86" y="55"/>
              </a:cxn>
              <a:cxn ang="0">
                <a:pos x="93" y="58"/>
              </a:cxn>
              <a:cxn ang="0">
                <a:pos x="95" y="63"/>
              </a:cxn>
              <a:cxn ang="0">
                <a:pos x="95" y="65"/>
              </a:cxn>
              <a:cxn ang="0">
                <a:pos x="93" y="70"/>
              </a:cxn>
              <a:cxn ang="0">
                <a:pos x="86" y="73"/>
              </a:cxn>
              <a:cxn ang="0">
                <a:pos x="60" y="73"/>
              </a:cxn>
              <a:cxn ang="0">
                <a:pos x="60" y="82"/>
              </a:cxn>
              <a:cxn ang="0">
                <a:pos x="86" y="82"/>
              </a:cxn>
              <a:cxn ang="0">
                <a:pos x="93" y="84"/>
              </a:cxn>
              <a:cxn ang="0">
                <a:pos x="95" y="90"/>
              </a:cxn>
              <a:cxn ang="0">
                <a:pos x="95" y="92"/>
              </a:cxn>
              <a:cxn ang="0">
                <a:pos x="93" y="97"/>
              </a:cxn>
              <a:cxn ang="0">
                <a:pos x="86" y="100"/>
              </a:cxn>
              <a:cxn ang="0">
                <a:pos x="60" y="100"/>
              </a:cxn>
              <a:cxn ang="0">
                <a:pos x="60" y="108"/>
              </a:cxn>
              <a:cxn ang="0">
                <a:pos x="58" y="117"/>
              </a:cxn>
              <a:cxn ang="0">
                <a:pos x="50" y="120"/>
              </a:cxn>
              <a:cxn ang="0">
                <a:pos x="47" y="120"/>
              </a:cxn>
              <a:cxn ang="0">
                <a:pos x="39" y="117"/>
              </a:cxn>
              <a:cxn ang="0">
                <a:pos x="37" y="108"/>
              </a:cxn>
              <a:cxn ang="0">
                <a:pos x="37" y="100"/>
              </a:cxn>
              <a:cxn ang="0">
                <a:pos x="11" y="100"/>
              </a:cxn>
              <a:cxn ang="0">
                <a:pos x="4" y="97"/>
              </a:cxn>
              <a:cxn ang="0">
                <a:pos x="1" y="92"/>
              </a:cxn>
              <a:cxn ang="0">
                <a:pos x="1" y="90"/>
              </a:cxn>
              <a:cxn ang="0">
                <a:pos x="4" y="84"/>
              </a:cxn>
              <a:cxn ang="0">
                <a:pos x="11" y="82"/>
              </a:cxn>
              <a:cxn ang="0">
                <a:pos x="37" y="82"/>
              </a:cxn>
              <a:cxn ang="0">
                <a:pos x="37" y="73"/>
              </a:cxn>
              <a:cxn ang="0">
                <a:pos x="11" y="73"/>
              </a:cxn>
            </a:cxnLst>
            <a:rect l="0" t="0" r="r" b="b"/>
            <a:pathLst>
              <a:path w="97" h="120">
                <a:moveTo>
                  <a:pt x="11" y="73"/>
                </a:moveTo>
                <a:cubicBezTo>
                  <a:pt x="8" y="73"/>
                  <a:pt x="5" y="72"/>
                  <a:pt x="4" y="70"/>
                </a:cubicBezTo>
                <a:cubicBezTo>
                  <a:pt x="2" y="69"/>
                  <a:pt x="1" y="67"/>
                  <a:pt x="1" y="65"/>
                </a:cubicBezTo>
                <a:cubicBezTo>
                  <a:pt x="1" y="63"/>
                  <a:pt x="1" y="63"/>
                  <a:pt x="1" y="63"/>
                </a:cubicBezTo>
                <a:cubicBezTo>
                  <a:pt x="1" y="61"/>
                  <a:pt x="2" y="59"/>
                  <a:pt x="4" y="58"/>
                </a:cubicBezTo>
                <a:cubicBezTo>
                  <a:pt x="5" y="56"/>
                  <a:pt x="8" y="55"/>
                  <a:pt x="11" y="55"/>
                </a:cubicBezTo>
                <a:cubicBezTo>
                  <a:pt x="29" y="55"/>
                  <a:pt x="29" y="55"/>
                  <a:pt x="29" y="55"/>
                </a:cubicBezTo>
                <a:cubicBezTo>
                  <a:pt x="27" y="53"/>
                  <a:pt x="26" y="51"/>
                  <a:pt x="24" y="49"/>
                </a:cubicBezTo>
                <a:cubicBezTo>
                  <a:pt x="23" y="46"/>
                  <a:pt x="21" y="44"/>
                  <a:pt x="20" y="41"/>
                </a:cubicBezTo>
                <a:cubicBezTo>
                  <a:pt x="18" y="39"/>
                  <a:pt x="16" y="36"/>
                  <a:pt x="14" y="34"/>
                </a:cubicBezTo>
                <a:cubicBezTo>
                  <a:pt x="0" y="12"/>
                  <a:pt x="0" y="12"/>
                  <a:pt x="0" y="12"/>
                </a:cubicBezTo>
                <a:cubicBezTo>
                  <a:pt x="0" y="11"/>
                  <a:pt x="0" y="11"/>
                  <a:pt x="1" y="9"/>
                </a:cubicBezTo>
                <a:cubicBezTo>
                  <a:pt x="1" y="8"/>
                  <a:pt x="2" y="7"/>
                  <a:pt x="3" y="6"/>
                </a:cubicBezTo>
                <a:cubicBezTo>
                  <a:pt x="4" y="4"/>
                  <a:pt x="6" y="3"/>
                  <a:pt x="8" y="2"/>
                </a:cubicBezTo>
                <a:cubicBezTo>
                  <a:pt x="10" y="1"/>
                  <a:pt x="13" y="1"/>
                  <a:pt x="16" y="1"/>
                </a:cubicBezTo>
                <a:cubicBezTo>
                  <a:pt x="18" y="1"/>
                  <a:pt x="21" y="1"/>
                  <a:pt x="23" y="3"/>
                </a:cubicBezTo>
                <a:cubicBezTo>
                  <a:pt x="25" y="4"/>
                  <a:pt x="27" y="7"/>
                  <a:pt x="28" y="10"/>
                </a:cubicBezTo>
                <a:cubicBezTo>
                  <a:pt x="49" y="48"/>
                  <a:pt x="49" y="48"/>
                  <a:pt x="49" y="48"/>
                </a:cubicBezTo>
                <a:cubicBezTo>
                  <a:pt x="69" y="10"/>
                  <a:pt x="69" y="10"/>
                  <a:pt x="69" y="10"/>
                </a:cubicBezTo>
                <a:cubicBezTo>
                  <a:pt x="71" y="6"/>
                  <a:pt x="73" y="4"/>
                  <a:pt x="75" y="3"/>
                </a:cubicBezTo>
                <a:cubicBezTo>
                  <a:pt x="77" y="1"/>
                  <a:pt x="80" y="0"/>
                  <a:pt x="82" y="0"/>
                </a:cubicBezTo>
                <a:cubicBezTo>
                  <a:pt x="85" y="0"/>
                  <a:pt x="87" y="1"/>
                  <a:pt x="89" y="2"/>
                </a:cubicBezTo>
                <a:cubicBezTo>
                  <a:pt x="91" y="3"/>
                  <a:pt x="93" y="4"/>
                  <a:pt x="94" y="6"/>
                </a:cubicBezTo>
                <a:cubicBezTo>
                  <a:pt x="95" y="7"/>
                  <a:pt x="96" y="8"/>
                  <a:pt x="96" y="9"/>
                </a:cubicBezTo>
                <a:cubicBezTo>
                  <a:pt x="97" y="11"/>
                  <a:pt x="97" y="11"/>
                  <a:pt x="96" y="12"/>
                </a:cubicBezTo>
                <a:cubicBezTo>
                  <a:pt x="68" y="55"/>
                  <a:pt x="68" y="55"/>
                  <a:pt x="68" y="55"/>
                </a:cubicBezTo>
                <a:cubicBezTo>
                  <a:pt x="86" y="55"/>
                  <a:pt x="86" y="55"/>
                  <a:pt x="86" y="55"/>
                </a:cubicBezTo>
                <a:cubicBezTo>
                  <a:pt x="89" y="55"/>
                  <a:pt x="92" y="56"/>
                  <a:pt x="93" y="58"/>
                </a:cubicBezTo>
                <a:cubicBezTo>
                  <a:pt x="95" y="59"/>
                  <a:pt x="95" y="61"/>
                  <a:pt x="95" y="63"/>
                </a:cubicBezTo>
                <a:cubicBezTo>
                  <a:pt x="95" y="65"/>
                  <a:pt x="95" y="65"/>
                  <a:pt x="95" y="65"/>
                </a:cubicBezTo>
                <a:cubicBezTo>
                  <a:pt x="95" y="67"/>
                  <a:pt x="95" y="69"/>
                  <a:pt x="93" y="70"/>
                </a:cubicBezTo>
                <a:cubicBezTo>
                  <a:pt x="92" y="72"/>
                  <a:pt x="89" y="73"/>
                  <a:pt x="86" y="73"/>
                </a:cubicBezTo>
                <a:cubicBezTo>
                  <a:pt x="60" y="73"/>
                  <a:pt x="60" y="73"/>
                  <a:pt x="60" y="73"/>
                </a:cubicBezTo>
                <a:cubicBezTo>
                  <a:pt x="60" y="82"/>
                  <a:pt x="60" y="82"/>
                  <a:pt x="60" y="82"/>
                </a:cubicBezTo>
                <a:cubicBezTo>
                  <a:pt x="86" y="82"/>
                  <a:pt x="86" y="82"/>
                  <a:pt x="86" y="82"/>
                </a:cubicBezTo>
                <a:cubicBezTo>
                  <a:pt x="89" y="82"/>
                  <a:pt x="92" y="83"/>
                  <a:pt x="93" y="84"/>
                </a:cubicBezTo>
                <a:cubicBezTo>
                  <a:pt x="95" y="86"/>
                  <a:pt x="95" y="88"/>
                  <a:pt x="95" y="90"/>
                </a:cubicBezTo>
                <a:cubicBezTo>
                  <a:pt x="95" y="92"/>
                  <a:pt x="95" y="92"/>
                  <a:pt x="95" y="92"/>
                </a:cubicBezTo>
                <a:cubicBezTo>
                  <a:pt x="95" y="94"/>
                  <a:pt x="95" y="96"/>
                  <a:pt x="93" y="97"/>
                </a:cubicBezTo>
                <a:cubicBezTo>
                  <a:pt x="92" y="99"/>
                  <a:pt x="89" y="100"/>
                  <a:pt x="86" y="100"/>
                </a:cubicBezTo>
                <a:cubicBezTo>
                  <a:pt x="60" y="100"/>
                  <a:pt x="60" y="100"/>
                  <a:pt x="60" y="100"/>
                </a:cubicBezTo>
                <a:cubicBezTo>
                  <a:pt x="60" y="108"/>
                  <a:pt x="60" y="108"/>
                  <a:pt x="60" y="108"/>
                </a:cubicBezTo>
                <a:cubicBezTo>
                  <a:pt x="60" y="112"/>
                  <a:pt x="59" y="115"/>
                  <a:pt x="58" y="117"/>
                </a:cubicBezTo>
                <a:cubicBezTo>
                  <a:pt x="56" y="119"/>
                  <a:pt x="53" y="120"/>
                  <a:pt x="50" y="120"/>
                </a:cubicBezTo>
                <a:cubicBezTo>
                  <a:pt x="47" y="120"/>
                  <a:pt x="47" y="120"/>
                  <a:pt x="47" y="120"/>
                </a:cubicBezTo>
                <a:cubicBezTo>
                  <a:pt x="43" y="120"/>
                  <a:pt x="40" y="119"/>
                  <a:pt x="39" y="117"/>
                </a:cubicBezTo>
                <a:cubicBezTo>
                  <a:pt x="37" y="115"/>
                  <a:pt x="37" y="112"/>
                  <a:pt x="37" y="108"/>
                </a:cubicBezTo>
                <a:cubicBezTo>
                  <a:pt x="37" y="100"/>
                  <a:pt x="37" y="100"/>
                  <a:pt x="37" y="100"/>
                </a:cubicBezTo>
                <a:cubicBezTo>
                  <a:pt x="11" y="100"/>
                  <a:pt x="11" y="100"/>
                  <a:pt x="11" y="100"/>
                </a:cubicBezTo>
                <a:cubicBezTo>
                  <a:pt x="8" y="100"/>
                  <a:pt x="5" y="99"/>
                  <a:pt x="4" y="97"/>
                </a:cubicBezTo>
                <a:cubicBezTo>
                  <a:pt x="2" y="96"/>
                  <a:pt x="1" y="94"/>
                  <a:pt x="1" y="92"/>
                </a:cubicBezTo>
                <a:cubicBezTo>
                  <a:pt x="1" y="90"/>
                  <a:pt x="1" y="90"/>
                  <a:pt x="1" y="90"/>
                </a:cubicBezTo>
                <a:cubicBezTo>
                  <a:pt x="1" y="88"/>
                  <a:pt x="2" y="86"/>
                  <a:pt x="4" y="84"/>
                </a:cubicBezTo>
                <a:cubicBezTo>
                  <a:pt x="5" y="83"/>
                  <a:pt x="8" y="82"/>
                  <a:pt x="11" y="82"/>
                </a:cubicBezTo>
                <a:cubicBezTo>
                  <a:pt x="37" y="82"/>
                  <a:pt x="37" y="82"/>
                  <a:pt x="37" y="82"/>
                </a:cubicBezTo>
                <a:cubicBezTo>
                  <a:pt x="37" y="73"/>
                  <a:pt x="37" y="73"/>
                  <a:pt x="37" y="73"/>
                </a:cubicBezTo>
                <a:lnTo>
                  <a:pt x="11" y="73"/>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85" name="Freeform 61"/>
          <p:cNvSpPr>
            <a:spLocks/>
          </p:cNvSpPr>
          <p:nvPr userDrawn="1"/>
        </p:nvSpPr>
        <p:spPr bwMode="auto">
          <a:xfrm>
            <a:off x="3121442" y="4500563"/>
            <a:ext cx="75029" cy="97631"/>
          </a:xfrm>
          <a:custGeom>
            <a:avLst/>
            <a:gdLst/>
            <a:ahLst/>
            <a:cxnLst>
              <a:cxn ang="0">
                <a:pos x="66" y="52"/>
              </a:cxn>
              <a:cxn ang="0">
                <a:pos x="81" y="63"/>
              </a:cxn>
              <a:cxn ang="0">
                <a:pos x="87" y="80"/>
              </a:cxn>
              <a:cxn ang="0">
                <a:pos x="75" y="104"/>
              </a:cxn>
              <a:cxn ang="0">
                <a:pos x="42" y="113"/>
              </a:cxn>
              <a:cxn ang="0">
                <a:pos x="24" y="111"/>
              </a:cxn>
              <a:cxn ang="0">
                <a:pos x="11" y="105"/>
              </a:cxn>
              <a:cxn ang="0">
                <a:pos x="3" y="97"/>
              </a:cxn>
              <a:cxn ang="0">
                <a:pos x="0" y="88"/>
              </a:cxn>
              <a:cxn ang="0">
                <a:pos x="2" y="81"/>
              </a:cxn>
              <a:cxn ang="0">
                <a:pos x="7" y="77"/>
              </a:cxn>
              <a:cxn ang="0">
                <a:pos x="12" y="76"/>
              </a:cxn>
              <a:cxn ang="0">
                <a:pos x="15" y="76"/>
              </a:cxn>
              <a:cxn ang="0">
                <a:pos x="24" y="89"/>
              </a:cxn>
              <a:cxn ang="0">
                <a:pos x="41" y="94"/>
              </a:cxn>
              <a:cxn ang="0">
                <a:pos x="57" y="90"/>
              </a:cxn>
              <a:cxn ang="0">
                <a:pos x="63" y="78"/>
              </a:cxn>
              <a:cxn ang="0">
                <a:pos x="44" y="63"/>
              </a:cxn>
              <a:cxn ang="0">
                <a:pos x="38" y="63"/>
              </a:cxn>
              <a:cxn ang="0">
                <a:pos x="29" y="61"/>
              </a:cxn>
              <a:cxn ang="0">
                <a:pos x="26" y="55"/>
              </a:cxn>
              <a:cxn ang="0">
                <a:pos x="26" y="54"/>
              </a:cxn>
              <a:cxn ang="0">
                <a:pos x="38" y="45"/>
              </a:cxn>
              <a:cxn ang="0">
                <a:pos x="46" y="45"/>
              </a:cxn>
              <a:cxn ang="0">
                <a:pos x="57" y="42"/>
              </a:cxn>
              <a:cxn ang="0">
                <a:pos x="61" y="33"/>
              </a:cxn>
              <a:cxn ang="0">
                <a:pos x="56" y="22"/>
              </a:cxn>
              <a:cxn ang="0">
                <a:pos x="41" y="19"/>
              </a:cxn>
              <a:cxn ang="0">
                <a:pos x="32" y="20"/>
              </a:cxn>
              <a:cxn ang="0">
                <a:pos x="25" y="24"/>
              </a:cxn>
              <a:cxn ang="0">
                <a:pos x="20" y="28"/>
              </a:cxn>
              <a:cxn ang="0">
                <a:pos x="17" y="34"/>
              </a:cxn>
              <a:cxn ang="0">
                <a:pos x="15" y="35"/>
              </a:cxn>
              <a:cxn ang="0">
                <a:pos x="10" y="33"/>
              </a:cxn>
              <a:cxn ang="0">
                <a:pos x="5" y="30"/>
              </a:cxn>
              <a:cxn ang="0">
                <a:pos x="3" y="23"/>
              </a:cxn>
              <a:cxn ang="0">
                <a:pos x="5" y="14"/>
              </a:cxn>
              <a:cxn ang="0">
                <a:pos x="13" y="7"/>
              </a:cxn>
              <a:cxn ang="0">
                <a:pos x="25" y="2"/>
              </a:cxn>
              <a:cxn ang="0">
                <a:pos x="42" y="0"/>
              </a:cxn>
              <a:cxn ang="0">
                <a:pos x="74" y="7"/>
              </a:cxn>
              <a:cxn ang="0">
                <a:pos x="85" y="29"/>
              </a:cxn>
              <a:cxn ang="0">
                <a:pos x="66" y="52"/>
              </a:cxn>
            </a:cxnLst>
            <a:rect l="0" t="0" r="r" b="b"/>
            <a:pathLst>
              <a:path w="87" h="113">
                <a:moveTo>
                  <a:pt x="66" y="52"/>
                </a:moveTo>
                <a:cubicBezTo>
                  <a:pt x="73" y="54"/>
                  <a:pt x="78" y="58"/>
                  <a:pt x="81" y="63"/>
                </a:cubicBezTo>
                <a:cubicBezTo>
                  <a:pt x="85" y="68"/>
                  <a:pt x="87" y="73"/>
                  <a:pt x="87" y="80"/>
                </a:cubicBezTo>
                <a:cubicBezTo>
                  <a:pt x="87" y="90"/>
                  <a:pt x="83" y="99"/>
                  <a:pt x="75" y="104"/>
                </a:cubicBezTo>
                <a:cubicBezTo>
                  <a:pt x="67" y="110"/>
                  <a:pt x="56" y="113"/>
                  <a:pt x="42" y="113"/>
                </a:cubicBezTo>
                <a:cubicBezTo>
                  <a:pt x="35" y="113"/>
                  <a:pt x="29" y="112"/>
                  <a:pt x="24" y="111"/>
                </a:cubicBezTo>
                <a:cubicBezTo>
                  <a:pt x="19" y="109"/>
                  <a:pt x="14" y="107"/>
                  <a:pt x="11" y="105"/>
                </a:cubicBezTo>
                <a:cubicBezTo>
                  <a:pt x="7" y="103"/>
                  <a:pt x="5" y="100"/>
                  <a:pt x="3" y="97"/>
                </a:cubicBezTo>
                <a:cubicBezTo>
                  <a:pt x="1" y="94"/>
                  <a:pt x="0" y="91"/>
                  <a:pt x="0" y="88"/>
                </a:cubicBezTo>
                <a:cubicBezTo>
                  <a:pt x="0" y="85"/>
                  <a:pt x="1" y="83"/>
                  <a:pt x="2" y="81"/>
                </a:cubicBezTo>
                <a:cubicBezTo>
                  <a:pt x="4" y="79"/>
                  <a:pt x="5" y="78"/>
                  <a:pt x="7" y="77"/>
                </a:cubicBezTo>
                <a:cubicBezTo>
                  <a:pt x="9" y="77"/>
                  <a:pt x="11" y="76"/>
                  <a:pt x="12" y="76"/>
                </a:cubicBezTo>
                <a:cubicBezTo>
                  <a:pt x="14" y="76"/>
                  <a:pt x="15" y="76"/>
                  <a:pt x="15" y="76"/>
                </a:cubicBezTo>
                <a:cubicBezTo>
                  <a:pt x="16" y="82"/>
                  <a:pt x="20" y="86"/>
                  <a:pt x="24" y="89"/>
                </a:cubicBezTo>
                <a:cubicBezTo>
                  <a:pt x="29" y="92"/>
                  <a:pt x="35" y="94"/>
                  <a:pt x="41" y="94"/>
                </a:cubicBezTo>
                <a:cubicBezTo>
                  <a:pt x="48" y="94"/>
                  <a:pt x="53" y="92"/>
                  <a:pt x="57" y="90"/>
                </a:cubicBezTo>
                <a:cubicBezTo>
                  <a:pt x="61" y="87"/>
                  <a:pt x="63" y="83"/>
                  <a:pt x="63" y="78"/>
                </a:cubicBezTo>
                <a:cubicBezTo>
                  <a:pt x="63" y="68"/>
                  <a:pt x="57" y="63"/>
                  <a:pt x="44" y="63"/>
                </a:cubicBezTo>
                <a:cubicBezTo>
                  <a:pt x="38" y="63"/>
                  <a:pt x="38" y="63"/>
                  <a:pt x="38" y="63"/>
                </a:cubicBezTo>
                <a:cubicBezTo>
                  <a:pt x="34" y="63"/>
                  <a:pt x="31" y="63"/>
                  <a:pt x="29" y="61"/>
                </a:cubicBezTo>
                <a:cubicBezTo>
                  <a:pt x="27" y="60"/>
                  <a:pt x="26" y="58"/>
                  <a:pt x="26" y="55"/>
                </a:cubicBezTo>
                <a:cubicBezTo>
                  <a:pt x="26" y="54"/>
                  <a:pt x="26" y="54"/>
                  <a:pt x="26" y="54"/>
                </a:cubicBezTo>
                <a:cubicBezTo>
                  <a:pt x="26" y="48"/>
                  <a:pt x="30" y="45"/>
                  <a:pt x="38" y="45"/>
                </a:cubicBezTo>
                <a:cubicBezTo>
                  <a:pt x="46" y="45"/>
                  <a:pt x="46" y="45"/>
                  <a:pt x="46" y="45"/>
                </a:cubicBezTo>
                <a:cubicBezTo>
                  <a:pt x="51" y="45"/>
                  <a:pt x="55" y="44"/>
                  <a:pt x="57" y="42"/>
                </a:cubicBezTo>
                <a:cubicBezTo>
                  <a:pt x="60" y="40"/>
                  <a:pt x="61" y="36"/>
                  <a:pt x="61" y="33"/>
                </a:cubicBezTo>
                <a:cubicBezTo>
                  <a:pt x="61" y="28"/>
                  <a:pt x="59" y="25"/>
                  <a:pt x="56" y="22"/>
                </a:cubicBezTo>
                <a:cubicBezTo>
                  <a:pt x="52" y="20"/>
                  <a:pt x="48" y="19"/>
                  <a:pt x="41" y="19"/>
                </a:cubicBezTo>
                <a:cubicBezTo>
                  <a:pt x="38" y="19"/>
                  <a:pt x="35" y="19"/>
                  <a:pt x="32" y="20"/>
                </a:cubicBezTo>
                <a:cubicBezTo>
                  <a:pt x="29" y="21"/>
                  <a:pt x="27" y="22"/>
                  <a:pt x="25" y="24"/>
                </a:cubicBezTo>
                <a:cubicBezTo>
                  <a:pt x="23" y="25"/>
                  <a:pt x="21" y="27"/>
                  <a:pt x="20" y="28"/>
                </a:cubicBezTo>
                <a:cubicBezTo>
                  <a:pt x="19" y="30"/>
                  <a:pt x="18" y="32"/>
                  <a:pt x="17" y="34"/>
                </a:cubicBezTo>
                <a:cubicBezTo>
                  <a:pt x="17" y="35"/>
                  <a:pt x="16" y="35"/>
                  <a:pt x="15" y="35"/>
                </a:cubicBezTo>
                <a:cubicBezTo>
                  <a:pt x="13" y="35"/>
                  <a:pt x="11" y="34"/>
                  <a:pt x="10" y="33"/>
                </a:cubicBezTo>
                <a:cubicBezTo>
                  <a:pt x="8" y="33"/>
                  <a:pt x="6" y="32"/>
                  <a:pt x="5" y="30"/>
                </a:cubicBezTo>
                <a:cubicBezTo>
                  <a:pt x="3" y="28"/>
                  <a:pt x="3" y="26"/>
                  <a:pt x="3" y="23"/>
                </a:cubicBezTo>
                <a:cubicBezTo>
                  <a:pt x="3" y="20"/>
                  <a:pt x="4" y="17"/>
                  <a:pt x="5" y="14"/>
                </a:cubicBezTo>
                <a:cubicBezTo>
                  <a:pt x="7" y="12"/>
                  <a:pt x="10" y="9"/>
                  <a:pt x="13" y="7"/>
                </a:cubicBezTo>
                <a:cubicBezTo>
                  <a:pt x="17" y="5"/>
                  <a:pt x="21" y="3"/>
                  <a:pt x="25" y="2"/>
                </a:cubicBezTo>
                <a:cubicBezTo>
                  <a:pt x="30" y="0"/>
                  <a:pt x="36" y="0"/>
                  <a:pt x="42" y="0"/>
                </a:cubicBezTo>
                <a:cubicBezTo>
                  <a:pt x="56" y="0"/>
                  <a:pt x="66" y="2"/>
                  <a:pt x="74" y="7"/>
                </a:cubicBezTo>
                <a:cubicBezTo>
                  <a:pt x="81" y="12"/>
                  <a:pt x="85" y="20"/>
                  <a:pt x="85" y="29"/>
                </a:cubicBezTo>
                <a:cubicBezTo>
                  <a:pt x="85" y="41"/>
                  <a:pt x="78" y="48"/>
                  <a:pt x="66" y="5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89" name="Freeform 65"/>
          <p:cNvSpPr>
            <a:spLocks noEditPoints="1"/>
          </p:cNvSpPr>
          <p:nvPr userDrawn="1"/>
        </p:nvSpPr>
        <p:spPr bwMode="auto">
          <a:xfrm>
            <a:off x="3342955" y="4501754"/>
            <a:ext cx="82175" cy="95250"/>
          </a:xfrm>
          <a:custGeom>
            <a:avLst/>
            <a:gdLst/>
            <a:ahLst/>
            <a:cxnLst>
              <a:cxn ang="0">
                <a:pos x="86" y="64"/>
              </a:cxn>
              <a:cxn ang="0">
                <a:pos x="94" y="66"/>
              </a:cxn>
              <a:cxn ang="0">
                <a:pos x="96" y="73"/>
              </a:cxn>
              <a:cxn ang="0">
                <a:pos x="96" y="74"/>
              </a:cxn>
              <a:cxn ang="0">
                <a:pos x="94" y="81"/>
              </a:cxn>
              <a:cxn ang="0">
                <a:pos x="86" y="83"/>
              </a:cxn>
              <a:cxn ang="0">
                <a:pos x="77" y="83"/>
              </a:cxn>
              <a:cxn ang="0">
                <a:pos x="77" y="100"/>
              </a:cxn>
              <a:cxn ang="0">
                <a:pos x="67" y="111"/>
              </a:cxn>
              <a:cxn ang="0">
                <a:pos x="64" y="111"/>
              </a:cxn>
              <a:cxn ang="0">
                <a:pos x="57" y="108"/>
              </a:cxn>
              <a:cxn ang="0">
                <a:pos x="55" y="100"/>
              </a:cxn>
              <a:cxn ang="0">
                <a:pos x="55" y="83"/>
              </a:cxn>
              <a:cxn ang="0">
                <a:pos x="14" y="83"/>
              </a:cxn>
              <a:cxn ang="0">
                <a:pos x="4" y="80"/>
              </a:cxn>
              <a:cxn ang="0">
                <a:pos x="0" y="73"/>
              </a:cxn>
              <a:cxn ang="0">
                <a:pos x="0" y="68"/>
              </a:cxn>
              <a:cxn ang="0">
                <a:pos x="2" y="62"/>
              </a:cxn>
              <a:cxn ang="0">
                <a:pos x="6" y="55"/>
              </a:cxn>
              <a:cxn ang="0">
                <a:pos x="39" y="9"/>
              </a:cxn>
              <a:cxn ang="0">
                <a:pos x="42" y="4"/>
              </a:cxn>
              <a:cxn ang="0">
                <a:pos x="46" y="2"/>
              </a:cxn>
              <a:cxn ang="0">
                <a:pos x="52" y="0"/>
              </a:cxn>
              <a:cxn ang="0">
                <a:pos x="59" y="0"/>
              </a:cxn>
              <a:cxn ang="0">
                <a:pos x="73" y="3"/>
              </a:cxn>
              <a:cxn ang="0">
                <a:pos x="77" y="16"/>
              </a:cxn>
              <a:cxn ang="0">
                <a:pos x="77" y="64"/>
              </a:cxn>
              <a:cxn ang="0">
                <a:pos x="86" y="64"/>
              </a:cxn>
              <a:cxn ang="0">
                <a:pos x="56" y="65"/>
              </a:cxn>
              <a:cxn ang="0">
                <a:pos x="56" y="18"/>
              </a:cxn>
              <a:cxn ang="0">
                <a:pos x="22" y="65"/>
              </a:cxn>
              <a:cxn ang="0">
                <a:pos x="56" y="65"/>
              </a:cxn>
            </a:cxnLst>
            <a:rect l="0" t="0" r="r" b="b"/>
            <a:pathLst>
              <a:path w="96" h="111">
                <a:moveTo>
                  <a:pt x="86" y="64"/>
                </a:moveTo>
                <a:cubicBezTo>
                  <a:pt x="90" y="64"/>
                  <a:pt x="92" y="65"/>
                  <a:pt x="94" y="66"/>
                </a:cubicBezTo>
                <a:cubicBezTo>
                  <a:pt x="95" y="68"/>
                  <a:pt x="96" y="70"/>
                  <a:pt x="96" y="73"/>
                </a:cubicBezTo>
                <a:cubicBezTo>
                  <a:pt x="96" y="74"/>
                  <a:pt x="96" y="74"/>
                  <a:pt x="96" y="74"/>
                </a:cubicBezTo>
                <a:cubicBezTo>
                  <a:pt x="96" y="77"/>
                  <a:pt x="95" y="80"/>
                  <a:pt x="94" y="81"/>
                </a:cubicBezTo>
                <a:cubicBezTo>
                  <a:pt x="92" y="83"/>
                  <a:pt x="90" y="83"/>
                  <a:pt x="86" y="83"/>
                </a:cubicBezTo>
                <a:cubicBezTo>
                  <a:pt x="77" y="83"/>
                  <a:pt x="77" y="83"/>
                  <a:pt x="77" y="83"/>
                </a:cubicBezTo>
                <a:cubicBezTo>
                  <a:pt x="77" y="100"/>
                  <a:pt x="77" y="100"/>
                  <a:pt x="77" y="100"/>
                </a:cubicBezTo>
                <a:cubicBezTo>
                  <a:pt x="77" y="107"/>
                  <a:pt x="74" y="111"/>
                  <a:pt x="67" y="111"/>
                </a:cubicBezTo>
                <a:cubicBezTo>
                  <a:pt x="64" y="111"/>
                  <a:pt x="64" y="111"/>
                  <a:pt x="64" y="111"/>
                </a:cubicBezTo>
                <a:cubicBezTo>
                  <a:pt x="61" y="111"/>
                  <a:pt x="59" y="110"/>
                  <a:pt x="57" y="108"/>
                </a:cubicBezTo>
                <a:cubicBezTo>
                  <a:pt x="55" y="106"/>
                  <a:pt x="55" y="103"/>
                  <a:pt x="55" y="100"/>
                </a:cubicBezTo>
                <a:cubicBezTo>
                  <a:pt x="55" y="83"/>
                  <a:pt x="55" y="83"/>
                  <a:pt x="55" y="83"/>
                </a:cubicBezTo>
                <a:cubicBezTo>
                  <a:pt x="14" y="83"/>
                  <a:pt x="14" y="83"/>
                  <a:pt x="14" y="83"/>
                </a:cubicBezTo>
                <a:cubicBezTo>
                  <a:pt x="10" y="83"/>
                  <a:pt x="7" y="82"/>
                  <a:pt x="4" y="80"/>
                </a:cubicBezTo>
                <a:cubicBezTo>
                  <a:pt x="2" y="78"/>
                  <a:pt x="0" y="76"/>
                  <a:pt x="0" y="73"/>
                </a:cubicBezTo>
                <a:cubicBezTo>
                  <a:pt x="0" y="68"/>
                  <a:pt x="0" y="68"/>
                  <a:pt x="0" y="68"/>
                </a:cubicBezTo>
                <a:cubicBezTo>
                  <a:pt x="0" y="66"/>
                  <a:pt x="1" y="64"/>
                  <a:pt x="2" y="62"/>
                </a:cubicBezTo>
                <a:cubicBezTo>
                  <a:pt x="2" y="60"/>
                  <a:pt x="4" y="58"/>
                  <a:pt x="6" y="55"/>
                </a:cubicBezTo>
                <a:cubicBezTo>
                  <a:pt x="39" y="9"/>
                  <a:pt x="39" y="9"/>
                  <a:pt x="39" y="9"/>
                </a:cubicBezTo>
                <a:cubicBezTo>
                  <a:pt x="40" y="7"/>
                  <a:pt x="41" y="6"/>
                  <a:pt x="42" y="4"/>
                </a:cubicBezTo>
                <a:cubicBezTo>
                  <a:pt x="44" y="3"/>
                  <a:pt x="45" y="2"/>
                  <a:pt x="46" y="2"/>
                </a:cubicBezTo>
                <a:cubicBezTo>
                  <a:pt x="48" y="1"/>
                  <a:pt x="50" y="0"/>
                  <a:pt x="52" y="0"/>
                </a:cubicBezTo>
                <a:cubicBezTo>
                  <a:pt x="54" y="0"/>
                  <a:pt x="56" y="0"/>
                  <a:pt x="59" y="0"/>
                </a:cubicBezTo>
                <a:cubicBezTo>
                  <a:pt x="66" y="0"/>
                  <a:pt x="70" y="1"/>
                  <a:pt x="73" y="3"/>
                </a:cubicBezTo>
                <a:cubicBezTo>
                  <a:pt x="76" y="6"/>
                  <a:pt x="77" y="10"/>
                  <a:pt x="77" y="16"/>
                </a:cubicBezTo>
                <a:cubicBezTo>
                  <a:pt x="77" y="64"/>
                  <a:pt x="77" y="64"/>
                  <a:pt x="77" y="64"/>
                </a:cubicBezTo>
                <a:lnTo>
                  <a:pt x="86" y="64"/>
                </a:lnTo>
                <a:close/>
                <a:moveTo>
                  <a:pt x="56" y="65"/>
                </a:moveTo>
                <a:cubicBezTo>
                  <a:pt x="56" y="18"/>
                  <a:pt x="56" y="18"/>
                  <a:pt x="56" y="18"/>
                </a:cubicBezTo>
                <a:cubicBezTo>
                  <a:pt x="22" y="65"/>
                  <a:pt x="22" y="65"/>
                  <a:pt x="22" y="65"/>
                </a:cubicBezTo>
                <a:lnTo>
                  <a:pt x="56" y="65"/>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93" name="Freeform 69"/>
          <p:cNvSpPr>
            <a:spLocks/>
          </p:cNvSpPr>
          <p:nvPr userDrawn="1"/>
        </p:nvSpPr>
        <p:spPr bwMode="auto">
          <a:xfrm>
            <a:off x="3573997" y="4501754"/>
            <a:ext cx="72647" cy="95250"/>
          </a:xfrm>
          <a:custGeom>
            <a:avLst/>
            <a:gdLst/>
            <a:ahLst/>
            <a:cxnLst>
              <a:cxn ang="0">
                <a:pos x="34" y="41"/>
              </a:cxn>
              <a:cxn ang="0">
                <a:pos x="45" y="40"/>
              </a:cxn>
              <a:cxn ang="0">
                <a:pos x="61" y="43"/>
              </a:cxn>
              <a:cxn ang="0">
                <a:pos x="74" y="50"/>
              </a:cxn>
              <a:cxn ang="0">
                <a:pos x="82" y="60"/>
              </a:cxn>
              <a:cxn ang="0">
                <a:pos x="85" y="75"/>
              </a:cxn>
              <a:cxn ang="0">
                <a:pos x="82" y="90"/>
              </a:cxn>
              <a:cxn ang="0">
                <a:pos x="73" y="101"/>
              </a:cxn>
              <a:cxn ang="0">
                <a:pos x="59" y="108"/>
              </a:cxn>
              <a:cxn ang="0">
                <a:pos x="40" y="111"/>
              </a:cxn>
              <a:cxn ang="0">
                <a:pos x="23" y="109"/>
              </a:cxn>
              <a:cxn ang="0">
                <a:pos x="11" y="104"/>
              </a:cxn>
              <a:cxn ang="0">
                <a:pos x="3" y="97"/>
              </a:cxn>
              <a:cxn ang="0">
                <a:pos x="0" y="90"/>
              </a:cxn>
              <a:cxn ang="0">
                <a:pos x="1" y="85"/>
              </a:cxn>
              <a:cxn ang="0">
                <a:pos x="5" y="81"/>
              </a:cxn>
              <a:cxn ang="0">
                <a:pos x="8" y="78"/>
              </a:cxn>
              <a:cxn ang="0">
                <a:pos x="10" y="78"/>
              </a:cxn>
              <a:cxn ang="0">
                <a:pos x="23" y="89"/>
              </a:cxn>
              <a:cxn ang="0">
                <a:pos x="40" y="93"/>
              </a:cxn>
              <a:cxn ang="0">
                <a:pos x="57" y="88"/>
              </a:cxn>
              <a:cxn ang="0">
                <a:pos x="63" y="75"/>
              </a:cxn>
              <a:cxn ang="0">
                <a:pos x="57" y="62"/>
              </a:cxn>
              <a:cxn ang="0">
                <a:pos x="41" y="57"/>
              </a:cxn>
              <a:cxn ang="0">
                <a:pos x="28" y="59"/>
              </a:cxn>
              <a:cxn ang="0">
                <a:pos x="18" y="64"/>
              </a:cxn>
              <a:cxn ang="0">
                <a:pos x="7" y="60"/>
              </a:cxn>
              <a:cxn ang="0">
                <a:pos x="4" y="50"/>
              </a:cxn>
              <a:cxn ang="0">
                <a:pos x="4" y="14"/>
              </a:cxn>
              <a:cxn ang="0">
                <a:pos x="7" y="3"/>
              </a:cxn>
              <a:cxn ang="0">
                <a:pos x="16" y="0"/>
              </a:cxn>
              <a:cxn ang="0">
                <a:pos x="69" y="0"/>
              </a:cxn>
              <a:cxn ang="0">
                <a:pos x="80" y="10"/>
              </a:cxn>
              <a:cxn ang="0">
                <a:pos x="80" y="10"/>
              </a:cxn>
              <a:cxn ang="0">
                <a:pos x="69" y="20"/>
              </a:cxn>
              <a:cxn ang="0">
                <a:pos x="25" y="20"/>
              </a:cxn>
              <a:cxn ang="0">
                <a:pos x="25" y="44"/>
              </a:cxn>
              <a:cxn ang="0">
                <a:pos x="34" y="41"/>
              </a:cxn>
            </a:cxnLst>
            <a:rect l="0" t="0" r="r" b="b"/>
            <a:pathLst>
              <a:path w="85" h="111">
                <a:moveTo>
                  <a:pt x="34" y="41"/>
                </a:moveTo>
                <a:cubicBezTo>
                  <a:pt x="37" y="41"/>
                  <a:pt x="41" y="40"/>
                  <a:pt x="45" y="40"/>
                </a:cubicBezTo>
                <a:cubicBezTo>
                  <a:pt x="51" y="40"/>
                  <a:pt x="56" y="41"/>
                  <a:pt x="61" y="43"/>
                </a:cubicBezTo>
                <a:cubicBezTo>
                  <a:pt x="66" y="44"/>
                  <a:pt x="70" y="47"/>
                  <a:pt x="74" y="50"/>
                </a:cubicBezTo>
                <a:cubicBezTo>
                  <a:pt x="77" y="53"/>
                  <a:pt x="80" y="56"/>
                  <a:pt x="82" y="60"/>
                </a:cubicBezTo>
                <a:cubicBezTo>
                  <a:pt x="84" y="65"/>
                  <a:pt x="85" y="69"/>
                  <a:pt x="85" y="75"/>
                </a:cubicBezTo>
                <a:cubicBezTo>
                  <a:pt x="85" y="80"/>
                  <a:pt x="84" y="85"/>
                  <a:pt x="82" y="90"/>
                </a:cubicBezTo>
                <a:cubicBezTo>
                  <a:pt x="80" y="94"/>
                  <a:pt x="77" y="98"/>
                  <a:pt x="73" y="101"/>
                </a:cubicBezTo>
                <a:cubicBezTo>
                  <a:pt x="69" y="104"/>
                  <a:pt x="64" y="107"/>
                  <a:pt x="59" y="108"/>
                </a:cubicBezTo>
                <a:cubicBezTo>
                  <a:pt x="53" y="110"/>
                  <a:pt x="47" y="111"/>
                  <a:pt x="40" y="111"/>
                </a:cubicBezTo>
                <a:cubicBezTo>
                  <a:pt x="34" y="111"/>
                  <a:pt x="28" y="110"/>
                  <a:pt x="23" y="109"/>
                </a:cubicBezTo>
                <a:cubicBezTo>
                  <a:pt x="18" y="108"/>
                  <a:pt x="14" y="106"/>
                  <a:pt x="11" y="104"/>
                </a:cubicBezTo>
                <a:cubicBezTo>
                  <a:pt x="7" y="102"/>
                  <a:pt x="5" y="100"/>
                  <a:pt x="3" y="97"/>
                </a:cubicBezTo>
                <a:cubicBezTo>
                  <a:pt x="1" y="95"/>
                  <a:pt x="0" y="92"/>
                  <a:pt x="0" y="90"/>
                </a:cubicBezTo>
                <a:cubicBezTo>
                  <a:pt x="0" y="88"/>
                  <a:pt x="0" y="86"/>
                  <a:pt x="1" y="85"/>
                </a:cubicBezTo>
                <a:cubicBezTo>
                  <a:pt x="2" y="83"/>
                  <a:pt x="4" y="82"/>
                  <a:pt x="5" y="81"/>
                </a:cubicBezTo>
                <a:cubicBezTo>
                  <a:pt x="6" y="80"/>
                  <a:pt x="7" y="79"/>
                  <a:pt x="8" y="78"/>
                </a:cubicBezTo>
                <a:cubicBezTo>
                  <a:pt x="9" y="78"/>
                  <a:pt x="10" y="78"/>
                  <a:pt x="10" y="78"/>
                </a:cubicBezTo>
                <a:cubicBezTo>
                  <a:pt x="13" y="83"/>
                  <a:pt x="18" y="86"/>
                  <a:pt x="23" y="89"/>
                </a:cubicBezTo>
                <a:cubicBezTo>
                  <a:pt x="28" y="91"/>
                  <a:pt x="34" y="93"/>
                  <a:pt x="40" y="93"/>
                </a:cubicBezTo>
                <a:cubicBezTo>
                  <a:pt x="47" y="93"/>
                  <a:pt x="53" y="91"/>
                  <a:pt x="57" y="88"/>
                </a:cubicBezTo>
                <a:cubicBezTo>
                  <a:pt x="61" y="85"/>
                  <a:pt x="63" y="80"/>
                  <a:pt x="63" y="75"/>
                </a:cubicBezTo>
                <a:cubicBezTo>
                  <a:pt x="63" y="69"/>
                  <a:pt x="61" y="65"/>
                  <a:pt x="57" y="62"/>
                </a:cubicBezTo>
                <a:cubicBezTo>
                  <a:pt x="53" y="59"/>
                  <a:pt x="48" y="57"/>
                  <a:pt x="41" y="57"/>
                </a:cubicBezTo>
                <a:cubicBezTo>
                  <a:pt x="36" y="57"/>
                  <a:pt x="31" y="58"/>
                  <a:pt x="28" y="59"/>
                </a:cubicBezTo>
                <a:cubicBezTo>
                  <a:pt x="24" y="61"/>
                  <a:pt x="21" y="62"/>
                  <a:pt x="18" y="64"/>
                </a:cubicBezTo>
                <a:cubicBezTo>
                  <a:pt x="14" y="64"/>
                  <a:pt x="10" y="63"/>
                  <a:pt x="7" y="60"/>
                </a:cubicBezTo>
                <a:cubicBezTo>
                  <a:pt x="5" y="58"/>
                  <a:pt x="4" y="55"/>
                  <a:pt x="4" y="50"/>
                </a:cubicBezTo>
                <a:cubicBezTo>
                  <a:pt x="4" y="14"/>
                  <a:pt x="4" y="14"/>
                  <a:pt x="4" y="14"/>
                </a:cubicBezTo>
                <a:cubicBezTo>
                  <a:pt x="4" y="9"/>
                  <a:pt x="5" y="6"/>
                  <a:pt x="7" y="3"/>
                </a:cubicBezTo>
                <a:cubicBezTo>
                  <a:pt x="9" y="1"/>
                  <a:pt x="12" y="0"/>
                  <a:pt x="16" y="0"/>
                </a:cubicBezTo>
                <a:cubicBezTo>
                  <a:pt x="69" y="0"/>
                  <a:pt x="69" y="0"/>
                  <a:pt x="69" y="0"/>
                </a:cubicBezTo>
                <a:cubicBezTo>
                  <a:pt x="76" y="0"/>
                  <a:pt x="80" y="3"/>
                  <a:pt x="80" y="10"/>
                </a:cubicBezTo>
                <a:cubicBezTo>
                  <a:pt x="80" y="10"/>
                  <a:pt x="80" y="10"/>
                  <a:pt x="80" y="10"/>
                </a:cubicBezTo>
                <a:cubicBezTo>
                  <a:pt x="80" y="17"/>
                  <a:pt x="76" y="20"/>
                  <a:pt x="69" y="20"/>
                </a:cubicBezTo>
                <a:cubicBezTo>
                  <a:pt x="25" y="20"/>
                  <a:pt x="25" y="20"/>
                  <a:pt x="25" y="20"/>
                </a:cubicBezTo>
                <a:cubicBezTo>
                  <a:pt x="25" y="44"/>
                  <a:pt x="25" y="44"/>
                  <a:pt x="25" y="44"/>
                </a:cubicBezTo>
                <a:cubicBezTo>
                  <a:pt x="28" y="43"/>
                  <a:pt x="31" y="42"/>
                  <a:pt x="34" y="4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097" name="Freeform 73"/>
          <p:cNvSpPr>
            <a:spLocks noEditPoints="1"/>
          </p:cNvSpPr>
          <p:nvPr userDrawn="1"/>
        </p:nvSpPr>
        <p:spPr bwMode="auto">
          <a:xfrm>
            <a:off x="3796701" y="4500563"/>
            <a:ext cx="77411" cy="97631"/>
          </a:xfrm>
          <a:custGeom>
            <a:avLst/>
            <a:gdLst/>
            <a:ahLst/>
            <a:cxnLst>
              <a:cxn ang="0">
                <a:pos x="37" y="45"/>
              </a:cxn>
              <a:cxn ang="0">
                <a:pos x="54" y="41"/>
              </a:cxn>
              <a:cxn ang="0">
                <a:pos x="69" y="44"/>
              </a:cxn>
              <a:cxn ang="0">
                <a:pos x="81" y="50"/>
              </a:cxn>
              <a:cxn ang="0">
                <a:pos x="88" y="60"/>
              </a:cxn>
              <a:cxn ang="0">
                <a:pos x="91" y="74"/>
              </a:cxn>
              <a:cxn ang="0">
                <a:pos x="91" y="75"/>
              </a:cxn>
              <a:cxn ang="0">
                <a:pos x="87" y="90"/>
              </a:cxn>
              <a:cxn ang="0">
                <a:pos x="78" y="102"/>
              </a:cxn>
              <a:cxn ang="0">
                <a:pos x="65" y="110"/>
              </a:cxn>
              <a:cxn ang="0">
                <a:pos x="47" y="113"/>
              </a:cxn>
              <a:cxn ang="0">
                <a:pos x="27" y="109"/>
              </a:cxn>
              <a:cxn ang="0">
                <a:pos x="13" y="99"/>
              </a:cxn>
              <a:cxn ang="0">
                <a:pos x="3" y="83"/>
              </a:cxn>
              <a:cxn ang="0">
                <a:pos x="0" y="62"/>
              </a:cxn>
              <a:cxn ang="0">
                <a:pos x="0" y="52"/>
              </a:cxn>
              <a:cxn ang="0">
                <a:pos x="4" y="30"/>
              </a:cxn>
              <a:cxn ang="0">
                <a:pos x="13" y="14"/>
              </a:cxn>
              <a:cxn ang="0">
                <a:pos x="29" y="3"/>
              </a:cxn>
              <a:cxn ang="0">
                <a:pos x="49" y="0"/>
              </a:cxn>
              <a:cxn ang="0">
                <a:pos x="65" y="1"/>
              </a:cxn>
              <a:cxn ang="0">
                <a:pos x="77" y="6"/>
              </a:cxn>
              <a:cxn ang="0">
                <a:pos x="84" y="13"/>
              </a:cxn>
              <a:cxn ang="0">
                <a:pos x="86" y="21"/>
              </a:cxn>
              <a:cxn ang="0">
                <a:pos x="84" y="27"/>
              </a:cxn>
              <a:cxn ang="0">
                <a:pos x="80" y="30"/>
              </a:cxn>
              <a:cxn ang="0">
                <a:pos x="76" y="32"/>
              </a:cxn>
              <a:cxn ang="0">
                <a:pos x="74" y="32"/>
              </a:cxn>
              <a:cxn ang="0">
                <a:pos x="65" y="23"/>
              </a:cxn>
              <a:cxn ang="0">
                <a:pos x="51" y="19"/>
              </a:cxn>
              <a:cxn ang="0">
                <a:pos x="25" y="51"/>
              </a:cxn>
              <a:cxn ang="0">
                <a:pos x="25" y="52"/>
              </a:cxn>
              <a:cxn ang="0">
                <a:pos x="37" y="45"/>
              </a:cxn>
              <a:cxn ang="0">
                <a:pos x="25" y="68"/>
              </a:cxn>
              <a:cxn ang="0">
                <a:pos x="31" y="87"/>
              </a:cxn>
              <a:cxn ang="0">
                <a:pos x="47" y="94"/>
              </a:cxn>
              <a:cxn ang="0">
                <a:pos x="61" y="89"/>
              </a:cxn>
              <a:cxn ang="0">
                <a:pos x="67" y="77"/>
              </a:cxn>
              <a:cxn ang="0">
                <a:pos x="67" y="76"/>
              </a:cxn>
              <a:cxn ang="0">
                <a:pos x="62" y="63"/>
              </a:cxn>
              <a:cxn ang="0">
                <a:pos x="47" y="59"/>
              </a:cxn>
              <a:cxn ang="0">
                <a:pos x="35" y="61"/>
              </a:cxn>
              <a:cxn ang="0">
                <a:pos x="25" y="68"/>
              </a:cxn>
            </a:cxnLst>
            <a:rect l="0" t="0" r="r" b="b"/>
            <a:pathLst>
              <a:path w="91" h="113">
                <a:moveTo>
                  <a:pt x="37" y="45"/>
                </a:moveTo>
                <a:cubicBezTo>
                  <a:pt x="42" y="43"/>
                  <a:pt x="48" y="41"/>
                  <a:pt x="54" y="41"/>
                </a:cubicBezTo>
                <a:cubicBezTo>
                  <a:pt x="60" y="41"/>
                  <a:pt x="65" y="42"/>
                  <a:pt x="69" y="44"/>
                </a:cubicBezTo>
                <a:cubicBezTo>
                  <a:pt x="73" y="45"/>
                  <a:pt x="77" y="47"/>
                  <a:pt x="81" y="50"/>
                </a:cubicBezTo>
                <a:cubicBezTo>
                  <a:pt x="84" y="53"/>
                  <a:pt x="86" y="56"/>
                  <a:pt x="88" y="60"/>
                </a:cubicBezTo>
                <a:cubicBezTo>
                  <a:pt x="90" y="64"/>
                  <a:pt x="91" y="69"/>
                  <a:pt x="91" y="74"/>
                </a:cubicBezTo>
                <a:cubicBezTo>
                  <a:pt x="91" y="75"/>
                  <a:pt x="91" y="75"/>
                  <a:pt x="91" y="75"/>
                </a:cubicBezTo>
                <a:cubicBezTo>
                  <a:pt x="91" y="81"/>
                  <a:pt x="89" y="86"/>
                  <a:pt x="87" y="90"/>
                </a:cubicBezTo>
                <a:cubicBezTo>
                  <a:pt x="85" y="95"/>
                  <a:pt x="82" y="99"/>
                  <a:pt x="78" y="102"/>
                </a:cubicBezTo>
                <a:cubicBezTo>
                  <a:pt x="75" y="106"/>
                  <a:pt x="70" y="108"/>
                  <a:pt x="65" y="110"/>
                </a:cubicBezTo>
                <a:cubicBezTo>
                  <a:pt x="60" y="112"/>
                  <a:pt x="54" y="113"/>
                  <a:pt x="47" y="113"/>
                </a:cubicBezTo>
                <a:cubicBezTo>
                  <a:pt x="40" y="113"/>
                  <a:pt x="33" y="112"/>
                  <a:pt x="27" y="109"/>
                </a:cubicBezTo>
                <a:cubicBezTo>
                  <a:pt x="22" y="107"/>
                  <a:pt x="17" y="103"/>
                  <a:pt x="13" y="99"/>
                </a:cubicBezTo>
                <a:cubicBezTo>
                  <a:pt x="9" y="94"/>
                  <a:pt x="5" y="89"/>
                  <a:pt x="3" y="83"/>
                </a:cubicBezTo>
                <a:cubicBezTo>
                  <a:pt x="1" y="77"/>
                  <a:pt x="0" y="70"/>
                  <a:pt x="0" y="62"/>
                </a:cubicBezTo>
                <a:cubicBezTo>
                  <a:pt x="0" y="52"/>
                  <a:pt x="0" y="52"/>
                  <a:pt x="0" y="52"/>
                </a:cubicBezTo>
                <a:cubicBezTo>
                  <a:pt x="0" y="44"/>
                  <a:pt x="1" y="37"/>
                  <a:pt x="4" y="30"/>
                </a:cubicBezTo>
                <a:cubicBezTo>
                  <a:pt x="6" y="24"/>
                  <a:pt x="9" y="18"/>
                  <a:pt x="13" y="14"/>
                </a:cubicBezTo>
                <a:cubicBezTo>
                  <a:pt x="18" y="9"/>
                  <a:pt x="23" y="6"/>
                  <a:pt x="29" y="3"/>
                </a:cubicBezTo>
                <a:cubicBezTo>
                  <a:pt x="35" y="1"/>
                  <a:pt x="42" y="0"/>
                  <a:pt x="49" y="0"/>
                </a:cubicBezTo>
                <a:cubicBezTo>
                  <a:pt x="55" y="0"/>
                  <a:pt x="61" y="0"/>
                  <a:pt x="65" y="1"/>
                </a:cubicBezTo>
                <a:cubicBezTo>
                  <a:pt x="70" y="3"/>
                  <a:pt x="74" y="4"/>
                  <a:pt x="77" y="6"/>
                </a:cubicBezTo>
                <a:cubicBezTo>
                  <a:pt x="80" y="8"/>
                  <a:pt x="82" y="10"/>
                  <a:pt x="84" y="13"/>
                </a:cubicBezTo>
                <a:cubicBezTo>
                  <a:pt x="85" y="15"/>
                  <a:pt x="86" y="18"/>
                  <a:pt x="86" y="21"/>
                </a:cubicBezTo>
                <a:cubicBezTo>
                  <a:pt x="86" y="23"/>
                  <a:pt x="86" y="25"/>
                  <a:pt x="84" y="27"/>
                </a:cubicBezTo>
                <a:cubicBezTo>
                  <a:pt x="83" y="28"/>
                  <a:pt x="82" y="29"/>
                  <a:pt x="80" y="30"/>
                </a:cubicBezTo>
                <a:cubicBezTo>
                  <a:pt x="79" y="31"/>
                  <a:pt x="77" y="31"/>
                  <a:pt x="76" y="32"/>
                </a:cubicBezTo>
                <a:cubicBezTo>
                  <a:pt x="75" y="32"/>
                  <a:pt x="74" y="32"/>
                  <a:pt x="74" y="32"/>
                </a:cubicBezTo>
                <a:cubicBezTo>
                  <a:pt x="72" y="28"/>
                  <a:pt x="69" y="26"/>
                  <a:pt x="65" y="23"/>
                </a:cubicBezTo>
                <a:cubicBezTo>
                  <a:pt x="62" y="21"/>
                  <a:pt x="57" y="19"/>
                  <a:pt x="51" y="19"/>
                </a:cubicBezTo>
                <a:cubicBezTo>
                  <a:pt x="33" y="19"/>
                  <a:pt x="25" y="30"/>
                  <a:pt x="25" y="51"/>
                </a:cubicBezTo>
                <a:cubicBezTo>
                  <a:pt x="25" y="52"/>
                  <a:pt x="25" y="52"/>
                  <a:pt x="25" y="52"/>
                </a:cubicBezTo>
                <a:cubicBezTo>
                  <a:pt x="28" y="49"/>
                  <a:pt x="32" y="47"/>
                  <a:pt x="37" y="45"/>
                </a:cubicBezTo>
                <a:close/>
                <a:moveTo>
                  <a:pt x="25" y="68"/>
                </a:moveTo>
                <a:cubicBezTo>
                  <a:pt x="26" y="76"/>
                  <a:pt x="28" y="83"/>
                  <a:pt x="31" y="87"/>
                </a:cubicBezTo>
                <a:cubicBezTo>
                  <a:pt x="35" y="92"/>
                  <a:pt x="40" y="94"/>
                  <a:pt x="47" y="94"/>
                </a:cubicBezTo>
                <a:cubicBezTo>
                  <a:pt x="53" y="94"/>
                  <a:pt x="57" y="93"/>
                  <a:pt x="61" y="89"/>
                </a:cubicBezTo>
                <a:cubicBezTo>
                  <a:pt x="65" y="86"/>
                  <a:pt x="67" y="82"/>
                  <a:pt x="67" y="77"/>
                </a:cubicBezTo>
                <a:cubicBezTo>
                  <a:pt x="67" y="76"/>
                  <a:pt x="67" y="76"/>
                  <a:pt x="67" y="76"/>
                </a:cubicBezTo>
                <a:cubicBezTo>
                  <a:pt x="67" y="70"/>
                  <a:pt x="65" y="66"/>
                  <a:pt x="62" y="63"/>
                </a:cubicBezTo>
                <a:cubicBezTo>
                  <a:pt x="58" y="60"/>
                  <a:pt x="53" y="59"/>
                  <a:pt x="47" y="59"/>
                </a:cubicBezTo>
                <a:cubicBezTo>
                  <a:pt x="43" y="59"/>
                  <a:pt x="39" y="60"/>
                  <a:pt x="35" y="61"/>
                </a:cubicBezTo>
                <a:cubicBezTo>
                  <a:pt x="31" y="63"/>
                  <a:pt x="28" y="65"/>
                  <a:pt x="25" y="6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01" name="Freeform 77"/>
          <p:cNvSpPr>
            <a:spLocks/>
          </p:cNvSpPr>
          <p:nvPr userDrawn="1"/>
        </p:nvSpPr>
        <p:spPr bwMode="auto">
          <a:xfrm>
            <a:off x="4025361" y="4501754"/>
            <a:ext cx="71456" cy="94059"/>
          </a:xfrm>
          <a:custGeom>
            <a:avLst/>
            <a:gdLst/>
            <a:ahLst/>
            <a:cxnLst>
              <a:cxn ang="0">
                <a:pos x="58" y="21"/>
              </a:cxn>
              <a:cxn ang="0">
                <a:pos x="11" y="21"/>
              </a:cxn>
              <a:cxn ang="0">
                <a:pos x="2" y="19"/>
              </a:cxn>
              <a:cxn ang="0">
                <a:pos x="0" y="11"/>
              </a:cxn>
              <a:cxn ang="0">
                <a:pos x="0" y="10"/>
              </a:cxn>
              <a:cxn ang="0">
                <a:pos x="2" y="3"/>
              </a:cxn>
              <a:cxn ang="0">
                <a:pos x="11" y="0"/>
              </a:cxn>
              <a:cxn ang="0">
                <a:pos x="69" y="0"/>
              </a:cxn>
              <a:cxn ang="0">
                <a:pos x="77" y="1"/>
              </a:cxn>
              <a:cxn ang="0">
                <a:pos x="82" y="4"/>
              </a:cxn>
              <a:cxn ang="0">
                <a:pos x="84" y="8"/>
              </a:cxn>
              <a:cxn ang="0">
                <a:pos x="85" y="13"/>
              </a:cxn>
              <a:cxn ang="0">
                <a:pos x="85" y="14"/>
              </a:cxn>
              <a:cxn ang="0">
                <a:pos x="82" y="24"/>
              </a:cxn>
              <a:cxn ang="0">
                <a:pos x="78" y="33"/>
              </a:cxn>
              <a:cxn ang="0">
                <a:pos x="40" y="102"/>
              </a:cxn>
              <a:cxn ang="0">
                <a:pos x="34" y="108"/>
              </a:cxn>
              <a:cxn ang="0">
                <a:pos x="27" y="110"/>
              </a:cxn>
              <a:cxn ang="0">
                <a:pos x="21" y="109"/>
              </a:cxn>
              <a:cxn ang="0">
                <a:pos x="17" y="107"/>
              </a:cxn>
              <a:cxn ang="0">
                <a:pos x="14" y="104"/>
              </a:cxn>
              <a:cxn ang="0">
                <a:pos x="13" y="101"/>
              </a:cxn>
              <a:cxn ang="0">
                <a:pos x="58" y="21"/>
              </a:cxn>
            </a:cxnLst>
            <a:rect l="0" t="0" r="r" b="b"/>
            <a:pathLst>
              <a:path w="85" h="110">
                <a:moveTo>
                  <a:pt x="58" y="21"/>
                </a:moveTo>
                <a:cubicBezTo>
                  <a:pt x="11" y="21"/>
                  <a:pt x="11" y="21"/>
                  <a:pt x="11" y="21"/>
                </a:cubicBezTo>
                <a:cubicBezTo>
                  <a:pt x="7" y="21"/>
                  <a:pt x="4" y="20"/>
                  <a:pt x="2" y="19"/>
                </a:cubicBezTo>
                <a:cubicBezTo>
                  <a:pt x="1" y="17"/>
                  <a:pt x="0" y="15"/>
                  <a:pt x="0" y="11"/>
                </a:cubicBezTo>
                <a:cubicBezTo>
                  <a:pt x="0" y="10"/>
                  <a:pt x="0" y="10"/>
                  <a:pt x="0" y="10"/>
                </a:cubicBezTo>
                <a:cubicBezTo>
                  <a:pt x="0" y="7"/>
                  <a:pt x="1" y="4"/>
                  <a:pt x="2" y="3"/>
                </a:cubicBezTo>
                <a:cubicBezTo>
                  <a:pt x="4" y="1"/>
                  <a:pt x="7" y="0"/>
                  <a:pt x="11" y="0"/>
                </a:cubicBezTo>
                <a:cubicBezTo>
                  <a:pt x="69" y="0"/>
                  <a:pt x="69" y="0"/>
                  <a:pt x="69" y="0"/>
                </a:cubicBezTo>
                <a:cubicBezTo>
                  <a:pt x="72" y="0"/>
                  <a:pt x="75" y="1"/>
                  <a:pt x="77" y="1"/>
                </a:cubicBezTo>
                <a:cubicBezTo>
                  <a:pt x="79" y="2"/>
                  <a:pt x="81" y="3"/>
                  <a:pt x="82" y="4"/>
                </a:cubicBezTo>
                <a:cubicBezTo>
                  <a:pt x="83" y="5"/>
                  <a:pt x="84" y="7"/>
                  <a:pt x="84" y="8"/>
                </a:cubicBezTo>
                <a:cubicBezTo>
                  <a:pt x="85" y="10"/>
                  <a:pt x="85" y="11"/>
                  <a:pt x="85" y="13"/>
                </a:cubicBezTo>
                <a:cubicBezTo>
                  <a:pt x="85" y="14"/>
                  <a:pt x="85" y="14"/>
                  <a:pt x="85" y="14"/>
                </a:cubicBezTo>
                <a:cubicBezTo>
                  <a:pt x="85" y="17"/>
                  <a:pt x="84" y="20"/>
                  <a:pt x="82" y="24"/>
                </a:cubicBezTo>
                <a:cubicBezTo>
                  <a:pt x="81" y="27"/>
                  <a:pt x="79" y="30"/>
                  <a:pt x="78" y="33"/>
                </a:cubicBezTo>
                <a:cubicBezTo>
                  <a:pt x="40" y="102"/>
                  <a:pt x="40" y="102"/>
                  <a:pt x="40" y="102"/>
                </a:cubicBezTo>
                <a:cubicBezTo>
                  <a:pt x="38" y="105"/>
                  <a:pt x="36" y="107"/>
                  <a:pt x="34" y="108"/>
                </a:cubicBezTo>
                <a:cubicBezTo>
                  <a:pt x="31" y="110"/>
                  <a:pt x="29" y="110"/>
                  <a:pt x="27" y="110"/>
                </a:cubicBezTo>
                <a:cubicBezTo>
                  <a:pt x="25" y="110"/>
                  <a:pt x="23" y="110"/>
                  <a:pt x="21" y="109"/>
                </a:cubicBezTo>
                <a:cubicBezTo>
                  <a:pt x="19" y="108"/>
                  <a:pt x="18" y="108"/>
                  <a:pt x="17" y="107"/>
                </a:cubicBezTo>
                <a:cubicBezTo>
                  <a:pt x="15" y="106"/>
                  <a:pt x="14" y="105"/>
                  <a:pt x="14" y="104"/>
                </a:cubicBezTo>
                <a:cubicBezTo>
                  <a:pt x="13" y="103"/>
                  <a:pt x="13" y="102"/>
                  <a:pt x="13" y="101"/>
                </a:cubicBezTo>
                <a:lnTo>
                  <a:pt x="58" y="21"/>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05" name="Freeform 81"/>
          <p:cNvSpPr>
            <a:spLocks noEditPoints="1"/>
          </p:cNvSpPr>
          <p:nvPr userDrawn="1"/>
        </p:nvSpPr>
        <p:spPr bwMode="auto">
          <a:xfrm>
            <a:off x="4248066" y="4500563"/>
            <a:ext cx="77411" cy="97631"/>
          </a:xfrm>
          <a:custGeom>
            <a:avLst/>
            <a:gdLst/>
            <a:ahLst/>
            <a:cxnLst>
              <a:cxn ang="0">
                <a:pos x="22" y="55"/>
              </a:cxn>
              <a:cxn ang="0">
                <a:pos x="8" y="46"/>
              </a:cxn>
              <a:cxn ang="0">
                <a:pos x="3" y="31"/>
              </a:cxn>
              <a:cxn ang="0">
                <a:pos x="6" y="18"/>
              </a:cxn>
              <a:cxn ang="0">
                <a:pos x="15" y="8"/>
              </a:cxn>
              <a:cxn ang="0">
                <a:pos x="28" y="2"/>
              </a:cxn>
              <a:cxn ang="0">
                <a:pos x="46" y="0"/>
              </a:cxn>
              <a:cxn ang="0">
                <a:pos x="63" y="2"/>
              </a:cxn>
              <a:cxn ang="0">
                <a:pos x="76" y="8"/>
              </a:cxn>
              <a:cxn ang="0">
                <a:pos x="84" y="18"/>
              </a:cxn>
              <a:cxn ang="0">
                <a:pos x="87" y="30"/>
              </a:cxn>
              <a:cxn ang="0">
                <a:pos x="83" y="45"/>
              </a:cxn>
              <a:cxn ang="0">
                <a:pos x="69" y="55"/>
              </a:cxn>
              <a:cxn ang="0">
                <a:pos x="85" y="65"/>
              </a:cxn>
              <a:cxn ang="0">
                <a:pos x="91" y="82"/>
              </a:cxn>
              <a:cxn ang="0">
                <a:pos x="88" y="94"/>
              </a:cxn>
              <a:cxn ang="0">
                <a:pos x="78" y="104"/>
              </a:cxn>
              <a:cxn ang="0">
                <a:pos x="64" y="111"/>
              </a:cxn>
              <a:cxn ang="0">
                <a:pos x="45" y="113"/>
              </a:cxn>
              <a:cxn ang="0">
                <a:pos x="12" y="105"/>
              </a:cxn>
              <a:cxn ang="0">
                <a:pos x="0" y="82"/>
              </a:cxn>
              <a:cxn ang="0">
                <a:pos x="5" y="65"/>
              </a:cxn>
              <a:cxn ang="0">
                <a:pos x="22" y="55"/>
              </a:cxn>
              <a:cxn ang="0">
                <a:pos x="45" y="95"/>
              </a:cxn>
              <a:cxn ang="0">
                <a:pos x="61" y="91"/>
              </a:cxn>
              <a:cxn ang="0">
                <a:pos x="67" y="79"/>
              </a:cxn>
              <a:cxn ang="0">
                <a:pos x="61" y="67"/>
              </a:cxn>
              <a:cxn ang="0">
                <a:pos x="45" y="63"/>
              </a:cxn>
              <a:cxn ang="0">
                <a:pos x="30" y="67"/>
              </a:cxn>
              <a:cxn ang="0">
                <a:pos x="24" y="79"/>
              </a:cxn>
              <a:cxn ang="0">
                <a:pos x="30" y="91"/>
              </a:cxn>
              <a:cxn ang="0">
                <a:pos x="45" y="95"/>
              </a:cxn>
              <a:cxn ang="0">
                <a:pos x="45" y="48"/>
              </a:cxn>
              <a:cxn ang="0">
                <a:pos x="59" y="44"/>
              </a:cxn>
              <a:cxn ang="0">
                <a:pos x="64" y="33"/>
              </a:cxn>
              <a:cxn ang="0">
                <a:pos x="59" y="22"/>
              </a:cxn>
              <a:cxn ang="0">
                <a:pos x="45" y="18"/>
              </a:cxn>
              <a:cxn ang="0">
                <a:pos x="31" y="22"/>
              </a:cxn>
              <a:cxn ang="0">
                <a:pos x="26" y="33"/>
              </a:cxn>
              <a:cxn ang="0">
                <a:pos x="32" y="43"/>
              </a:cxn>
              <a:cxn ang="0">
                <a:pos x="45" y="48"/>
              </a:cxn>
            </a:cxnLst>
            <a:rect l="0" t="0" r="r" b="b"/>
            <a:pathLst>
              <a:path w="91" h="113">
                <a:moveTo>
                  <a:pt x="22" y="55"/>
                </a:moveTo>
                <a:cubicBezTo>
                  <a:pt x="15" y="53"/>
                  <a:pt x="11" y="50"/>
                  <a:pt x="8" y="46"/>
                </a:cubicBezTo>
                <a:cubicBezTo>
                  <a:pt x="5" y="42"/>
                  <a:pt x="3" y="37"/>
                  <a:pt x="3" y="31"/>
                </a:cubicBezTo>
                <a:cubicBezTo>
                  <a:pt x="3" y="26"/>
                  <a:pt x="4" y="22"/>
                  <a:pt x="6" y="18"/>
                </a:cubicBezTo>
                <a:cubicBezTo>
                  <a:pt x="8" y="14"/>
                  <a:pt x="11" y="11"/>
                  <a:pt x="15" y="8"/>
                </a:cubicBezTo>
                <a:cubicBezTo>
                  <a:pt x="18" y="6"/>
                  <a:pt x="23" y="3"/>
                  <a:pt x="28" y="2"/>
                </a:cubicBezTo>
                <a:cubicBezTo>
                  <a:pt x="33" y="0"/>
                  <a:pt x="39" y="0"/>
                  <a:pt x="46" y="0"/>
                </a:cubicBezTo>
                <a:cubicBezTo>
                  <a:pt x="52" y="0"/>
                  <a:pt x="58" y="0"/>
                  <a:pt x="63" y="2"/>
                </a:cubicBezTo>
                <a:cubicBezTo>
                  <a:pt x="68" y="3"/>
                  <a:pt x="72" y="5"/>
                  <a:pt x="76" y="8"/>
                </a:cubicBezTo>
                <a:cubicBezTo>
                  <a:pt x="80" y="11"/>
                  <a:pt x="82" y="14"/>
                  <a:pt x="84" y="18"/>
                </a:cubicBezTo>
                <a:cubicBezTo>
                  <a:pt x="86" y="21"/>
                  <a:pt x="87" y="26"/>
                  <a:pt x="87" y="30"/>
                </a:cubicBezTo>
                <a:cubicBezTo>
                  <a:pt x="87" y="36"/>
                  <a:pt x="86" y="41"/>
                  <a:pt x="83" y="45"/>
                </a:cubicBezTo>
                <a:cubicBezTo>
                  <a:pt x="80" y="49"/>
                  <a:pt x="75" y="53"/>
                  <a:pt x="69" y="55"/>
                </a:cubicBezTo>
                <a:cubicBezTo>
                  <a:pt x="76" y="57"/>
                  <a:pt x="82" y="60"/>
                  <a:pt x="85" y="65"/>
                </a:cubicBezTo>
                <a:cubicBezTo>
                  <a:pt x="89" y="70"/>
                  <a:pt x="91" y="75"/>
                  <a:pt x="91" y="82"/>
                </a:cubicBezTo>
                <a:cubicBezTo>
                  <a:pt x="91" y="86"/>
                  <a:pt x="90" y="91"/>
                  <a:pt x="88" y="94"/>
                </a:cubicBezTo>
                <a:cubicBezTo>
                  <a:pt x="85" y="98"/>
                  <a:pt x="82" y="102"/>
                  <a:pt x="78" y="104"/>
                </a:cubicBezTo>
                <a:cubicBezTo>
                  <a:pt x="74" y="107"/>
                  <a:pt x="70" y="109"/>
                  <a:pt x="64" y="111"/>
                </a:cubicBezTo>
                <a:cubicBezTo>
                  <a:pt x="58" y="112"/>
                  <a:pt x="52" y="113"/>
                  <a:pt x="45" y="113"/>
                </a:cubicBezTo>
                <a:cubicBezTo>
                  <a:pt x="31" y="113"/>
                  <a:pt x="20" y="110"/>
                  <a:pt x="12" y="105"/>
                </a:cubicBezTo>
                <a:cubicBezTo>
                  <a:pt x="4" y="99"/>
                  <a:pt x="0" y="91"/>
                  <a:pt x="0" y="82"/>
                </a:cubicBezTo>
                <a:cubicBezTo>
                  <a:pt x="0" y="75"/>
                  <a:pt x="2" y="70"/>
                  <a:pt x="5" y="65"/>
                </a:cubicBezTo>
                <a:cubicBezTo>
                  <a:pt x="9" y="61"/>
                  <a:pt x="14" y="57"/>
                  <a:pt x="22" y="55"/>
                </a:cubicBezTo>
                <a:close/>
                <a:moveTo>
                  <a:pt x="45" y="95"/>
                </a:moveTo>
                <a:cubicBezTo>
                  <a:pt x="52" y="95"/>
                  <a:pt x="58" y="94"/>
                  <a:pt x="61" y="91"/>
                </a:cubicBezTo>
                <a:cubicBezTo>
                  <a:pt x="65" y="88"/>
                  <a:pt x="67" y="84"/>
                  <a:pt x="67" y="79"/>
                </a:cubicBezTo>
                <a:cubicBezTo>
                  <a:pt x="67" y="74"/>
                  <a:pt x="65" y="70"/>
                  <a:pt x="61" y="67"/>
                </a:cubicBezTo>
                <a:cubicBezTo>
                  <a:pt x="57" y="65"/>
                  <a:pt x="52" y="63"/>
                  <a:pt x="45" y="63"/>
                </a:cubicBezTo>
                <a:cubicBezTo>
                  <a:pt x="39" y="63"/>
                  <a:pt x="33" y="65"/>
                  <a:pt x="30" y="67"/>
                </a:cubicBezTo>
                <a:cubicBezTo>
                  <a:pt x="26" y="70"/>
                  <a:pt x="24" y="74"/>
                  <a:pt x="24" y="79"/>
                </a:cubicBezTo>
                <a:cubicBezTo>
                  <a:pt x="24" y="84"/>
                  <a:pt x="26" y="88"/>
                  <a:pt x="30" y="91"/>
                </a:cubicBezTo>
                <a:cubicBezTo>
                  <a:pt x="33" y="94"/>
                  <a:pt x="39" y="95"/>
                  <a:pt x="45" y="95"/>
                </a:cubicBezTo>
                <a:close/>
                <a:moveTo>
                  <a:pt x="45" y="48"/>
                </a:moveTo>
                <a:cubicBezTo>
                  <a:pt x="51" y="48"/>
                  <a:pt x="56" y="46"/>
                  <a:pt x="59" y="44"/>
                </a:cubicBezTo>
                <a:cubicBezTo>
                  <a:pt x="63" y="41"/>
                  <a:pt x="64" y="37"/>
                  <a:pt x="64" y="33"/>
                </a:cubicBezTo>
                <a:cubicBezTo>
                  <a:pt x="64" y="28"/>
                  <a:pt x="63" y="25"/>
                  <a:pt x="59" y="22"/>
                </a:cubicBezTo>
                <a:cubicBezTo>
                  <a:pt x="56" y="19"/>
                  <a:pt x="51" y="18"/>
                  <a:pt x="45" y="18"/>
                </a:cubicBezTo>
                <a:cubicBezTo>
                  <a:pt x="39" y="18"/>
                  <a:pt x="35" y="19"/>
                  <a:pt x="31" y="22"/>
                </a:cubicBezTo>
                <a:cubicBezTo>
                  <a:pt x="28" y="25"/>
                  <a:pt x="26" y="28"/>
                  <a:pt x="26" y="33"/>
                </a:cubicBezTo>
                <a:cubicBezTo>
                  <a:pt x="26" y="37"/>
                  <a:pt x="28" y="41"/>
                  <a:pt x="32" y="43"/>
                </a:cubicBezTo>
                <a:cubicBezTo>
                  <a:pt x="35" y="46"/>
                  <a:pt x="40" y="48"/>
                  <a:pt x="45" y="4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09" name="Freeform 85"/>
          <p:cNvSpPr>
            <a:spLocks noEditPoints="1"/>
          </p:cNvSpPr>
          <p:nvPr userDrawn="1"/>
        </p:nvSpPr>
        <p:spPr bwMode="auto">
          <a:xfrm>
            <a:off x="4473152" y="4500563"/>
            <a:ext cx="77411" cy="97631"/>
          </a:xfrm>
          <a:custGeom>
            <a:avLst/>
            <a:gdLst/>
            <a:ahLst/>
            <a:cxnLst>
              <a:cxn ang="0">
                <a:pos x="54" y="69"/>
              </a:cxn>
              <a:cxn ang="0">
                <a:pos x="37" y="72"/>
              </a:cxn>
              <a:cxn ang="0">
                <a:pos x="22" y="70"/>
              </a:cxn>
              <a:cxn ang="0">
                <a:pos x="10" y="63"/>
              </a:cxn>
              <a:cxn ang="0">
                <a:pos x="3" y="53"/>
              </a:cxn>
              <a:cxn ang="0">
                <a:pos x="0" y="39"/>
              </a:cxn>
              <a:cxn ang="0">
                <a:pos x="0" y="38"/>
              </a:cxn>
              <a:cxn ang="0">
                <a:pos x="3" y="23"/>
              </a:cxn>
              <a:cxn ang="0">
                <a:pos x="12" y="11"/>
              </a:cxn>
              <a:cxn ang="0">
                <a:pos x="26" y="3"/>
              </a:cxn>
              <a:cxn ang="0">
                <a:pos x="43" y="0"/>
              </a:cxn>
              <a:cxn ang="0">
                <a:pos x="63" y="3"/>
              </a:cxn>
              <a:cxn ang="0">
                <a:pos x="78" y="13"/>
              </a:cxn>
              <a:cxn ang="0">
                <a:pos x="87" y="29"/>
              </a:cxn>
              <a:cxn ang="0">
                <a:pos x="90" y="51"/>
              </a:cxn>
              <a:cxn ang="0">
                <a:pos x="90" y="61"/>
              </a:cxn>
              <a:cxn ang="0">
                <a:pos x="78" y="100"/>
              </a:cxn>
              <a:cxn ang="0">
                <a:pos x="41" y="113"/>
              </a:cxn>
              <a:cxn ang="0">
                <a:pos x="25" y="111"/>
              </a:cxn>
              <a:cxn ang="0">
                <a:pos x="13" y="107"/>
              </a:cxn>
              <a:cxn ang="0">
                <a:pos x="6" y="101"/>
              </a:cxn>
              <a:cxn ang="0">
                <a:pos x="4" y="94"/>
              </a:cxn>
              <a:cxn ang="0">
                <a:pos x="5" y="88"/>
              </a:cxn>
              <a:cxn ang="0">
                <a:pos x="8" y="84"/>
              </a:cxn>
              <a:cxn ang="0">
                <a:pos x="11" y="82"/>
              </a:cxn>
              <a:cxn ang="0">
                <a:pos x="13" y="82"/>
              </a:cxn>
              <a:cxn ang="0">
                <a:pos x="24" y="90"/>
              </a:cxn>
              <a:cxn ang="0">
                <a:pos x="39" y="93"/>
              </a:cxn>
              <a:cxn ang="0">
                <a:pos x="60" y="86"/>
              </a:cxn>
              <a:cxn ang="0">
                <a:pos x="66" y="62"/>
              </a:cxn>
              <a:cxn ang="0">
                <a:pos x="66" y="61"/>
              </a:cxn>
              <a:cxn ang="0">
                <a:pos x="54" y="69"/>
              </a:cxn>
              <a:cxn ang="0">
                <a:pos x="66" y="45"/>
              </a:cxn>
              <a:cxn ang="0">
                <a:pos x="60" y="25"/>
              </a:cxn>
              <a:cxn ang="0">
                <a:pos x="44" y="18"/>
              </a:cxn>
              <a:cxn ang="0">
                <a:pos x="30" y="24"/>
              </a:cxn>
              <a:cxn ang="0">
                <a:pos x="24" y="37"/>
              </a:cxn>
              <a:cxn ang="0">
                <a:pos x="24" y="37"/>
              </a:cxn>
              <a:cxn ang="0">
                <a:pos x="29" y="50"/>
              </a:cxn>
              <a:cxn ang="0">
                <a:pos x="44" y="54"/>
              </a:cxn>
              <a:cxn ang="0">
                <a:pos x="56" y="52"/>
              </a:cxn>
              <a:cxn ang="0">
                <a:pos x="66" y="45"/>
              </a:cxn>
            </a:cxnLst>
            <a:rect l="0" t="0" r="r" b="b"/>
            <a:pathLst>
              <a:path w="90" h="113">
                <a:moveTo>
                  <a:pt x="54" y="69"/>
                </a:moveTo>
                <a:cubicBezTo>
                  <a:pt x="49" y="71"/>
                  <a:pt x="43" y="72"/>
                  <a:pt x="37" y="72"/>
                </a:cubicBezTo>
                <a:cubicBezTo>
                  <a:pt x="31" y="72"/>
                  <a:pt x="26" y="71"/>
                  <a:pt x="22" y="70"/>
                </a:cubicBezTo>
                <a:cubicBezTo>
                  <a:pt x="17" y="68"/>
                  <a:pt x="13" y="66"/>
                  <a:pt x="10" y="63"/>
                </a:cubicBezTo>
                <a:cubicBezTo>
                  <a:pt x="7" y="61"/>
                  <a:pt x="5" y="57"/>
                  <a:pt x="3" y="53"/>
                </a:cubicBezTo>
                <a:cubicBezTo>
                  <a:pt x="1" y="49"/>
                  <a:pt x="0" y="44"/>
                  <a:pt x="0" y="39"/>
                </a:cubicBezTo>
                <a:cubicBezTo>
                  <a:pt x="0" y="38"/>
                  <a:pt x="0" y="38"/>
                  <a:pt x="0" y="38"/>
                </a:cubicBezTo>
                <a:cubicBezTo>
                  <a:pt x="0" y="33"/>
                  <a:pt x="1" y="28"/>
                  <a:pt x="3" y="23"/>
                </a:cubicBezTo>
                <a:cubicBezTo>
                  <a:pt x="6" y="18"/>
                  <a:pt x="8" y="14"/>
                  <a:pt x="12" y="11"/>
                </a:cubicBezTo>
                <a:cubicBezTo>
                  <a:pt x="16" y="7"/>
                  <a:pt x="21" y="5"/>
                  <a:pt x="26" y="3"/>
                </a:cubicBezTo>
                <a:cubicBezTo>
                  <a:pt x="31" y="1"/>
                  <a:pt x="37" y="0"/>
                  <a:pt x="43" y="0"/>
                </a:cubicBezTo>
                <a:cubicBezTo>
                  <a:pt x="51" y="0"/>
                  <a:pt x="57" y="1"/>
                  <a:pt x="63" y="3"/>
                </a:cubicBezTo>
                <a:cubicBezTo>
                  <a:pt x="69" y="6"/>
                  <a:pt x="74" y="9"/>
                  <a:pt x="78" y="13"/>
                </a:cubicBezTo>
                <a:cubicBezTo>
                  <a:pt x="82" y="18"/>
                  <a:pt x="85" y="23"/>
                  <a:pt x="87" y="29"/>
                </a:cubicBezTo>
                <a:cubicBezTo>
                  <a:pt x="89" y="36"/>
                  <a:pt x="90" y="43"/>
                  <a:pt x="90" y="51"/>
                </a:cubicBezTo>
                <a:cubicBezTo>
                  <a:pt x="90" y="61"/>
                  <a:pt x="90" y="61"/>
                  <a:pt x="90" y="61"/>
                </a:cubicBezTo>
                <a:cubicBezTo>
                  <a:pt x="90" y="78"/>
                  <a:pt x="86" y="91"/>
                  <a:pt x="78" y="100"/>
                </a:cubicBezTo>
                <a:cubicBezTo>
                  <a:pt x="69" y="109"/>
                  <a:pt x="57" y="113"/>
                  <a:pt x="41" y="113"/>
                </a:cubicBezTo>
                <a:cubicBezTo>
                  <a:pt x="35" y="113"/>
                  <a:pt x="29" y="113"/>
                  <a:pt x="25" y="111"/>
                </a:cubicBezTo>
                <a:cubicBezTo>
                  <a:pt x="20" y="110"/>
                  <a:pt x="16" y="109"/>
                  <a:pt x="13" y="107"/>
                </a:cubicBezTo>
                <a:cubicBezTo>
                  <a:pt x="10" y="105"/>
                  <a:pt x="8" y="103"/>
                  <a:pt x="6" y="101"/>
                </a:cubicBezTo>
                <a:cubicBezTo>
                  <a:pt x="5" y="99"/>
                  <a:pt x="4" y="96"/>
                  <a:pt x="4" y="94"/>
                </a:cubicBezTo>
                <a:cubicBezTo>
                  <a:pt x="4" y="92"/>
                  <a:pt x="5" y="90"/>
                  <a:pt x="5" y="88"/>
                </a:cubicBezTo>
                <a:cubicBezTo>
                  <a:pt x="6" y="86"/>
                  <a:pt x="7" y="85"/>
                  <a:pt x="8" y="84"/>
                </a:cubicBezTo>
                <a:cubicBezTo>
                  <a:pt x="9" y="83"/>
                  <a:pt x="10" y="83"/>
                  <a:pt x="11" y="82"/>
                </a:cubicBezTo>
                <a:cubicBezTo>
                  <a:pt x="12" y="82"/>
                  <a:pt x="13" y="82"/>
                  <a:pt x="13" y="82"/>
                </a:cubicBezTo>
                <a:cubicBezTo>
                  <a:pt x="16" y="85"/>
                  <a:pt x="19" y="88"/>
                  <a:pt x="24" y="90"/>
                </a:cubicBezTo>
                <a:cubicBezTo>
                  <a:pt x="28" y="92"/>
                  <a:pt x="33" y="93"/>
                  <a:pt x="39" y="93"/>
                </a:cubicBezTo>
                <a:cubicBezTo>
                  <a:pt x="48" y="93"/>
                  <a:pt x="55" y="91"/>
                  <a:pt x="60" y="86"/>
                </a:cubicBezTo>
                <a:cubicBezTo>
                  <a:pt x="64" y="81"/>
                  <a:pt x="66" y="73"/>
                  <a:pt x="66" y="62"/>
                </a:cubicBezTo>
                <a:cubicBezTo>
                  <a:pt x="66" y="61"/>
                  <a:pt x="66" y="61"/>
                  <a:pt x="66" y="61"/>
                </a:cubicBezTo>
                <a:cubicBezTo>
                  <a:pt x="63" y="64"/>
                  <a:pt x="59" y="66"/>
                  <a:pt x="54" y="69"/>
                </a:cubicBezTo>
                <a:close/>
                <a:moveTo>
                  <a:pt x="66" y="45"/>
                </a:moveTo>
                <a:cubicBezTo>
                  <a:pt x="65" y="37"/>
                  <a:pt x="63" y="30"/>
                  <a:pt x="60" y="25"/>
                </a:cubicBezTo>
                <a:cubicBezTo>
                  <a:pt x="56" y="21"/>
                  <a:pt x="51" y="18"/>
                  <a:pt x="44" y="18"/>
                </a:cubicBezTo>
                <a:cubicBezTo>
                  <a:pt x="38" y="18"/>
                  <a:pt x="33" y="20"/>
                  <a:pt x="30" y="24"/>
                </a:cubicBezTo>
                <a:cubicBezTo>
                  <a:pt x="26" y="27"/>
                  <a:pt x="24" y="32"/>
                  <a:pt x="24" y="37"/>
                </a:cubicBezTo>
                <a:cubicBezTo>
                  <a:pt x="24" y="37"/>
                  <a:pt x="24" y="37"/>
                  <a:pt x="24" y="37"/>
                </a:cubicBezTo>
                <a:cubicBezTo>
                  <a:pt x="24" y="43"/>
                  <a:pt x="26" y="47"/>
                  <a:pt x="29" y="50"/>
                </a:cubicBezTo>
                <a:cubicBezTo>
                  <a:pt x="32" y="53"/>
                  <a:pt x="37" y="54"/>
                  <a:pt x="44" y="54"/>
                </a:cubicBezTo>
                <a:cubicBezTo>
                  <a:pt x="48" y="54"/>
                  <a:pt x="52" y="54"/>
                  <a:pt x="56" y="52"/>
                </a:cubicBezTo>
                <a:cubicBezTo>
                  <a:pt x="59" y="50"/>
                  <a:pt x="63" y="48"/>
                  <a:pt x="66" y="4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13" name="Freeform 89"/>
          <p:cNvSpPr>
            <a:spLocks noEditPoints="1"/>
          </p:cNvSpPr>
          <p:nvPr userDrawn="1"/>
        </p:nvSpPr>
        <p:spPr bwMode="auto">
          <a:xfrm>
            <a:off x="4694667" y="4482703"/>
            <a:ext cx="88129" cy="120254"/>
          </a:xfrm>
          <a:custGeom>
            <a:avLst/>
            <a:gdLst/>
            <a:ahLst/>
            <a:cxnLst>
              <a:cxn ang="0">
                <a:pos x="67" y="132"/>
              </a:cxn>
              <a:cxn ang="0">
                <a:pos x="90" y="107"/>
              </a:cxn>
              <a:cxn ang="0">
                <a:pos x="95" y="102"/>
              </a:cxn>
              <a:cxn ang="0">
                <a:pos x="92" y="86"/>
              </a:cxn>
              <a:cxn ang="0">
                <a:pos x="74" y="90"/>
              </a:cxn>
              <a:cxn ang="0">
                <a:pos x="64" y="100"/>
              </a:cxn>
              <a:cxn ang="0">
                <a:pos x="64" y="14"/>
              </a:cxn>
              <a:cxn ang="0">
                <a:pos x="52" y="0"/>
              </a:cxn>
              <a:cxn ang="0">
                <a:pos x="50" y="0"/>
              </a:cxn>
              <a:cxn ang="0">
                <a:pos x="38" y="14"/>
              </a:cxn>
              <a:cxn ang="0">
                <a:pos x="38" y="100"/>
              </a:cxn>
              <a:cxn ang="0">
                <a:pos x="29" y="90"/>
              </a:cxn>
              <a:cxn ang="0">
                <a:pos x="11" y="86"/>
              </a:cxn>
              <a:cxn ang="0">
                <a:pos x="8" y="102"/>
              </a:cxn>
              <a:cxn ang="0">
                <a:pos x="12" y="108"/>
              </a:cxn>
              <a:cxn ang="0">
                <a:pos x="34" y="132"/>
              </a:cxn>
              <a:cxn ang="0">
                <a:pos x="41" y="138"/>
              </a:cxn>
              <a:cxn ang="0">
                <a:pos x="51" y="141"/>
              </a:cxn>
              <a:cxn ang="0">
                <a:pos x="61" y="138"/>
              </a:cxn>
              <a:cxn ang="0">
                <a:pos x="67" y="132"/>
              </a:cxn>
              <a:cxn ang="0">
                <a:pos x="51" y="141"/>
              </a:cxn>
              <a:cxn ang="0">
                <a:pos x="51" y="141"/>
              </a:cxn>
              <a:cxn ang="0">
                <a:pos x="51" y="141"/>
              </a:cxn>
              <a:cxn ang="0">
                <a:pos x="51" y="141"/>
              </a:cxn>
            </a:cxnLst>
            <a:rect l="0" t="0" r="r" b="b"/>
            <a:pathLst>
              <a:path w="103" h="141">
                <a:moveTo>
                  <a:pt x="67" y="132"/>
                </a:moveTo>
                <a:cubicBezTo>
                  <a:pt x="90" y="107"/>
                  <a:pt x="90" y="107"/>
                  <a:pt x="90" y="107"/>
                </a:cubicBezTo>
                <a:cubicBezTo>
                  <a:pt x="95" y="102"/>
                  <a:pt x="95" y="102"/>
                  <a:pt x="95" y="102"/>
                </a:cubicBezTo>
                <a:cubicBezTo>
                  <a:pt x="95" y="102"/>
                  <a:pt x="103" y="94"/>
                  <a:pt x="92" y="86"/>
                </a:cubicBezTo>
                <a:cubicBezTo>
                  <a:pt x="85" y="80"/>
                  <a:pt x="80" y="83"/>
                  <a:pt x="74" y="90"/>
                </a:cubicBezTo>
                <a:cubicBezTo>
                  <a:pt x="71" y="92"/>
                  <a:pt x="68" y="96"/>
                  <a:pt x="64" y="100"/>
                </a:cubicBezTo>
                <a:cubicBezTo>
                  <a:pt x="64" y="14"/>
                  <a:pt x="64" y="14"/>
                  <a:pt x="64" y="14"/>
                </a:cubicBezTo>
                <a:cubicBezTo>
                  <a:pt x="64" y="4"/>
                  <a:pt x="59" y="0"/>
                  <a:pt x="52" y="0"/>
                </a:cubicBezTo>
                <a:cubicBezTo>
                  <a:pt x="50" y="0"/>
                  <a:pt x="50" y="0"/>
                  <a:pt x="50" y="0"/>
                </a:cubicBezTo>
                <a:cubicBezTo>
                  <a:pt x="43" y="0"/>
                  <a:pt x="38" y="4"/>
                  <a:pt x="38" y="14"/>
                </a:cubicBezTo>
                <a:cubicBezTo>
                  <a:pt x="38" y="100"/>
                  <a:pt x="38" y="100"/>
                  <a:pt x="38" y="100"/>
                </a:cubicBezTo>
                <a:cubicBezTo>
                  <a:pt x="34" y="96"/>
                  <a:pt x="31" y="93"/>
                  <a:pt x="29" y="90"/>
                </a:cubicBezTo>
                <a:cubicBezTo>
                  <a:pt x="23" y="83"/>
                  <a:pt x="18" y="81"/>
                  <a:pt x="11" y="86"/>
                </a:cubicBezTo>
                <a:cubicBezTo>
                  <a:pt x="0" y="94"/>
                  <a:pt x="8" y="102"/>
                  <a:pt x="8" y="102"/>
                </a:cubicBezTo>
                <a:cubicBezTo>
                  <a:pt x="12" y="108"/>
                  <a:pt x="12" y="108"/>
                  <a:pt x="12" y="108"/>
                </a:cubicBezTo>
                <a:cubicBezTo>
                  <a:pt x="34" y="132"/>
                  <a:pt x="34" y="132"/>
                  <a:pt x="34" y="132"/>
                </a:cubicBezTo>
                <a:cubicBezTo>
                  <a:pt x="37" y="135"/>
                  <a:pt x="39" y="137"/>
                  <a:pt x="41" y="138"/>
                </a:cubicBezTo>
                <a:cubicBezTo>
                  <a:pt x="43" y="140"/>
                  <a:pt x="47" y="141"/>
                  <a:pt x="51" y="141"/>
                </a:cubicBezTo>
                <a:cubicBezTo>
                  <a:pt x="55" y="141"/>
                  <a:pt x="59" y="140"/>
                  <a:pt x="61" y="138"/>
                </a:cubicBezTo>
                <a:cubicBezTo>
                  <a:pt x="63" y="137"/>
                  <a:pt x="65" y="135"/>
                  <a:pt x="67" y="132"/>
                </a:cubicBezTo>
                <a:close/>
                <a:moveTo>
                  <a:pt x="51" y="141"/>
                </a:moveTo>
                <a:cubicBezTo>
                  <a:pt x="51" y="141"/>
                  <a:pt x="51" y="141"/>
                  <a:pt x="51" y="141"/>
                </a:cubicBezTo>
                <a:cubicBezTo>
                  <a:pt x="51" y="141"/>
                  <a:pt x="51" y="141"/>
                  <a:pt x="51" y="141"/>
                </a:cubicBezTo>
                <a:cubicBezTo>
                  <a:pt x="51" y="141"/>
                  <a:pt x="51" y="141"/>
                  <a:pt x="51" y="14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17" name="Freeform 93"/>
          <p:cNvSpPr>
            <a:spLocks/>
          </p:cNvSpPr>
          <p:nvPr userDrawn="1"/>
        </p:nvSpPr>
        <p:spPr bwMode="auto">
          <a:xfrm>
            <a:off x="4920945" y="4500563"/>
            <a:ext cx="84557" cy="97631"/>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21" name="Freeform 97"/>
          <p:cNvSpPr>
            <a:spLocks noEditPoints="1"/>
          </p:cNvSpPr>
          <p:nvPr userDrawn="1"/>
        </p:nvSpPr>
        <p:spPr bwMode="auto">
          <a:xfrm>
            <a:off x="5138886" y="4498181"/>
            <a:ext cx="98847" cy="101204"/>
          </a:xfrm>
          <a:custGeom>
            <a:avLst/>
            <a:gdLst/>
            <a:ahLst/>
            <a:cxnLst>
              <a:cxn ang="0">
                <a:pos x="80" y="74"/>
              </a:cxn>
              <a:cxn ang="0">
                <a:pos x="83" y="65"/>
              </a:cxn>
              <a:cxn ang="0">
                <a:pos x="87" y="55"/>
              </a:cxn>
              <a:cxn ang="0">
                <a:pos x="92" y="46"/>
              </a:cxn>
              <a:cxn ang="0">
                <a:pos x="100" y="43"/>
              </a:cxn>
              <a:cxn ang="0">
                <a:pos x="105" y="44"/>
              </a:cxn>
              <a:cxn ang="0">
                <a:pos x="108" y="47"/>
              </a:cxn>
              <a:cxn ang="0">
                <a:pos x="110" y="49"/>
              </a:cxn>
              <a:cxn ang="0">
                <a:pos x="111" y="50"/>
              </a:cxn>
              <a:cxn ang="0">
                <a:pos x="104" y="70"/>
              </a:cxn>
              <a:cxn ang="0">
                <a:pos x="94" y="87"/>
              </a:cxn>
              <a:cxn ang="0">
                <a:pos x="117" y="107"/>
              </a:cxn>
              <a:cxn ang="0">
                <a:pos x="117" y="108"/>
              </a:cxn>
              <a:cxn ang="0">
                <a:pos x="114" y="112"/>
              </a:cxn>
              <a:cxn ang="0">
                <a:pos x="110" y="116"/>
              </a:cxn>
              <a:cxn ang="0">
                <a:pos x="104" y="117"/>
              </a:cxn>
              <a:cxn ang="0">
                <a:pos x="97" y="116"/>
              </a:cxn>
              <a:cxn ang="0">
                <a:pos x="89" y="110"/>
              </a:cxn>
              <a:cxn ang="0">
                <a:pos x="81" y="102"/>
              </a:cxn>
              <a:cxn ang="0">
                <a:pos x="64" y="114"/>
              </a:cxn>
              <a:cxn ang="0">
                <a:pos x="42" y="118"/>
              </a:cxn>
              <a:cxn ang="0">
                <a:pos x="11" y="110"/>
              </a:cxn>
              <a:cxn ang="0">
                <a:pos x="0" y="84"/>
              </a:cxn>
              <a:cxn ang="0">
                <a:pos x="7" y="64"/>
              </a:cxn>
              <a:cxn ang="0">
                <a:pos x="26" y="52"/>
              </a:cxn>
              <a:cxn ang="0">
                <a:pos x="19" y="42"/>
              </a:cxn>
              <a:cxn ang="0">
                <a:pos x="16" y="30"/>
              </a:cxn>
              <a:cxn ang="0">
                <a:pos x="18" y="18"/>
              </a:cxn>
              <a:cxn ang="0">
                <a:pos x="25" y="9"/>
              </a:cxn>
              <a:cxn ang="0">
                <a:pos x="36" y="3"/>
              </a:cxn>
              <a:cxn ang="0">
                <a:pos x="51" y="0"/>
              </a:cxn>
              <a:cxn ang="0">
                <a:pos x="64" y="2"/>
              </a:cxn>
              <a:cxn ang="0">
                <a:pos x="74" y="8"/>
              </a:cxn>
              <a:cxn ang="0">
                <a:pos x="81" y="17"/>
              </a:cxn>
              <a:cxn ang="0">
                <a:pos x="83" y="28"/>
              </a:cxn>
              <a:cxn ang="0">
                <a:pos x="76" y="44"/>
              </a:cxn>
              <a:cxn ang="0">
                <a:pos x="58" y="55"/>
              </a:cxn>
              <a:cxn ang="0">
                <a:pos x="80" y="74"/>
              </a:cxn>
              <a:cxn ang="0">
                <a:pos x="37" y="63"/>
              </a:cxn>
              <a:cxn ang="0">
                <a:pos x="26" y="70"/>
              </a:cxn>
              <a:cxn ang="0">
                <a:pos x="22" y="82"/>
              </a:cxn>
              <a:cxn ang="0">
                <a:pos x="28" y="96"/>
              </a:cxn>
              <a:cxn ang="0">
                <a:pos x="44" y="101"/>
              </a:cxn>
              <a:cxn ang="0">
                <a:pos x="57" y="98"/>
              </a:cxn>
              <a:cxn ang="0">
                <a:pos x="68" y="90"/>
              </a:cxn>
              <a:cxn ang="0">
                <a:pos x="37" y="63"/>
              </a:cxn>
              <a:cxn ang="0">
                <a:pos x="46" y="46"/>
              </a:cxn>
              <a:cxn ang="0">
                <a:pos x="59" y="39"/>
              </a:cxn>
              <a:cxn ang="0">
                <a:pos x="63" y="30"/>
              </a:cxn>
              <a:cxn ang="0">
                <a:pos x="60" y="21"/>
              </a:cxn>
              <a:cxn ang="0">
                <a:pos x="51" y="17"/>
              </a:cxn>
              <a:cxn ang="0">
                <a:pos x="41" y="21"/>
              </a:cxn>
              <a:cxn ang="0">
                <a:pos x="38" y="30"/>
              </a:cxn>
              <a:cxn ang="0">
                <a:pos x="40" y="39"/>
              </a:cxn>
              <a:cxn ang="0">
                <a:pos x="46" y="46"/>
              </a:cxn>
            </a:cxnLst>
            <a:rect l="0" t="0" r="r" b="b"/>
            <a:pathLst>
              <a:path w="117" h="118">
                <a:moveTo>
                  <a:pt x="80" y="74"/>
                </a:moveTo>
                <a:cubicBezTo>
                  <a:pt x="81" y="71"/>
                  <a:pt x="82" y="68"/>
                  <a:pt x="83" y="65"/>
                </a:cubicBezTo>
                <a:cubicBezTo>
                  <a:pt x="85" y="62"/>
                  <a:pt x="86" y="59"/>
                  <a:pt x="87" y="55"/>
                </a:cubicBezTo>
                <a:cubicBezTo>
                  <a:pt x="89" y="51"/>
                  <a:pt x="90" y="48"/>
                  <a:pt x="92" y="46"/>
                </a:cubicBezTo>
                <a:cubicBezTo>
                  <a:pt x="94" y="44"/>
                  <a:pt x="97" y="43"/>
                  <a:pt x="100" y="43"/>
                </a:cubicBezTo>
                <a:cubicBezTo>
                  <a:pt x="102" y="43"/>
                  <a:pt x="103" y="44"/>
                  <a:pt x="105" y="44"/>
                </a:cubicBezTo>
                <a:cubicBezTo>
                  <a:pt x="106" y="45"/>
                  <a:pt x="107" y="46"/>
                  <a:pt x="108" y="47"/>
                </a:cubicBezTo>
                <a:cubicBezTo>
                  <a:pt x="109" y="47"/>
                  <a:pt x="110" y="48"/>
                  <a:pt x="110" y="49"/>
                </a:cubicBezTo>
                <a:cubicBezTo>
                  <a:pt x="111" y="49"/>
                  <a:pt x="111" y="50"/>
                  <a:pt x="111" y="50"/>
                </a:cubicBezTo>
                <a:cubicBezTo>
                  <a:pt x="109" y="57"/>
                  <a:pt x="107" y="64"/>
                  <a:pt x="104" y="70"/>
                </a:cubicBezTo>
                <a:cubicBezTo>
                  <a:pt x="101" y="76"/>
                  <a:pt x="98" y="81"/>
                  <a:pt x="94" y="87"/>
                </a:cubicBezTo>
                <a:cubicBezTo>
                  <a:pt x="117" y="107"/>
                  <a:pt x="117" y="107"/>
                  <a:pt x="117" y="107"/>
                </a:cubicBezTo>
                <a:cubicBezTo>
                  <a:pt x="117" y="107"/>
                  <a:pt x="117" y="107"/>
                  <a:pt x="117" y="108"/>
                </a:cubicBezTo>
                <a:cubicBezTo>
                  <a:pt x="116" y="110"/>
                  <a:pt x="115" y="111"/>
                  <a:pt x="114" y="112"/>
                </a:cubicBezTo>
                <a:cubicBezTo>
                  <a:pt x="113" y="113"/>
                  <a:pt x="112" y="114"/>
                  <a:pt x="110" y="116"/>
                </a:cubicBezTo>
                <a:cubicBezTo>
                  <a:pt x="108" y="117"/>
                  <a:pt x="106" y="117"/>
                  <a:pt x="104" y="117"/>
                </a:cubicBezTo>
                <a:cubicBezTo>
                  <a:pt x="102" y="117"/>
                  <a:pt x="99" y="117"/>
                  <a:pt x="97" y="116"/>
                </a:cubicBezTo>
                <a:cubicBezTo>
                  <a:pt x="94" y="115"/>
                  <a:pt x="92" y="113"/>
                  <a:pt x="89" y="110"/>
                </a:cubicBezTo>
                <a:cubicBezTo>
                  <a:pt x="81" y="102"/>
                  <a:pt x="81" y="102"/>
                  <a:pt x="81" y="102"/>
                </a:cubicBezTo>
                <a:cubicBezTo>
                  <a:pt x="76" y="107"/>
                  <a:pt x="70" y="111"/>
                  <a:pt x="64" y="114"/>
                </a:cubicBezTo>
                <a:cubicBezTo>
                  <a:pt x="57" y="117"/>
                  <a:pt x="50" y="118"/>
                  <a:pt x="42" y="118"/>
                </a:cubicBezTo>
                <a:cubicBezTo>
                  <a:pt x="29" y="118"/>
                  <a:pt x="19" y="115"/>
                  <a:pt x="11" y="110"/>
                </a:cubicBezTo>
                <a:cubicBezTo>
                  <a:pt x="3" y="104"/>
                  <a:pt x="0" y="95"/>
                  <a:pt x="0" y="84"/>
                </a:cubicBezTo>
                <a:cubicBezTo>
                  <a:pt x="0" y="76"/>
                  <a:pt x="2" y="70"/>
                  <a:pt x="7" y="64"/>
                </a:cubicBezTo>
                <a:cubicBezTo>
                  <a:pt x="11" y="59"/>
                  <a:pt x="18" y="55"/>
                  <a:pt x="26" y="52"/>
                </a:cubicBezTo>
                <a:cubicBezTo>
                  <a:pt x="23" y="49"/>
                  <a:pt x="20" y="46"/>
                  <a:pt x="19" y="42"/>
                </a:cubicBezTo>
                <a:cubicBezTo>
                  <a:pt x="17" y="38"/>
                  <a:pt x="16" y="34"/>
                  <a:pt x="16" y="30"/>
                </a:cubicBezTo>
                <a:cubicBezTo>
                  <a:pt x="16" y="25"/>
                  <a:pt x="16" y="22"/>
                  <a:pt x="18" y="18"/>
                </a:cubicBezTo>
                <a:cubicBezTo>
                  <a:pt x="20" y="14"/>
                  <a:pt x="22" y="11"/>
                  <a:pt x="25" y="9"/>
                </a:cubicBezTo>
                <a:cubicBezTo>
                  <a:pt x="28" y="6"/>
                  <a:pt x="32" y="4"/>
                  <a:pt x="36" y="3"/>
                </a:cubicBezTo>
                <a:cubicBezTo>
                  <a:pt x="41" y="1"/>
                  <a:pt x="46" y="0"/>
                  <a:pt x="51" y="0"/>
                </a:cubicBezTo>
                <a:cubicBezTo>
                  <a:pt x="56" y="0"/>
                  <a:pt x="60" y="1"/>
                  <a:pt x="64" y="2"/>
                </a:cubicBezTo>
                <a:cubicBezTo>
                  <a:pt x="68" y="4"/>
                  <a:pt x="71" y="6"/>
                  <a:pt x="74" y="8"/>
                </a:cubicBezTo>
                <a:cubicBezTo>
                  <a:pt x="77" y="10"/>
                  <a:pt x="79" y="13"/>
                  <a:pt x="81" y="17"/>
                </a:cubicBezTo>
                <a:cubicBezTo>
                  <a:pt x="82" y="20"/>
                  <a:pt x="83" y="24"/>
                  <a:pt x="83" y="28"/>
                </a:cubicBezTo>
                <a:cubicBezTo>
                  <a:pt x="83" y="34"/>
                  <a:pt x="81" y="40"/>
                  <a:pt x="76" y="44"/>
                </a:cubicBezTo>
                <a:cubicBezTo>
                  <a:pt x="72" y="49"/>
                  <a:pt x="66" y="52"/>
                  <a:pt x="58" y="55"/>
                </a:cubicBezTo>
                <a:lnTo>
                  <a:pt x="80" y="74"/>
                </a:lnTo>
                <a:close/>
                <a:moveTo>
                  <a:pt x="37" y="63"/>
                </a:moveTo>
                <a:cubicBezTo>
                  <a:pt x="32" y="64"/>
                  <a:pt x="29" y="67"/>
                  <a:pt x="26" y="70"/>
                </a:cubicBezTo>
                <a:cubicBezTo>
                  <a:pt x="23" y="73"/>
                  <a:pt x="22" y="77"/>
                  <a:pt x="22" y="82"/>
                </a:cubicBezTo>
                <a:cubicBezTo>
                  <a:pt x="22" y="88"/>
                  <a:pt x="24" y="92"/>
                  <a:pt x="28" y="96"/>
                </a:cubicBezTo>
                <a:cubicBezTo>
                  <a:pt x="32" y="99"/>
                  <a:pt x="37" y="101"/>
                  <a:pt x="44" y="101"/>
                </a:cubicBezTo>
                <a:cubicBezTo>
                  <a:pt x="48" y="101"/>
                  <a:pt x="53" y="100"/>
                  <a:pt x="57" y="98"/>
                </a:cubicBezTo>
                <a:cubicBezTo>
                  <a:pt x="61" y="96"/>
                  <a:pt x="64" y="93"/>
                  <a:pt x="68" y="90"/>
                </a:cubicBezTo>
                <a:lnTo>
                  <a:pt x="37" y="63"/>
                </a:lnTo>
                <a:close/>
                <a:moveTo>
                  <a:pt x="46" y="46"/>
                </a:moveTo>
                <a:cubicBezTo>
                  <a:pt x="52" y="44"/>
                  <a:pt x="57" y="42"/>
                  <a:pt x="59" y="39"/>
                </a:cubicBezTo>
                <a:cubicBezTo>
                  <a:pt x="62" y="37"/>
                  <a:pt x="63" y="33"/>
                  <a:pt x="63" y="30"/>
                </a:cubicBezTo>
                <a:cubicBezTo>
                  <a:pt x="63" y="26"/>
                  <a:pt x="62" y="23"/>
                  <a:pt x="60" y="21"/>
                </a:cubicBezTo>
                <a:cubicBezTo>
                  <a:pt x="57" y="18"/>
                  <a:pt x="54" y="17"/>
                  <a:pt x="51" y="17"/>
                </a:cubicBezTo>
                <a:cubicBezTo>
                  <a:pt x="47" y="17"/>
                  <a:pt x="43" y="18"/>
                  <a:pt x="41" y="21"/>
                </a:cubicBezTo>
                <a:cubicBezTo>
                  <a:pt x="39" y="23"/>
                  <a:pt x="38" y="26"/>
                  <a:pt x="38" y="30"/>
                </a:cubicBezTo>
                <a:cubicBezTo>
                  <a:pt x="38" y="33"/>
                  <a:pt x="39" y="36"/>
                  <a:pt x="40" y="39"/>
                </a:cubicBezTo>
                <a:cubicBezTo>
                  <a:pt x="42" y="41"/>
                  <a:pt x="44" y="43"/>
                  <a:pt x="46" y="4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25" name="Freeform 101"/>
          <p:cNvSpPr>
            <a:spLocks noEditPoints="1"/>
          </p:cNvSpPr>
          <p:nvPr userDrawn="1"/>
        </p:nvSpPr>
        <p:spPr bwMode="auto">
          <a:xfrm>
            <a:off x="5369927" y="4500563"/>
            <a:ext cx="79793" cy="95250"/>
          </a:xfrm>
          <a:custGeom>
            <a:avLst/>
            <a:gdLst/>
            <a:ahLst/>
            <a:cxnLst>
              <a:cxn ang="0">
                <a:pos x="47" y="113"/>
              </a:cxn>
              <a:cxn ang="0">
                <a:pos x="27" y="109"/>
              </a:cxn>
              <a:cxn ang="0">
                <a:pos x="12" y="99"/>
              </a:cxn>
              <a:cxn ang="0">
                <a:pos x="3" y="83"/>
              </a:cxn>
              <a:cxn ang="0">
                <a:pos x="0" y="62"/>
              </a:cxn>
              <a:cxn ang="0">
                <a:pos x="0" y="51"/>
              </a:cxn>
              <a:cxn ang="0">
                <a:pos x="3" y="30"/>
              </a:cxn>
              <a:cxn ang="0">
                <a:pos x="12" y="14"/>
              </a:cxn>
              <a:cxn ang="0">
                <a:pos x="27" y="3"/>
              </a:cxn>
              <a:cxn ang="0">
                <a:pos x="47" y="0"/>
              </a:cxn>
              <a:cxn ang="0">
                <a:pos x="67" y="3"/>
              </a:cxn>
              <a:cxn ang="0">
                <a:pos x="82" y="13"/>
              </a:cxn>
              <a:cxn ang="0">
                <a:pos x="92" y="30"/>
              </a:cxn>
              <a:cxn ang="0">
                <a:pos x="95" y="51"/>
              </a:cxn>
              <a:cxn ang="0">
                <a:pos x="95" y="62"/>
              </a:cxn>
              <a:cxn ang="0">
                <a:pos x="92" y="83"/>
              </a:cxn>
              <a:cxn ang="0">
                <a:pos x="82" y="99"/>
              </a:cxn>
              <a:cxn ang="0">
                <a:pos x="67" y="109"/>
              </a:cxn>
              <a:cxn ang="0">
                <a:pos x="47" y="113"/>
              </a:cxn>
              <a:cxn ang="0">
                <a:pos x="47" y="93"/>
              </a:cxn>
              <a:cxn ang="0">
                <a:pos x="64" y="85"/>
              </a:cxn>
              <a:cxn ang="0">
                <a:pos x="70" y="63"/>
              </a:cxn>
              <a:cxn ang="0">
                <a:pos x="70" y="49"/>
              </a:cxn>
              <a:cxn ang="0">
                <a:pos x="64" y="27"/>
              </a:cxn>
              <a:cxn ang="0">
                <a:pos x="47" y="20"/>
              </a:cxn>
              <a:cxn ang="0">
                <a:pos x="30" y="27"/>
              </a:cxn>
              <a:cxn ang="0">
                <a:pos x="25" y="49"/>
              </a:cxn>
              <a:cxn ang="0">
                <a:pos x="25" y="63"/>
              </a:cxn>
              <a:cxn ang="0">
                <a:pos x="30" y="85"/>
              </a:cxn>
              <a:cxn ang="0">
                <a:pos x="47" y="93"/>
              </a:cxn>
            </a:cxnLst>
            <a:rect l="0" t="0" r="r" b="b"/>
            <a:pathLst>
              <a:path w="95" h="113">
                <a:moveTo>
                  <a:pt x="47" y="113"/>
                </a:moveTo>
                <a:cubicBezTo>
                  <a:pt x="40" y="113"/>
                  <a:pt x="33" y="112"/>
                  <a:pt x="27" y="109"/>
                </a:cubicBezTo>
                <a:cubicBezTo>
                  <a:pt x="21" y="107"/>
                  <a:pt x="16" y="104"/>
                  <a:pt x="12" y="99"/>
                </a:cubicBezTo>
                <a:cubicBezTo>
                  <a:pt x="8" y="95"/>
                  <a:pt x="5" y="89"/>
                  <a:pt x="3" y="83"/>
                </a:cubicBezTo>
                <a:cubicBezTo>
                  <a:pt x="1" y="77"/>
                  <a:pt x="0" y="70"/>
                  <a:pt x="0" y="62"/>
                </a:cubicBezTo>
                <a:cubicBezTo>
                  <a:pt x="0" y="51"/>
                  <a:pt x="0" y="51"/>
                  <a:pt x="0" y="51"/>
                </a:cubicBezTo>
                <a:cubicBezTo>
                  <a:pt x="0" y="43"/>
                  <a:pt x="1" y="36"/>
                  <a:pt x="3" y="30"/>
                </a:cubicBezTo>
                <a:cubicBezTo>
                  <a:pt x="5" y="23"/>
                  <a:pt x="8" y="18"/>
                  <a:pt x="12" y="14"/>
                </a:cubicBezTo>
                <a:cubicBezTo>
                  <a:pt x="17" y="9"/>
                  <a:pt x="22" y="6"/>
                  <a:pt x="27" y="3"/>
                </a:cubicBezTo>
                <a:cubicBezTo>
                  <a:pt x="33" y="1"/>
                  <a:pt x="40" y="0"/>
                  <a:pt x="47" y="0"/>
                </a:cubicBezTo>
                <a:cubicBezTo>
                  <a:pt x="55" y="0"/>
                  <a:pt x="61" y="1"/>
                  <a:pt x="67" y="3"/>
                </a:cubicBezTo>
                <a:cubicBezTo>
                  <a:pt x="73" y="6"/>
                  <a:pt x="78" y="9"/>
                  <a:pt x="82" y="13"/>
                </a:cubicBezTo>
                <a:cubicBezTo>
                  <a:pt x="86" y="18"/>
                  <a:pt x="90" y="23"/>
                  <a:pt x="92" y="30"/>
                </a:cubicBezTo>
                <a:cubicBezTo>
                  <a:pt x="94" y="36"/>
                  <a:pt x="95" y="43"/>
                  <a:pt x="95" y="51"/>
                </a:cubicBezTo>
                <a:cubicBezTo>
                  <a:pt x="95" y="62"/>
                  <a:pt x="95" y="62"/>
                  <a:pt x="95" y="62"/>
                </a:cubicBezTo>
                <a:cubicBezTo>
                  <a:pt x="95" y="69"/>
                  <a:pt x="94" y="77"/>
                  <a:pt x="92" y="83"/>
                </a:cubicBezTo>
                <a:cubicBezTo>
                  <a:pt x="90" y="89"/>
                  <a:pt x="86" y="95"/>
                  <a:pt x="82" y="99"/>
                </a:cubicBezTo>
                <a:cubicBezTo>
                  <a:pt x="78" y="104"/>
                  <a:pt x="73" y="107"/>
                  <a:pt x="67" y="109"/>
                </a:cubicBezTo>
                <a:cubicBezTo>
                  <a:pt x="61" y="112"/>
                  <a:pt x="55" y="113"/>
                  <a:pt x="47" y="113"/>
                </a:cubicBezTo>
                <a:close/>
                <a:moveTo>
                  <a:pt x="47" y="93"/>
                </a:moveTo>
                <a:cubicBezTo>
                  <a:pt x="55" y="93"/>
                  <a:pt x="60" y="90"/>
                  <a:pt x="64" y="85"/>
                </a:cubicBezTo>
                <a:cubicBezTo>
                  <a:pt x="68" y="80"/>
                  <a:pt x="70" y="73"/>
                  <a:pt x="70" y="63"/>
                </a:cubicBezTo>
                <a:cubicBezTo>
                  <a:pt x="70" y="49"/>
                  <a:pt x="70" y="49"/>
                  <a:pt x="70" y="49"/>
                </a:cubicBezTo>
                <a:cubicBezTo>
                  <a:pt x="70" y="40"/>
                  <a:pt x="68" y="32"/>
                  <a:pt x="64" y="27"/>
                </a:cubicBezTo>
                <a:cubicBezTo>
                  <a:pt x="60" y="22"/>
                  <a:pt x="55" y="20"/>
                  <a:pt x="47" y="20"/>
                </a:cubicBezTo>
                <a:cubicBezTo>
                  <a:pt x="40" y="20"/>
                  <a:pt x="34" y="22"/>
                  <a:pt x="30" y="27"/>
                </a:cubicBezTo>
                <a:cubicBezTo>
                  <a:pt x="27" y="32"/>
                  <a:pt x="25" y="39"/>
                  <a:pt x="25" y="49"/>
                </a:cubicBezTo>
                <a:cubicBezTo>
                  <a:pt x="25" y="63"/>
                  <a:pt x="25" y="63"/>
                  <a:pt x="25" y="63"/>
                </a:cubicBezTo>
                <a:cubicBezTo>
                  <a:pt x="25" y="73"/>
                  <a:pt x="27" y="80"/>
                  <a:pt x="30" y="85"/>
                </a:cubicBezTo>
                <a:cubicBezTo>
                  <a:pt x="34" y="90"/>
                  <a:pt x="40" y="93"/>
                  <a:pt x="47" y="93"/>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29" name="Freeform 105"/>
          <p:cNvSpPr>
            <a:spLocks/>
          </p:cNvSpPr>
          <p:nvPr userDrawn="1"/>
        </p:nvSpPr>
        <p:spPr bwMode="auto">
          <a:xfrm>
            <a:off x="5591441" y="4500563"/>
            <a:ext cx="71456" cy="94059"/>
          </a:xfrm>
          <a:custGeom>
            <a:avLst/>
            <a:gdLst/>
            <a:ahLst/>
            <a:cxnLst>
              <a:cxn ang="0">
                <a:pos x="23" y="91"/>
              </a:cxn>
              <a:cxn ang="0">
                <a:pos x="37" y="91"/>
              </a:cxn>
              <a:cxn ang="0">
                <a:pos x="51" y="91"/>
              </a:cxn>
              <a:cxn ang="0">
                <a:pos x="64" y="91"/>
              </a:cxn>
              <a:cxn ang="0">
                <a:pos x="73" y="91"/>
              </a:cxn>
              <a:cxn ang="0">
                <a:pos x="82" y="93"/>
              </a:cxn>
              <a:cxn ang="0">
                <a:pos x="84" y="100"/>
              </a:cxn>
              <a:cxn ang="0">
                <a:pos x="84" y="101"/>
              </a:cxn>
              <a:cxn ang="0">
                <a:pos x="82" y="108"/>
              </a:cxn>
              <a:cxn ang="0">
                <a:pos x="73" y="111"/>
              </a:cxn>
              <a:cxn ang="0">
                <a:pos x="15" y="111"/>
              </a:cxn>
              <a:cxn ang="0">
                <a:pos x="4" y="108"/>
              </a:cxn>
              <a:cxn ang="0">
                <a:pos x="0" y="98"/>
              </a:cxn>
              <a:cxn ang="0">
                <a:pos x="0" y="93"/>
              </a:cxn>
              <a:cxn ang="0">
                <a:pos x="3" y="79"/>
              </a:cxn>
              <a:cxn ang="0">
                <a:pos x="11" y="69"/>
              </a:cxn>
              <a:cxn ang="0">
                <a:pos x="22" y="61"/>
              </a:cxn>
              <a:cxn ang="0">
                <a:pos x="34" y="55"/>
              </a:cxn>
              <a:cxn ang="0">
                <a:pos x="43" y="50"/>
              </a:cxn>
              <a:cxn ang="0">
                <a:pos x="51" y="46"/>
              </a:cxn>
              <a:cxn ang="0">
                <a:pos x="57" y="41"/>
              </a:cxn>
              <a:cxn ang="0">
                <a:pos x="59" y="34"/>
              </a:cxn>
              <a:cxn ang="0">
                <a:pos x="54" y="24"/>
              </a:cxn>
              <a:cxn ang="0">
                <a:pos x="40" y="20"/>
              </a:cxn>
              <a:cxn ang="0">
                <a:pos x="31" y="21"/>
              </a:cxn>
              <a:cxn ang="0">
                <a:pos x="24" y="26"/>
              </a:cxn>
              <a:cxn ang="0">
                <a:pos x="20" y="32"/>
              </a:cxn>
              <a:cxn ang="0">
                <a:pos x="17" y="39"/>
              </a:cxn>
              <a:cxn ang="0">
                <a:pos x="14" y="39"/>
              </a:cxn>
              <a:cxn ang="0">
                <a:pos x="9" y="38"/>
              </a:cxn>
              <a:cxn ang="0">
                <a:pos x="3" y="35"/>
              </a:cxn>
              <a:cxn ang="0">
                <a:pos x="1" y="27"/>
              </a:cxn>
              <a:cxn ang="0">
                <a:pos x="3" y="17"/>
              </a:cxn>
              <a:cxn ang="0">
                <a:pos x="11" y="9"/>
              </a:cxn>
              <a:cxn ang="0">
                <a:pos x="24" y="2"/>
              </a:cxn>
              <a:cxn ang="0">
                <a:pos x="42" y="0"/>
              </a:cxn>
              <a:cxn ang="0">
                <a:pos x="72" y="9"/>
              </a:cxn>
              <a:cxn ang="0">
                <a:pos x="83" y="34"/>
              </a:cxn>
              <a:cxn ang="0">
                <a:pos x="80" y="46"/>
              </a:cxn>
              <a:cxn ang="0">
                <a:pos x="73" y="56"/>
              </a:cxn>
              <a:cxn ang="0">
                <a:pos x="63" y="62"/>
              </a:cxn>
              <a:cxn ang="0">
                <a:pos x="52" y="68"/>
              </a:cxn>
              <a:cxn ang="0">
                <a:pos x="41" y="72"/>
              </a:cxn>
              <a:cxn ang="0">
                <a:pos x="33" y="77"/>
              </a:cxn>
              <a:cxn ang="0">
                <a:pos x="26" y="83"/>
              </a:cxn>
              <a:cxn ang="0">
                <a:pos x="23" y="91"/>
              </a:cxn>
            </a:cxnLst>
            <a:rect l="0" t="0" r="r" b="b"/>
            <a:pathLst>
              <a:path w="84" h="111">
                <a:moveTo>
                  <a:pt x="23" y="91"/>
                </a:moveTo>
                <a:cubicBezTo>
                  <a:pt x="27" y="91"/>
                  <a:pt x="32" y="91"/>
                  <a:pt x="37" y="91"/>
                </a:cubicBezTo>
                <a:cubicBezTo>
                  <a:pt x="42" y="91"/>
                  <a:pt x="47" y="91"/>
                  <a:pt x="51" y="91"/>
                </a:cubicBezTo>
                <a:cubicBezTo>
                  <a:pt x="56" y="91"/>
                  <a:pt x="60" y="91"/>
                  <a:pt x="64" y="91"/>
                </a:cubicBezTo>
                <a:cubicBezTo>
                  <a:pt x="68" y="91"/>
                  <a:pt x="71" y="91"/>
                  <a:pt x="73" y="91"/>
                </a:cubicBezTo>
                <a:cubicBezTo>
                  <a:pt x="77" y="91"/>
                  <a:pt x="80" y="91"/>
                  <a:pt x="82" y="93"/>
                </a:cubicBezTo>
                <a:cubicBezTo>
                  <a:pt x="83" y="95"/>
                  <a:pt x="84" y="97"/>
                  <a:pt x="84" y="100"/>
                </a:cubicBezTo>
                <a:cubicBezTo>
                  <a:pt x="84" y="101"/>
                  <a:pt x="84" y="101"/>
                  <a:pt x="84" y="101"/>
                </a:cubicBezTo>
                <a:cubicBezTo>
                  <a:pt x="84" y="104"/>
                  <a:pt x="83" y="107"/>
                  <a:pt x="82" y="108"/>
                </a:cubicBezTo>
                <a:cubicBezTo>
                  <a:pt x="80" y="110"/>
                  <a:pt x="77" y="111"/>
                  <a:pt x="73" y="111"/>
                </a:cubicBezTo>
                <a:cubicBezTo>
                  <a:pt x="15" y="111"/>
                  <a:pt x="15" y="111"/>
                  <a:pt x="15" y="111"/>
                </a:cubicBezTo>
                <a:cubicBezTo>
                  <a:pt x="10" y="111"/>
                  <a:pt x="6" y="110"/>
                  <a:pt x="4" y="108"/>
                </a:cubicBezTo>
                <a:cubicBezTo>
                  <a:pt x="1" y="107"/>
                  <a:pt x="0" y="103"/>
                  <a:pt x="0" y="98"/>
                </a:cubicBezTo>
                <a:cubicBezTo>
                  <a:pt x="0" y="93"/>
                  <a:pt x="0" y="93"/>
                  <a:pt x="0" y="93"/>
                </a:cubicBezTo>
                <a:cubicBezTo>
                  <a:pt x="0" y="88"/>
                  <a:pt x="1" y="83"/>
                  <a:pt x="3" y="79"/>
                </a:cubicBezTo>
                <a:cubicBezTo>
                  <a:pt x="5" y="75"/>
                  <a:pt x="8" y="72"/>
                  <a:pt x="11" y="69"/>
                </a:cubicBezTo>
                <a:cubicBezTo>
                  <a:pt x="15" y="66"/>
                  <a:pt x="18" y="63"/>
                  <a:pt x="22" y="61"/>
                </a:cubicBezTo>
                <a:cubicBezTo>
                  <a:pt x="26" y="59"/>
                  <a:pt x="30" y="56"/>
                  <a:pt x="34" y="55"/>
                </a:cubicBezTo>
                <a:cubicBezTo>
                  <a:pt x="37" y="53"/>
                  <a:pt x="40" y="52"/>
                  <a:pt x="43" y="50"/>
                </a:cubicBezTo>
                <a:cubicBezTo>
                  <a:pt x="46" y="49"/>
                  <a:pt x="49" y="47"/>
                  <a:pt x="51" y="46"/>
                </a:cubicBezTo>
                <a:cubicBezTo>
                  <a:pt x="54" y="44"/>
                  <a:pt x="55" y="43"/>
                  <a:pt x="57" y="41"/>
                </a:cubicBezTo>
                <a:cubicBezTo>
                  <a:pt x="58" y="39"/>
                  <a:pt x="59" y="37"/>
                  <a:pt x="59" y="34"/>
                </a:cubicBezTo>
                <a:cubicBezTo>
                  <a:pt x="59" y="30"/>
                  <a:pt x="57" y="26"/>
                  <a:pt x="54" y="24"/>
                </a:cubicBezTo>
                <a:cubicBezTo>
                  <a:pt x="51" y="21"/>
                  <a:pt x="46" y="20"/>
                  <a:pt x="40" y="20"/>
                </a:cubicBezTo>
                <a:cubicBezTo>
                  <a:pt x="37" y="20"/>
                  <a:pt x="34" y="20"/>
                  <a:pt x="31" y="21"/>
                </a:cubicBezTo>
                <a:cubicBezTo>
                  <a:pt x="29" y="22"/>
                  <a:pt x="26" y="24"/>
                  <a:pt x="24" y="26"/>
                </a:cubicBezTo>
                <a:cubicBezTo>
                  <a:pt x="22" y="27"/>
                  <a:pt x="21" y="29"/>
                  <a:pt x="20" y="32"/>
                </a:cubicBezTo>
                <a:cubicBezTo>
                  <a:pt x="18" y="34"/>
                  <a:pt x="18" y="36"/>
                  <a:pt x="17" y="39"/>
                </a:cubicBezTo>
                <a:cubicBezTo>
                  <a:pt x="17" y="39"/>
                  <a:pt x="16" y="39"/>
                  <a:pt x="14" y="39"/>
                </a:cubicBezTo>
                <a:cubicBezTo>
                  <a:pt x="13" y="39"/>
                  <a:pt x="11" y="39"/>
                  <a:pt x="9" y="38"/>
                </a:cubicBezTo>
                <a:cubicBezTo>
                  <a:pt x="7" y="37"/>
                  <a:pt x="5" y="36"/>
                  <a:pt x="3" y="35"/>
                </a:cubicBezTo>
                <a:cubicBezTo>
                  <a:pt x="2" y="33"/>
                  <a:pt x="1" y="31"/>
                  <a:pt x="1" y="27"/>
                </a:cubicBezTo>
                <a:cubicBezTo>
                  <a:pt x="1" y="24"/>
                  <a:pt x="2" y="21"/>
                  <a:pt x="3" y="17"/>
                </a:cubicBezTo>
                <a:cubicBezTo>
                  <a:pt x="5" y="14"/>
                  <a:pt x="8" y="11"/>
                  <a:pt x="11" y="9"/>
                </a:cubicBezTo>
                <a:cubicBezTo>
                  <a:pt x="15" y="6"/>
                  <a:pt x="19" y="4"/>
                  <a:pt x="24" y="2"/>
                </a:cubicBezTo>
                <a:cubicBezTo>
                  <a:pt x="29" y="1"/>
                  <a:pt x="35" y="0"/>
                  <a:pt x="42" y="0"/>
                </a:cubicBezTo>
                <a:cubicBezTo>
                  <a:pt x="55" y="0"/>
                  <a:pt x="65" y="3"/>
                  <a:pt x="72" y="9"/>
                </a:cubicBezTo>
                <a:cubicBezTo>
                  <a:pt x="79" y="15"/>
                  <a:pt x="83" y="23"/>
                  <a:pt x="83" y="34"/>
                </a:cubicBezTo>
                <a:cubicBezTo>
                  <a:pt x="83" y="39"/>
                  <a:pt x="82" y="43"/>
                  <a:pt x="80" y="46"/>
                </a:cubicBezTo>
                <a:cubicBezTo>
                  <a:pt x="78" y="50"/>
                  <a:pt x="76" y="53"/>
                  <a:pt x="73" y="56"/>
                </a:cubicBezTo>
                <a:cubicBezTo>
                  <a:pt x="70" y="58"/>
                  <a:pt x="67" y="60"/>
                  <a:pt x="63" y="62"/>
                </a:cubicBezTo>
                <a:cubicBezTo>
                  <a:pt x="60" y="64"/>
                  <a:pt x="56" y="66"/>
                  <a:pt x="52" y="68"/>
                </a:cubicBezTo>
                <a:cubicBezTo>
                  <a:pt x="48" y="69"/>
                  <a:pt x="44" y="71"/>
                  <a:pt x="41" y="72"/>
                </a:cubicBezTo>
                <a:cubicBezTo>
                  <a:pt x="38" y="74"/>
                  <a:pt x="35" y="75"/>
                  <a:pt x="33" y="77"/>
                </a:cubicBezTo>
                <a:cubicBezTo>
                  <a:pt x="30" y="79"/>
                  <a:pt x="28" y="81"/>
                  <a:pt x="26" y="83"/>
                </a:cubicBezTo>
                <a:cubicBezTo>
                  <a:pt x="25" y="85"/>
                  <a:pt x="24" y="88"/>
                  <a:pt x="23" y="9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33" name="Freeform 109"/>
          <p:cNvSpPr>
            <a:spLocks/>
          </p:cNvSpPr>
          <p:nvPr userDrawn="1"/>
        </p:nvSpPr>
        <p:spPr bwMode="auto">
          <a:xfrm>
            <a:off x="5801046" y="4507706"/>
            <a:ext cx="84557" cy="84534"/>
          </a:xfrm>
          <a:custGeom>
            <a:avLst/>
            <a:gdLst/>
            <a:ahLst/>
            <a:cxnLst>
              <a:cxn ang="0">
                <a:pos x="72" y="7"/>
              </a:cxn>
              <a:cxn ang="0">
                <a:pos x="49" y="30"/>
              </a:cxn>
              <a:cxn ang="0">
                <a:pos x="26" y="7"/>
              </a:cxn>
              <a:cxn ang="0">
                <a:pos x="7" y="6"/>
              </a:cxn>
              <a:cxn ang="0">
                <a:pos x="6" y="7"/>
              </a:cxn>
              <a:cxn ang="0">
                <a:pos x="7" y="26"/>
              </a:cxn>
              <a:cxn ang="0">
                <a:pos x="30" y="49"/>
              </a:cxn>
              <a:cxn ang="0">
                <a:pos x="7" y="72"/>
              </a:cxn>
              <a:cxn ang="0">
                <a:pos x="6" y="92"/>
              </a:cxn>
              <a:cxn ang="0">
                <a:pos x="7" y="93"/>
              </a:cxn>
              <a:cxn ang="0">
                <a:pos x="26" y="92"/>
              </a:cxn>
              <a:cxn ang="0">
                <a:pos x="49" y="68"/>
              </a:cxn>
              <a:cxn ang="0">
                <a:pos x="72" y="92"/>
              </a:cxn>
              <a:cxn ang="0">
                <a:pos x="92" y="93"/>
              </a:cxn>
              <a:cxn ang="0">
                <a:pos x="93" y="92"/>
              </a:cxn>
              <a:cxn ang="0">
                <a:pos x="91" y="73"/>
              </a:cxn>
              <a:cxn ang="0">
                <a:pos x="68" y="49"/>
              </a:cxn>
              <a:cxn ang="0">
                <a:pos x="91" y="26"/>
              </a:cxn>
              <a:cxn ang="0">
                <a:pos x="93" y="7"/>
              </a:cxn>
              <a:cxn ang="0">
                <a:pos x="92" y="6"/>
              </a:cxn>
              <a:cxn ang="0">
                <a:pos x="72" y="7"/>
              </a:cxn>
            </a:cxnLst>
            <a:rect l="0" t="0" r="r" b="b"/>
            <a:pathLst>
              <a:path w="99" h="99">
                <a:moveTo>
                  <a:pt x="72" y="7"/>
                </a:moveTo>
                <a:cubicBezTo>
                  <a:pt x="49" y="30"/>
                  <a:pt x="49" y="30"/>
                  <a:pt x="49" y="30"/>
                </a:cubicBezTo>
                <a:cubicBezTo>
                  <a:pt x="26" y="7"/>
                  <a:pt x="26" y="7"/>
                  <a:pt x="26" y="7"/>
                </a:cubicBezTo>
                <a:cubicBezTo>
                  <a:pt x="19" y="0"/>
                  <a:pt x="12" y="0"/>
                  <a:pt x="7" y="6"/>
                </a:cubicBezTo>
                <a:cubicBezTo>
                  <a:pt x="6" y="7"/>
                  <a:pt x="6" y="7"/>
                  <a:pt x="6" y="7"/>
                </a:cubicBezTo>
                <a:cubicBezTo>
                  <a:pt x="0" y="12"/>
                  <a:pt x="0" y="19"/>
                  <a:pt x="7" y="26"/>
                </a:cubicBezTo>
                <a:cubicBezTo>
                  <a:pt x="30" y="49"/>
                  <a:pt x="30" y="49"/>
                  <a:pt x="30" y="49"/>
                </a:cubicBezTo>
                <a:cubicBezTo>
                  <a:pt x="7" y="72"/>
                  <a:pt x="7" y="72"/>
                  <a:pt x="7" y="72"/>
                </a:cubicBezTo>
                <a:cubicBezTo>
                  <a:pt x="0" y="80"/>
                  <a:pt x="0" y="86"/>
                  <a:pt x="6" y="92"/>
                </a:cubicBezTo>
                <a:cubicBezTo>
                  <a:pt x="7" y="93"/>
                  <a:pt x="7" y="93"/>
                  <a:pt x="7" y="93"/>
                </a:cubicBezTo>
                <a:cubicBezTo>
                  <a:pt x="12" y="98"/>
                  <a:pt x="19" y="99"/>
                  <a:pt x="26" y="92"/>
                </a:cubicBezTo>
                <a:cubicBezTo>
                  <a:pt x="49" y="68"/>
                  <a:pt x="49" y="68"/>
                  <a:pt x="49" y="68"/>
                </a:cubicBezTo>
                <a:cubicBezTo>
                  <a:pt x="72" y="92"/>
                  <a:pt x="72" y="92"/>
                  <a:pt x="72" y="92"/>
                </a:cubicBezTo>
                <a:cubicBezTo>
                  <a:pt x="80" y="99"/>
                  <a:pt x="86" y="98"/>
                  <a:pt x="92" y="93"/>
                </a:cubicBezTo>
                <a:cubicBezTo>
                  <a:pt x="93" y="92"/>
                  <a:pt x="93" y="92"/>
                  <a:pt x="93" y="92"/>
                </a:cubicBezTo>
                <a:cubicBezTo>
                  <a:pt x="98" y="86"/>
                  <a:pt x="99" y="80"/>
                  <a:pt x="91" y="73"/>
                </a:cubicBezTo>
                <a:cubicBezTo>
                  <a:pt x="68" y="49"/>
                  <a:pt x="68" y="49"/>
                  <a:pt x="68" y="49"/>
                </a:cubicBezTo>
                <a:cubicBezTo>
                  <a:pt x="91" y="26"/>
                  <a:pt x="91" y="26"/>
                  <a:pt x="91" y="26"/>
                </a:cubicBezTo>
                <a:cubicBezTo>
                  <a:pt x="99" y="19"/>
                  <a:pt x="98" y="12"/>
                  <a:pt x="93" y="7"/>
                </a:cubicBezTo>
                <a:cubicBezTo>
                  <a:pt x="92" y="6"/>
                  <a:pt x="92" y="6"/>
                  <a:pt x="92" y="6"/>
                </a:cubicBezTo>
                <a:cubicBezTo>
                  <a:pt x="86" y="0"/>
                  <a:pt x="80" y="0"/>
                  <a:pt x="72" y="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37" name="Freeform 113"/>
          <p:cNvSpPr>
            <a:spLocks/>
          </p:cNvSpPr>
          <p:nvPr userDrawn="1"/>
        </p:nvSpPr>
        <p:spPr bwMode="auto">
          <a:xfrm>
            <a:off x="6020177" y="4499372"/>
            <a:ext cx="80984" cy="95250"/>
          </a:xfrm>
          <a:custGeom>
            <a:avLst/>
            <a:gdLst/>
            <a:ahLst/>
            <a:cxnLst>
              <a:cxn ang="0">
                <a:pos x="37" y="93"/>
              </a:cxn>
              <a:cxn ang="0">
                <a:pos x="83" y="93"/>
              </a:cxn>
              <a:cxn ang="0">
                <a:pos x="91" y="95"/>
              </a:cxn>
              <a:cxn ang="0">
                <a:pos x="94" y="102"/>
              </a:cxn>
              <a:cxn ang="0">
                <a:pos x="94" y="103"/>
              </a:cxn>
              <a:cxn ang="0">
                <a:pos x="91" y="110"/>
              </a:cxn>
              <a:cxn ang="0">
                <a:pos x="83" y="112"/>
              </a:cxn>
              <a:cxn ang="0">
                <a:pos x="11" y="112"/>
              </a:cxn>
              <a:cxn ang="0">
                <a:pos x="3" y="110"/>
              </a:cxn>
              <a:cxn ang="0">
                <a:pos x="0" y="103"/>
              </a:cxn>
              <a:cxn ang="0">
                <a:pos x="0" y="102"/>
              </a:cxn>
              <a:cxn ang="0">
                <a:pos x="11" y="93"/>
              </a:cxn>
              <a:cxn ang="0">
                <a:pos x="15" y="93"/>
              </a:cxn>
              <a:cxn ang="0">
                <a:pos x="19" y="70"/>
              </a:cxn>
              <a:cxn ang="0">
                <a:pos x="12" y="70"/>
              </a:cxn>
              <a:cxn ang="0">
                <a:pos x="6" y="68"/>
              </a:cxn>
              <a:cxn ang="0">
                <a:pos x="4" y="62"/>
              </a:cxn>
              <a:cxn ang="0">
                <a:pos x="4" y="60"/>
              </a:cxn>
              <a:cxn ang="0">
                <a:pos x="6" y="54"/>
              </a:cxn>
              <a:cxn ang="0">
                <a:pos x="12" y="52"/>
              </a:cxn>
              <a:cxn ang="0">
                <a:pos x="22" y="52"/>
              </a:cxn>
              <a:cxn ang="0">
                <a:pos x="26" y="34"/>
              </a:cxn>
              <a:cxn ang="0">
                <a:pos x="38" y="9"/>
              </a:cxn>
              <a:cxn ang="0">
                <a:pos x="63" y="0"/>
              </a:cxn>
              <a:cxn ang="0">
                <a:pos x="77" y="2"/>
              </a:cxn>
              <a:cxn ang="0">
                <a:pos x="86" y="7"/>
              </a:cxn>
              <a:cxn ang="0">
                <a:pos x="93" y="14"/>
              </a:cxn>
              <a:cxn ang="0">
                <a:pos x="95" y="23"/>
              </a:cxn>
              <a:cxn ang="0">
                <a:pos x="93" y="30"/>
              </a:cxn>
              <a:cxn ang="0">
                <a:pos x="88" y="34"/>
              </a:cxn>
              <a:cxn ang="0">
                <a:pos x="83" y="35"/>
              </a:cxn>
              <a:cxn ang="0">
                <a:pos x="81" y="35"/>
              </a:cxn>
              <a:cxn ang="0">
                <a:pos x="75" y="24"/>
              </a:cxn>
              <a:cxn ang="0">
                <a:pos x="64" y="20"/>
              </a:cxn>
              <a:cxn ang="0">
                <a:pos x="52" y="24"/>
              </a:cxn>
              <a:cxn ang="0">
                <a:pos x="47" y="37"/>
              </a:cxn>
              <a:cxn ang="0">
                <a:pos x="44" y="52"/>
              </a:cxn>
              <a:cxn ang="0">
                <a:pos x="66" y="52"/>
              </a:cxn>
              <a:cxn ang="0">
                <a:pos x="73" y="54"/>
              </a:cxn>
              <a:cxn ang="0">
                <a:pos x="75" y="60"/>
              </a:cxn>
              <a:cxn ang="0">
                <a:pos x="75" y="62"/>
              </a:cxn>
              <a:cxn ang="0">
                <a:pos x="73" y="68"/>
              </a:cxn>
              <a:cxn ang="0">
                <a:pos x="66" y="70"/>
              </a:cxn>
              <a:cxn ang="0">
                <a:pos x="41" y="70"/>
              </a:cxn>
              <a:cxn ang="0">
                <a:pos x="37" y="93"/>
              </a:cxn>
            </a:cxnLst>
            <a:rect l="0" t="0" r="r" b="b"/>
            <a:pathLst>
              <a:path w="95" h="112">
                <a:moveTo>
                  <a:pt x="37" y="93"/>
                </a:moveTo>
                <a:cubicBezTo>
                  <a:pt x="83" y="93"/>
                  <a:pt x="83" y="93"/>
                  <a:pt x="83" y="93"/>
                </a:cubicBezTo>
                <a:cubicBezTo>
                  <a:pt x="87" y="93"/>
                  <a:pt x="89" y="94"/>
                  <a:pt x="91" y="95"/>
                </a:cubicBezTo>
                <a:cubicBezTo>
                  <a:pt x="93" y="96"/>
                  <a:pt x="94" y="99"/>
                  <a:pt x="94" y="102"/>
                </a:cubicBezTo>
                <a:cubicBezTo>
                  <a:pt x="94" y="103"/>
                  <a:pt x="94" y="103"/>
                  <a:pt x="94" y="103"/>
                </a:cubicBezTo>
                <a:cubicBezTo>
                  <a:pt x="94" y="106"/>
                  <a:pt x="93" y="109"/>
                  <a:pt x="91" y="110"/>
                </a:cubicBezTo>
                <a:cubicBezTo>
                  <a:pt x="89" y="112"/>
                  <a:pt x="87" y="112"/>
                  <a:pt x="83" y="112"/>
                </a:cubicBezTo>
                <a:cubicBezTo>
                  <a:pt x="11" y="112"/>
                  <a:pt x="11" y="112"/>
                  <a:pt x="11" y="112"/>
                </a:cubicBezTo>
                <a:cubicBezTo>
                  <a:pt x="7" y="112"/>
                  <a:pt x="4" y="112"/>
                  <a:pt x="3" y="110"/>
                </a:cubicBezTo>
                <a:cubicBezTo>
                  <a:pt x="1" y="109"/>
                  <a:pt x="0" y="106"/>
                  <a:pt x="0" y="103"/>
                </a:cubicBezTo>
                <a:cubicBezTo>
                  <a:pt x="0" y="102"/>
                  <a:pt x="0" y="102"/>
                  <a:pt x="0" y="102"/>
                </a:cubicBezTo>
                <a:cubicBezTo>
                  <a:pt x="0" y="96"/>
                  <a:pt x="4" y="93"/>
                  <a:pt x="11" y="93"/>
                </a:cubicBezTo>
                <a:cubicBezTo>
                  <a:pt x="15" y="93"/>
                  <a:pt x="15" y="93"/>
                  <a:pt x="15" y="93"/>
                </a:cubicBezTo>
                <a:cubicBezTo>
                  <a:pt x="19" y="70"/>
                  <a:pt x="19" y="70"/>
                  <a:pt x="19" y="70"/>
                </a:cubicBezTo>
                <a:cubicBezTo>
                  <a:pt x="12" y="70"/>
                  <a:pt x="12" y="70"/>
                  <a:pt x="12" y="70"/>
                </a:cubicBezTo>
                <a:cubicBezTo>
                  <a:pt x="10" y="70"/>
                  <a:pt x="7" y="69"/>
                  <a:pt x="6" y="68"/>
                </a:cubicBezTo>
                <a:cubicBezTo>
                  <a:pt x="4" y="67"/>
                  <a:pt x="4" y="65"/>
                  <a:pt x="4" y="62"/>
                </a:cubicBezTo>
                <a:cubicBezTo>
                  <a:pt x="4" y="60"/>
                  <a:pt x="4" y="60"/>
                  <a:pt x="4" y="60"/>
                </a:cubicBezTo>
                <a:cubicBezTo>
                  <a:pt x="4" y="58"/>
                  <a:pt x="4" y="56"/>
                  <a:pt x="6" y="54"/>
                </a:cubicBezTo>
                <a:cubicBezTo>
                  <a:pt x="7" y="53"/>
                  <a:pt x="10" y="52"/>
                  <a:pt x="12" y="52"/>
                </a:cubicBezTo>
                <a:cubicBezTo>
                  <a:pt x="22" y="52"/>
                  <a:pt x="22" y="52"/>
                  <a:pt x="22" y="52"/>
                </a:cubicBezTo>
                <a:cubicBezTo>
                  <a:pt x="26" y="34"/>
                  <a:pt x="26" y="34"/>
                  <a:pt x="26" y="34"/>
                </a:cubicBezTo>
                <a:cubicBezTo>
                  <a:pt x="28" y="23"/>
                  <a:pt x="32" y="14"/>
                  <a:pt x="38" y="9"/>
                </a:cubicBezTo>
                <a:cubicBezTo>
                  <a:pt x="44" y="3"/>
                  <a:pt x="53" y="0"/>
                  <a:pt x="63" y="0"/>
                </a:cubicBezTo>
                <a:cubicBezTo>
                  <a:pt x="68" y="0"/>
                  <a:pt x="73" y="1"/>
                  <a:pt x="77" y="2"/>
                </a:cubicBezTo>
                <a:cubicBezTo>
                  <a:pt x="81" y="3"/>
                  <a:pt x="84" y="5"/>
                  <a:pt x="86" y="7"/>
                </a:cubicBezTo>
                <a:cubicBezTo>
                  <a:pt x="89" y="9"/>
                  <a:pt x="91" y="12"/>
                  <a:pt x="93" y="14"/>
                </a:cubicBezTo>
                <a:cubicBezTo>
                  <a:pt x="94" y="17"/>
                  <a:pt x="95" y="20"/>
                  <a:pt x="95" y="23"/>
                </a:cubicBezTo>
                <a:cubicBezTo>
                  <a:pt x="95" y="26"/>
                  <a:pt x="94" y="29"/>
                  <a:pt x="93" y="30"/>
                </a:cubicBezTo>
                <a:cubicBezTo>
                  <a:pt x="91" y="32"/>
                  <a:pt x="90" y="33"/>
                  <a:pt x="88" y="34"/>
                </a:cubicBezTo>
                <a:cubicBezTo>
                  <a:pt x="86" y="34"/>
                  <a:pt x="84" y="35"/>
                  <a:pt x="83" y="35"/>
                </a:cubicBezTo>
                <a:cubicBezTo>
                  <a:pt x="82" y="35"/>
                  <a:pt x="81" y="35"/>
                  <a:pt x="81" y="35"/>
                </a:cubicBezTo>
                <a:cubicBezTo>
                  <a:pt x="80" y="30"/>
                  <a:pt x="78" y="26"/>
                  <a:pt x="75" y="24"/>
                </a:cubicBezTo>
                <a:cubicBezTo>
                  <a:pt x="73" y="21"/>
                  <a:pt x="69" y="20"/>
                  <a:pt x="64" y="20"/>
                </a:cubicBezTo>
                <a:cubicBezTo>
                  <a:pt x="59" y="20"/>
                  <a:pt x="55" y="21"/>
                  <a:pt x="52" y="24"/>
                </a:cubicBezTo>
                <a:cubicBezTo>
                  <a:pt x="50" y="26"/>
                  <a:pt x="48" y="31"/>
                  <a:pt x="47" y="37"/>
                </a:cubicBezTo>
                <a:cubicBezTo>
                  <a:pt x="44" y="52"/>
                  <a:pt x="44" y="52"/>
                  <a:pt x="44" y="52"/>
                </a:cubicBezTo>
                <a:cubicBezTo>
                  <a:pt x="66" y="52"/>
                  <a:pt x="66" y="52"/>
                  <a:pt x="66" y="52"/>
                </a:cubicBezTo>
                <a:cubicBezTo>
                  <a:pt x="69" y="52"/>
                  <a:pt x="71" y="53"/>
                  <a:pt x="73" y="54"/>
                </a:cubicBezTo>
                <a:cubicBezTo>
                  <a:pt x="74" y="56"/>
                  <a:pt x="75" y="58"/>
                  <a:pt x="75" y="60"/>
                </a:cubicBezTo>
                <a:cubicBezTo>
                  <a:pt x="75" y="62"/>
                  <a:pt x="75" y="62"/>
                  <a:pt x="75" y="62"/>
                </a:cubicBezTo>
                <a:cubicBezTo>
                  <a:pt x="75" y="65"/>
                  <a:pt x="74" y="67"/>
                  <a:pt x="73" y="68"/>
                </a:cubicBezTo>
                <a:cubicBezTo>
                  <a:pt x="71" y="69"/>
                  <a:pt x="69" y="70"/>
                  <a:pt x="66" y="70"/>
                </a:cubicBezTo>
                <a:cubicBezTo>
                  <a:pt x="41" y="70"/>
                  <a:pt x="41" y="70"/>
                  <a:pt x="41" y="70"/>
                </a:cubicBezTo>
                <a:lnTo>
                  <a:pt x="37" y="93"/>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41" name="Freeform 117"/>
          <p:cNvSpPr>
            <a:spLocks/>
          </p:cNvSpPr>
          <p:nvPr userDrawn="1"/>
        </p:nvSpPr>
        <p:spPr bwMode="auto">
          <a:xfrm>
            <a:off x="6234546" y="4500563"/>
            <a:ext cx="80984" cy="97631"/>
          </a:xfrm>
          <a:custGeom>
            <a:avLst/>
            <a:gdLst/>
            <a:ahLst/>
            <a:cxnLst>
              <a:cxn ang="0">
                <a:pos x="3" y="47"/>
              </a:cxn>
              <a:cxn ang="0">
                <a:pos x="10" y="41"/>
              </a:cxn>
              <a:cxn ang="0">
                <a:pos x="65" y="11"/>
              </a:cxn>
              <a:cxn ang="0">
                <a:pos x="73" y="7"/>
              </a:cxn>
              <a:cxn ang="0">
                <a:pos x="90" y="12"/>
              </a:cxn>
              <a:cxn ang="0">
                <a:pos x="84" y="30"/>
              </a:cxn>
              <a:cxn ang="0">
                <a:pos x="74" y="36"/>
              </a:cxn>
              <a:cxn ang="0">
                <a:pos x="32" y="57"/>
              </a:cxn>
              <a:cxn ang="0">
                <a:pos x="32" y="57"/>
              </a:cxn>
              <a:cxn ang="0">
                <a:pos x="33" y="58"/>
              </a:cxn>
              <a:cxn ang="0">
                <a:pos x="74" y="79"/>
              </a:cxn>
              <a:cxn ang="0">
                <a:pos x="85" y="84"/>
              </a:cxn>
              <a:cxn ang="0">
                <a:pos x="90" y="103"/>
              </a:cxn>
              <a:cxn ang="0">
                <a:pos x="73" y="108"/>
              </a:cxn>
              <a:cxn ang="0">
                <a:pos x="65" y="103"/>
              </a:cxn>
              <a:cxn ang="0">
                <a:pos x="10" y="73"/>
              </a:cxn>
              <a:cxn ang="0">
                <a:pos x="3" y="68"/>
              </a:cxn>
              <a:cxn ang="0">
                <a:pos x="3" y="67"/>
              </a:cxn>
              <a:cxn ang="0">
                <a:pos x="0" y="57"/>
              </a:cxn>
              <a:cxn ang="0">
                <a:pos x="3" y="47"/>
              </a:cxn>
            </a:cxnLst>
            <a:rect l="0" t="0" r="r" b="b"/>
            <a:pathLst>
              <a:path w="95" h="114">
                <a:moveTo>
                  <a:pt x="3" y="47"/>
                </a:moveTo>
                <a:cubicBezTo>
                  <a:pt x="5" y="45"/>
                  <a:pt x="7" y="43"/>
                  <a:pt x="10" y="41"/>
                </a:cubicBezTo>
                <a:cubicBezTo>
                  <a:pt x="65" y="11"/>
                  <a:pt x="65" y="11"/>
                  <a:pt x="65" y="11"/>
                </a:cubicBezTo>
                <a:cubicBezTo>
                  <a:pt x="73" y="7"/>
                  <a:pt x="73" y="7"/>
                  <a:pt x="73" y="7"/>
                </a:cubicBezTo>
                <a:cubicBezTo>
                  <a:pt x="73" y="7"/>
                  <a:pt x="84" y="0"/>
                  <a:pt x="90" y="12"/>
                </a:cubicBezTo>
                <a:cubicBezTo>
                  <a:pt x="95" y="20"/>
                  <a:pt x="92" y="26"/>
                  <a:pt x="84" y="30"/>
                </a:cubicBezTo>
                <a:cubicBezTo>
                  <a:pt x="76" y="35"/>
                  <a:pt x="74" y="36"/>
                  <a:pt x="74" y="36"/>
                </a:cubicBezTo>
                <a:cubicBezTo>
                  <a:pt x="32" y="57"/>
                  <a:pt x="32" y="57"/>
                  <a:pt x="32" y="57"/>
                </a:cubicBezTo>
                <a:cubicBezTo>
                  <a:pt x="32" y="57"/>
                  <a:pt x="32" y="57"/>
                  <a:pt x="32" y="57"/>
                </a:cubicBezTo>
                <a:cubicBezTo>
                  <a:pt x="33" y="58"/>
                  <a:pt x="33" y="58"/>
                  <a:pt x="33" y="58"/>
                </a:cubicBezTo>
                <a:cubicBezTo>
                  <a:pt x="74" y="79"/>
                  <a:pt x="74" y="79"/>
                  <a:pt x="74" y="79"/>
                </a:cubicBezTo>
                <a:cubicBezTo>
                  <a:pt x="74" y="79"/>
                  <a:pt x="76" y="80"/>
                  <a:pt x="85" y="84"/>
                </a:cubicBezTo>
                <a:cubicBezTo>
                  <a:pt x="92" y="89"/>
                  <a:pt x="95" y="94"/>
                  <a:pt x="90" y="103"/>
                </a:cubicBezTo>
                <a:cubicBezTo>
                  <a:pt x="84" y="114"/>
                  <a:pt x="73" y="108"/>
                  <a:pt x="73" y="108"/>
                </a:cubicBezTo>
                <a:cubicBezTo>
                  <a:pt x="65" y="103"/>
                  <a:pt x="65" y="103"/>
                  <a:pt x="65" y="103"/>
                </a:cubicBezTo>
                <a:cubicBezTo>
                  <a:pt x="10" y="73"/>
                  <a:pt x="10" y="73"/>
                  <a:pt x="10" y="73"/>
                </a:cubicBezTo>
                <a:cubicBezTo>
                  <a:pt x="7" y="72"/>
                  <a:pt x="5" y="70"/>
                  <a:pt x="3" y="68"/>
                </a:cubicBezTo>
                <a:cubicBezTo>
                  <a:pt x="3" y="67"/>
                  <a:pt x="3" y="67"/>
                  <a:pt x="3" y="67"/>
                </a:cubicBezTo>
                <a:cubicBezTo>
                  <a:pt x="1" y="65"/>
                  <a:pt x="0" y="62"/>
                  <a:pt x="0" y="57"/>
                </a:cubicBezTo>
                <a:cubicBezTo>
                  <a:pt x="0" y="53"/>
                  <a:pt x="1" y="49"/>
                  <a:pt x="3" y="4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45" name="Freeform 121"/>
          <p:cNvSpPr>
            <a:spLocks/>
          </p:cNvSpPr>
          <p:nvPr userDrawn="1"/>
        </p:nvSpPr>
        <p:spPr bwMode="auto">
          <a:xfrm>
            <a:off x="6448914" y="4487466"/>
            <a:ext cx="72647" cy="122635"/>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49" name="Freeform 125"/>
          <p:cNvSpPr>
            <a:spLocks/>
          </p:cNvSpPr>
          <p:nvPr userDrawn="1"/>
        </p:nvSpPr>
        <p:spPr bwMode="auto">
          <a:xfrm>
            <a:off x="6647770" y="4502944"/>
            <a:ext cx="80983" cy="97631"/>
          </a:xfrm>
          <a:custGeom>
            <a:avLst/>
            <a:gdLst/>
            <a:ahLst/>
            <a:cxnLst>
              <a:cxn ang="0">
                <a:pos x="92" y="47"/>
              </a:cxn>
              <a:cxn ang="0">
                <a:pos x="85" y="41"/>
              </a:cxn>
              <a:cxn ang="0">
                <a:pos x="30" y="11"/>
              </a:cxn>
              <a:cxn ang="0">
                <a:pos x="22" y="7"/>
              </a:cxn>
              <a:cxn ang="0">
                <a:pos x="5" y="12"/>
              </a:cxn>
              <a:cxn ang="0">
                <a:pos x="10" y="30"/>
              </a:cxn>
              <a:cxn ang="0">
                <a:pos x="20" y="36"/>
              </a:cxn>
              <a:cxn ang="0">
                <a:pos x="62" y="57"/>
              </a:cxn>
              <a:cxn ang="0">
                <a:pos x="63" y="57"/>
              </a:cxn>
              <a:cxn ang="0">
                <a:pos x="62" y="58"/>
              </a:cxn>
              <a:cxn ang="0">
                <a:pos x="20" y="79"/>
              </a:cxn>
              <a:cxn ang="0">
                <a:pos x="10" y="84"/>
              </a:cxn>
              <a:cxn ang="0">
                <a:pos x="4" y="103"/>
              </a:cxn>
              <a:cxn ang="0">
                <a:pos x="22" y="108"/>
              </a:cxn>
              <a:cxn ang="0">
                <a:pos x="30" y="103"/>
              </a:cxn>
              <a:cxn ang="0">
                <a:pos x="85" y="73"/>
              </a:cxn>
              <a:cxn ang="0">
                <a:pos x="92" y="68"/>
              </a:cxn>
              <a:cxn ang="0">
                <a:pos x="92" y="67"/>
              </a:cxn>
              <a:cxn ang="0">
                <a:pos x="95" y="57"/>
              </a:cxn>
              <a:cxn ang="0">
                <a:pos x="92" y="47"/>
              </a:cxn>
            </a:cxnLst>
            <a:rect l="0" t="0" r="r" b="b"/>
            <a:pathLst>
              <a:path w="95" h="114">
                <a:moveTo>
                  <a:pt x="92" y="47"/>
                </a:moveTo>
                <a:cubicBezTo>
                  <a:pt x="90" y="45"/>
                  <a:pt x="88" y="43"/>
                  <a:pt x="85" y="41"/>
                </a:cubicBezTo>
                <a:cubicBezTo>
                  <a:pt x="30" y="11"/>
                  <a:pt x="30" y="11"/>
                  <a:pt x="30" y="11"/>
                </a:cubicBezTo>
                <a:cubicBezTo>
                  <a:pt x="22" y="7"/>
                  <a:pt x="22" y="7"/>
                  <a:pt x="22" y="7"/>
                </a:cubicBezTo>
                <a:cubicBezTo>
                  <a:pt x="22" y="7"/>
                  <a:pt x="11" y="0"/>
                  <a:pt x="5" y="12"/>
                </a:cubicBezTo>
                <a:cubicBezTo>
                  <a:pt x="0" y="20"/>
                  <a:pt x="3" y="26"/>
                  <a:pt x="10" y="30"/>
                </a:cubicBezTo>
                <a:cubicBezTo>
                  <a:pt x="19" y="35"/>
                  <a:pt x="20" y="36"/>
                  <a:pt x="20" y="36"/>
                </a:cubicBezTo>
                <a:cubicBezTo>
                  <a:pt x="62" y="57"/>
                  <a:pt x="62" y="57"/>
                  <a:pt x="62" y="57"/>
                </a:cubicBezTo>
                <a:cubicBezTo>
                  <a:pt x="63" y="57"/>
                  <a:pt x="63" y="57"/>
                  <a:pt x="63" y="57"/>
                </a:cubicBezTo>
                <a:cubicBezTo>
                  <a:pt x="62" y="58"/>
                  <a:pt x="62" y="58"/>
                  <a:pt x="62" y="58"/>
                </a:cubicBezTo>
                <a:cubicBezTo>
                  <a:pt x="20" y="79"/>
                  <a:pt x="20" y="79"/>
                  <a:pt x="20" y="79"/>
                </a:cubicBezTo>
                <a:cubicBezTo>
                  <a:pt x="20" y="79"/>
                  <a:pt x="19" y="80"/>
                  <a:pt x="10" y="84"/>
                </a:cubicBezTo>
                <a:cubicBezTo>
                  <a:pt x="2" y="89"/>
                  <a:pt x="0" y="94"/>
                  <a:pt x="4" y="103"/>
                </a:cubicBezTo>
                <a:cubicBezTo>
                  <a:pt x="11" y="114"/>
                  <a:pt x="22" y="108"/>
                  <a:pt x="22" y="108"/>
                </a:cubicBezTo>
                <a:cubicBezTo>
                  <a:pt x="30" y="103"/>
                  <a:pt x="30" y="103"/>
                  <a:pt x="30" y="103"/>
                </a:cubicBezTo>
                <a:cubicBezTo>
                  <a:pt x="85" y="73"/>
                  <a:pt x="85" y="73"/>
                  <a:pt x="85" y="73"/>
                </a:cubicBezTo>
                <a:cubicBezTo>
                  <a:pt x="88" y="72"/>
                  <a:pt x="90" y="70"/>
                  <a:pt x="92" y="68"/>
                </a:cubicBezTo>
                <a:cubicBezTo>
                  <a:pt x="92" y="67"/>
                  <a:pt x="92" y="67"/>
                  <a:pt x="92" y="67"/>
                </a:cubicBezTo>
                <a:cubicBezTo>
                  <a:pt x="94" y="65"/>
                  <a:pt x="95" y="62"/>
                  <a:pt x="95" y="57"/>
                </a:cubicBezTo>
                <a:cubicBezTo>
                  <a:pt x="95" y="53"/>
                  <a:pt x="94" y="49"/>
                  <a:pt x="92" y="4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53" name="Freeform 129"/>
          <p:cNvSpPr>
            <a:spLocks noEditPoints="1"/>
          </p:cNvSpPr>
          <p:nvPr userDrawn="1"/>
        </p:nvSpPr>
        <p:spPr bwMode="auto">
          <a:xfrm>
            <a:off x="6858596" y="4501754"/>
            <a:ext cx="64310" cy="96440"/>
          </a:xfrm>
          <a:custGeom>
            <a:avLst/>
            <a:gdLst/>
            <a:ahLst/>
            <a:cxnLst>
              <a:cxn ang="0">
                <a:pos x="34" y="79"/>
              </a:cxn>
              <a:cxn ang="0">
                <a:pos x="27" y="77"/>
              </a:cxn>
              <a:cxn ang="0">
                <a:pos x="24" y="70"/>
              </a:cxn>
              <a:cxn ang="0">
                <a:pos x="27" y="59"/>
              </a:cxn>
              <a:cxn ang="0">
                <a:pos x="32" y="51"/>
              </a:cxn>
              <a:cxn ang="0">
                <a:pos x="39" y="46"/>
              </a:cxn>
              <a:cxn ang="0">
                <a:pos x="46" y="42"/>
              </a:cxn>
              <a:cxn ang="0">
                <a:pos x="52" y="38"/>
              </a:cxn>
              <a:cxn ang="0">
                <a:pos x="54" y="32"/>
              </a:cxn>
              <a:cxn ang="0">
                <a:pos x="50" y="23"/>
              </a:cxn>
              <a:cxn ang="0">
                <a:pos x="38" y="19"/>
              </a:cxn>
              <a:cxn ang="0">
                <a:pos x="29" y="21"/>
              </a:cxn>
              <a:cxn ang="0">
                <a:pos x="22" y="26"/>
              </a:cxn>
              <a:cxn ang="0">
                <a:pos x="18" y="32"/>
              </a:cxn>
              <a:cxn ang="0">
                <a:pos x="16" y="39"/>
              </a:cxn>
              <a:cxn ang="0">
                <a:pos x="14" y="39"/>
              </a:cxn>
              <a:cxn ang="0">
                <a:pos x="8" y="38"/>
              </a:cxn>
              <a:cxn ang="0">
                <a:pos x="2" y="34"/>
              </a:cxn>
              <a:cxn ang="0">
                <a:pos x="0" y="27"/>
              </a:cxn>
              <a:cxn ang="0">
                <a:pos x="2" y="18"/>
              </a:cxn>
              <a:cxn ang="0">
                <a:pos x="10" y="9"/>
              </a:cxn>
              <a:cxn ang="0">
                <a:pos x="22" y="2"/>
              </a:cxn>
              <a:cxn ang="0">
                <a:pos x="39" y="0"/>
              </a:cxn>
              <a:cxn ang="0">
                <a:pos x="55" y="2"/>
              </a:cxn>
              <a:cxn ang="0">
                <a:pos x="67" y="8"/>
              </a:cxn>
              <a:cxn ang="0">
                <a:pos x="74" y="18"/>
              </a:cxn>
              <a:cxn ang="0">
                <a:pos x="77" y="30"/>
              </a:cxn>
              <a:cxn ang="0">
                <a:pos x="75" y="42"/>
              </a:cxn>
              <a:cxn ang="0">
                <a:pos x="69" y="50"/>
              </a:cxn>
              <a:cxn ang="0">
                <a:pos x="61" y="55"/>
              </a:cxn>
              <a:cxn ang="0">
                <a:pos x="53" y="60"/>
              </a:cxn>
              <a:cxn ang="0">
                <a:pos x="47" y="66"/>
              </a:cxn>
              <a:cxn ang="0">
                <a:pos x="44" y="74"/>
              </a:cxn>
              <a:cxn ang="0">
                <a:pos x="34" y="79"/>
              </a:cxn>
              <a:cxn ang="0">
                <a:pos x="22" y="102"/>
              </a:cxn>
              <a:cxn ang="0">
                <a:pos x="22" y="99"/>
              </a:cxn>
              <a:cxn ang="0">
                <a:pos x="33" y="88"/>
              </a:cxn>
              <a:cxn ang="0">
                <a:pos x="36" y="88"/>
              </a:cxn>
              <a:cxn ang="0">
                <a:pos x="48" y="99"/>
              </a:cxn>
              <a:cxn ang="0">
                <a:pos x="48" y="102"/>
              </a:cxn>
              <a:cxn ang="0">
                <a:pos x="36" y="113"/>
              </a:cxn>
              <a:cxn ang="0">
                <a:pos x="33" y="113"/>
              </a:cxn>
              <a:cxn ang="0">
                <a:pos x="22" y="102"/>
              </a:cxn>
            </a:cxnLst>
            <a:rect l="0" t="0" r="r" b="b"/>
            <a:pathLst>
              <a:path w="77" h="113">
                <a:moveTo>
                  <a:pt x="34" y="79"/>
                </a:moveTo>
                <a:cubicBezTo>
                  <a:pt x="31" y="79"/>
                  <a:pt x="29" y="78"/>
                  <a:pt x="27" y="77"/>
                </a:cubicBezTo>
                <a:cubicBezTo>
                  <a:pt x="25" y="75"/>
                  <a:pt x="24" y="73"/>
                  <a:pt x="24" y="70"/>
                </a:cubicBezTo>
                <a:cubicBezTo>
                  <a:pt x="25" y="66"/>
                  <a:pt x="25" y="62"/>
                  <a:pt x="27" y="59"/>
                </a:cubicBezTo>
                <a:cubicBezTo>
                  <a:pt x="28" y="56"/>
                  <a:pt x="30" y="53"/>
                  <a:pt x="32" y="51"/>
                </a:cubicBezTo>
                <a:cubicBezTo>
                  <a:pt x="35" y="49"/>
                  <a:pt x="37" y="47"/>
                  <a:pt x="39" y="46"/>
                </a:cubicBezTo>
                <a:cubicBezTo>
                  <a:pt x="42" y="45"/>
                  <a:pt x="44" y="43"/>
                  <a:pt x="46" y="42"/>
                </a:cubicBezTo>
                <a:cubicBezTo>
                  <a:pt x="49" y="41"/>
                  <a:pt x="50" y="39"/>
                  <a:pt x="52" y="38"/>
                </a:cubicBezTo>
                <a:cubicBezTo>
                  <a:pt x="53" y="36"/>
                  <a:pt x="54" y="34"/>
                  <a:pt x="54" y="32"/>
                </a:cubicBezTo>
                <a:cubicBezTo>
                  <a:pt x="54" y="28"/>
                  <a:pt x="53" y="25"/>
                  <a:pt x="50" y="23"/>
                </a:cubicBezTo>
                <a:cubicBezTo>
                  <a:pt x="47" y="20"/>
                  <a:pt x="43" y="19"/>
                  <a:pt x="38" y="19"/>
                </a:cubicBezTo>
                <a:cubicBezTo>
                  <a:pt x="35" y="19"/>
                  <a:pt x="32" y="20"/>
                  <a:pt x="29" y="21"/>
                </a:cubicBezTo>
                <a:cubicBezTo>
                  <a:pt x="26" y="22"/>
                  <a:pt x="24" y="24"/>
                  <a:pt x="22" y="26"/>
                </a:cubicBezTo>
                <a:cubicBezTo>
                  <a:pt x="21" y="27"/>
                  <a:pt x="19" y="29"/>
                  <a:pt x="18" y="32"/>
                </a:cubicBezTo>
                <a:cubicBezTo>
                  <a:pt x="17" y="34"/>
                  <a:pt x="16" y="37"/>
                  <a:pt x="16" y="39"/>
                </a:cubicBezTo>
                <a:cubicBezTo>
                  <a:pt x="16" y="39"/>
                  <a:pt x="15" y="39"/>
                  <a:pt x="14" y="39"/>
                </a:cubicBezTo>
                <a:cubicBezTo>
                  <a:pt x="12" y="39"/>
                  <a:pt x="10" y="39"/>
                  <a:pt x="8" y="38"/>
                </a:cubicBezTo>
                <a:cubicBezTo>
                  <a:pt x="6" y="37"/>
                  <a:pt x="4" y="36"/>
                  <a:pt x="2" y="34"/>
                </a:cubicBezTo>
                <a:cubicBezTo>
                  <a:pt x="1" y="33"/>
                  <a:pt x="0" y="30"/>
                  <a:pt x="0" y="27"/>
                </a:cubicBezTo>
                <a:cubicBezTo>
                  <a:pt x="0" y="24"/>
                  <a:pt x="1" y="21"/>
                  <a:pt x="2" y="18"/>
                </a:cubicBezTo>
                <a:cubicBezTo>
                  <a:pt x="4" y="14"/>
                  <a:pt x="6" y="11"/>
                  <a:pt x="10" y="9"/>
                </a:cubicBezTo>
                <a:cubicBezTo>
                  <a:pt x="13" y="6"/>
                  <a:pt x="17" y="4"/>
                  <a:pt x="22" y="2"/>
                </a:cubicBezTo>
                <a:cubicBezTo>
                  <a:pt x="26" y="1"/>
                  <a:pt x="32" y="0"/>
                  <a:pt x="39" y="0"/>
                </a:cubicBezTo>
                <a:cubicBezTo>
                  <a:pt x="45" y="0"/>
                  <a:pt x="50" y="0"/>
                  <a:pt x="55" y="2"/>
                </a:cubicBezTo>
                <a:cubicBezTo>
                  <a:pt x="59" y="3"/>
                  <a:pt x="63" y="5"/>
                  <a:pt x="67" y="8"/>
                </a:cubicBezTo>
                <a:cubicBezTo>
                  <a:pt x="70" y="11"/>
                  <a:pt x="73" y="14"/>
                  <a:pt x="74" y="18"/>
                </a:cubicBezTo>
                <a:cubicBezTo>
                  <a:pt x="76" y="21"/>
                  <a:pt x="77" y="26"/>
                  <a:pt x="77" y="30"/>
                </a:cubicBezTo>
                <a:cubicBezTo>
                  <a:pt x="77" y="35"/>
                  <a:pt x="76" y="39"/>
                  <a:pt x="75" y="42"/>
                </a:cubicBezTo>
                <a:cubicBezTo>
                  <a:pt x="73" y="45"/>
                  <a:pt x="71" y="47"/>
                  <a:pt x="69" y="50"/>
                </a:cubicBezTo>
                <a:cubicBezTo>
                  <a:pt x="67" y="52"/>
                  <a:pt x="64" y="54"/>
                  <a:pt x="61" y="55"/>
                </a:cubicBezTo>
                <a:cubicBezTo>
                  <a:pt x="58" y="57"/>
                  <a:pt x="56" y="58"/>
                  <a:pt x="53" y="60"/>
                </a:cubicBezTo>
                <a:cubicBezTo>
                  <a:pt x="51" y="62"/>
                  <a:pt x="49" y="64"/>
                  <a:pt x="47" y="66"/>
                </a:cubicBezTo>
                <a:cubicBezTo>
                  <a:pt x="45" y="68"/>
                  <a:pt x="45" y="71"/>
                  <a:pt x="44" y="74"/>
                </a:cubicBezTo>
                <a:cubicBezTo>
                  <a:pt x="43" y="77"/>
                  <a:pt x="40" y="79"/>
                  <a:pt x="34" y="79"/>
                </a:cubicBezTo>
                <a:close/>
                <a:moveTo>
                  <a:pt x="22" y="102"/>
                </a:moveTo>
                <a:cubicBezTo>
                  <a:pt x="22" y="99"/>
                  <a:pt x="22" y="99"/>
                  <a:pt x="22" y="99"/>
                </a:cubicBezTo>
                <a:cubicBezTo>
                  <a:pt x="22" y="92"/>
                  <a:pt x="26" y="88"/>
                  <a:pt x="33" y="88"/>
                </a:cubicBezTo>
                <a:cubicBezTo>
                  <a:pt x="36" y="88"/>
                  <a:pt x="36" y="88"/>
                  <a:pt x="36" y="88"/>
                </a:cubicBezTo>
                <a:cubicBezTo>
                  <a:pt x="44" y="88"/>
                  <a:pt x="48" y="92"/>
                  <a:pt x="48" y="99"/>
                </a:cubicBezTo>
                <a:cubicBezTo>
                  <a:pt x="48" y="102"/>
                  <a:pt x="48" y="102"/>
                  <a:pt x="48" y="102"/>
                </a:cubicBezTo>
                <a:cubicBezTo>
                  <a:pt x="48" y="109"/>
                  <a:pt x="44" y="113"/>
                  <a:pt x="36" y="113"/>
                </a:cubicBezTo>
                <a:cubicBezTo>
                  <a:pt x="33" y="113"/>
                  <a:pt x="33" y="113"/>
                  <a:pt x="33" y="113"/>
                </a:cubicBezTo>
                <a:cubicBezTo>
                  <a:pt x="26" y="113"/>
                  <a:pt x="22" y="109"/>
                  <a:pt x="22" y="10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57" name="Freeform 133"/>
          <p:cNvSpPr>
            <a:spLocks noEditPoints="1"/>
          </p:cNvSpPr>
          <p:nvPr userDrawn="1"/>
        </p:nvSpPr>
        <p:spPr bwMode="auto">
          <a:xfrm>
            <a:off x="7056291" y="4525566"/>
            <a:ext cx="65501" cy="44054"/>
          </a:xfrm>
          <a:custGeom>
            <a:avLst/>
            <a:gdLst/>
            <a:ahLst/>
            <a:cxnLst>
              <a:cxn ang="0">
                <a:pos x="10" y="51"/>
              </a:cxn>
              <a:cxn ang="0">
                <a:pos x="5" y="50"/>
              </a:cxn>
              <a:cxn ang="0">
                <a:pos x="2" y="48"/>
              </a:cxn>
              <a:cxn ang="0">
                <a:pos x="1" y="43"/>
              </a:cxn>
              <a:cxn ang="0">
                <a:pos x="10" y="11"/>
              </a:cxn>
              <a:cxn ang="0">
                <a:pos x="14" y="2"/>
              </a:cxn>
              <a:cxn ang="0">
                <a:pos x="23" y="0"/>
              </a:cxn>
              <a:cxn ang="0">
                <a:pos x="26" y="0"/>
              </a:cxn>
              <a:cxn ang="0">
                <a:pos x="34" y="2"/>
              </a:cxn>
              <a:cxn ang="0">
                <a:pos x="37" y="11"/>
              </a:cxn>
              <a:cxn ang="0">
                <a:pos x="37" y="13"/>
              </a:cxn>
              <a:cxn ang="0">
                <a:pos x="30" y="27"/>
              </a:cxn>
              <a:cxn ang="0">
                <a:pos x="15" y="49"/>
              </a:cxn>
              <a:cxn ang="0">
                <a:pos x="10" y="51"/>
              </a:cxn>
              <a:cxn ang="0">
                <a:pos x="50" y="51"/>
              </a:cxn>
              <a:cxn ang="0">
                <a:pos x="45" y="50"/>
              </a:cxn>
              <a:cxn ang="0">
                <a:pos x="41" y="48"/>
              </a:cxn>
              <a:cxn ang="0">
                <a:pos x="40" y="43"/>
              </a:cxn>
              <a:cxn ang="0">
                <a:pos x="49" y="11"/>
              </a:cxn>
              <a:cxn ang="0">
                <a:pos x="53" y="2"/>
              </a:cxn>
              <a:cxn ang="0">
                <a:pos x="62" y="0"/>
              </a:cxn>
              <a:cxn ang="0">
                <a:pos x="65" y="0"/>
              </a:cxn>
              <a:cxn ang="0">
                <a:pos x="73" y="2"/>
              </a:cxn>
              <a:cxn ang="0">
                <a:pos x="76" y="11"/>
              </a:cxn>
              <a:cxn ang="0">
                <a:pos x="76" y="13"/>
              </a:cxn>
              <a:cxn ang="0">
                <a:pos x="70" y="27"/>
              </a:cxn>
              <a:cxn ang="0">
                <a:pos x="54" y="49"/>
              </a:cxn>
              <a:cxn ang="0">
                <a:pos x="50" y="51"/>
              </a:cxn>
            </a:cxnLst>
            <a:rect l="0" t="0" r="r" b="b"/>
            <a:pathLst>
              <a:path w="76" h="51">
                <a:moveTo>
                  <a:pt x="10" y="51"/>
                </a:moveTo>
                <a:cubicBezTo>
                  <a:pt x="9" y="51"/>
                  <a:pt x="7" y="51"/>
                  <a:pt x="5" y="50"/>
                </a:cubicBezTo>
                <a:cubicBezTo>
                  <a:pt x="4" y="50"/>
                  <a:pt x="3" y="49"/>
                  <a:pt x="2" y="48"/>
                </a:cubicBezTo>
                <a:cubicBezTo>
                  <a:pt x="1" y="46"/>
                  <a:pt x="0" y="44"/>
                  <a:pt x="1" y="43"/>
                </a:cubicBezTo>
                <a:cubicBezTo>
                  <a:pt x="10" y="11"/>
                  <a:pt x="10" y="11"/>
                  <a:pt x="10" y="11"/>
                </a:cubicBezTo>
                <a:cubicBezTo>
                  <a:pt x="11" y="7"/>
                  <a:pt x="12" y="4"/>
                  <a:pt x="14" y="2"/>
                </a:cubicBezTo>
                <a:cubicBezTo>
                  <a:pt x="15" y="1"/>
                  <a:pt x="18" y="0"/>
                  <a:pt x="23" y="0"/>
                </a:cubicBezTo>
                <a:cubicBezTo>
                  <a:pt x="26" y="0"/>
                  <a:pt x="26" y="0"/>
                  <a:pt x="26" y="0"/>
                </a:cubicBezTo>
                <a:cubicBezTo>
                  <a:pt x="29" y="0"/>
                  <a:pt x="32" y="1"/>
                  <a:pt x="34" y="2"/>
                </a:cubicBezTo>
                <a:cubicBezTo>
                  <a:pt x="36" y="4"/>
                  <a:pt x="37" y="7"/>
                  <a:pt x="37" y="11"/>
                </a:cubicBezTo>
                <a:cubicBezTo>
                  <a:pt x="37" y="13"/>
                  <a:pt x="37" y="13"/>
                  <a:pt x="37" y="13"/>
                </a:cubicBezTo>
                <a:cubicBezTo>
                  <a:pt x="37" y="18"/>
                  <a:pt x="34" y="22"/>
                  <a:pt x="30" y="27"/>
                </a:cubicBezTo>
                <a:cubicBezTo>
                  <a:pt x="15" y="49"/>
                  <a:pt x="15" y="49"/>
                  <a:pt x="15" y="49"/>
                </a:cubicBezTo>
                <a:cubicBezTo>
                  <a:pt x="14" y="50"/>
                  <a:pt x="12" y="51"/>
                  <a:pt x="10" y="51"/>
                </a:cubicBezTo>
                <a:close/>
                <a:moveTo>
                  <a:pt x="50" y="51"/>
                </a:moveTo>
                <a:cubicBezTo>
                  <a:pt x="48" y="51"/>
                  <a:pt x="46" y="51"/>
                  <a:pt x="45" y="50"/>
                </a:cubicBezTo>
                <a:cubicBezTo>
                  <a:pt x="43" y="50"/>
                  <a:pt x="42" y="49"/>
                  <a:pt x="41" y="48"/>
                </a:cubicBezTo>
                <a:cubicBezTo>
                  <a:pt x="40" y="46"/>
                  <a:pt x="40" y="44"/>
                  <a:pt x="40" y="43"/>
                </a:cubicBezTo>
                <a:cubicBezTo>
                  <a:pt x="49" y="11"/>
                  <a:pt x="49" y="11"/>
                  <a:pt x="49" y="11"/>
                </a:cubicBezTo>
                <a:cubicBezTo>
                  <a:pt x="50" y="7"/>
                  <a:pt x="51" y="4"/>
                  <a:pt x="53" y="2"/>
                </a:cubicBezTo>
                <a:cubicBezTo>
                  <a:pt x="55" y="1"/>
                  <a:pt x="58" y="0"/>
                  <a:pt x="62" y="0"/>
                </a:cubicBezTo>
                <a:cubicBezTo>
                  <a:pt x="65" y="0"/>
                  <a:pt x="65" y="0"/>
                  <a:pt x="65" y="0"/>
                </a:cubicBezTo>
                <a:cubicBezTo>
                  <a:pt x="68" y="0"/>
                  <a:pt x="71" y="1"/>
                  <a:pt x="73" y="2"/>
                </a:cubicBezTo>
                <a:cubicBezTo>
                  <a:pt x="75" y="4"/>
                  <a:pt x="76" y="7"/>
                  <a:pt x="76" y="11"/>
                </a:cubicBezTo>
                <a:cubicBezTo>
                  <a:pt x="76" y="13"/>
                  <a:pt x="76" y="13"/>
                  <a:pt x="76" y="13"/>
                </a:cubicBezTo>
                <a:cubicBezTo>
                  <a:pt x="76" y="17"/>
                  <a:pt x="74" y="22"/>
                  <a:pt x="70" y="27"/>
                </a:cubicBezTo>
                <a:cubicBezTo>
                  <a:pt x="54" y="49"/>
                  <a:pt x="54" y="49"/>
                  <a:pt x="54" y="49"/>
                </a:cubicBezTo>
                <a:cubicBezTo>
                  <a:pt x="53" y="50"/>
                  <a:pt x="52" y="51"/>
                  <a:pt x="50" y="5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61" name="Freeform 137"/>
          <p:cNvSpPr>
            <a:spLocks/>
          </p:cNvSpPr>
          <p:nvPr userDrawn="1"/>
        </p:nvSpPr>
        <p:spPr bwMode="auto">
          <a:xfrm>
            <a:off x="7252796" y="4486275"/>
            <a:ext cx="55974" cy="123825"/>
          </a:xfrm>
          <a:custGeom>
            <a:avLst/>
            <a:gdLst/>
            <a:ahLst/>
            <a:cxnLst>
              <a:cxn ang="0">
                <a:pos x="57" y="110"/>
              </a:cxn>
              <a:cxn ang="0">
                <a:pos x="64" y="130"/>
              </a:cxn>
              <a:cxn ang="0">
                <a:pos x="65" y="140"/>
              </a:cxn>
              <a:cxn ang="0">
                <a:pos x="58" y="145"/>
              </a:cxn>
              <a:cxn ang="0">
                <a:pos x="57" y="145"/>
              </a:cxn>
              <a:cxn ang="0">
                <a:pos x="48" y="145"/>
              </a:cxn>
              <a:cxn ang="0">
                <a:pos x="43" y="137"/>
              </a:cxn>
              <a:cxn ang="0">
                <a:pos x="39" y="125"/>
              </a:cxn>
              <a:cxn ang="0">
                <a:pos x="38" y="121"/>
              </a:cxn>
              <a:cxn ang="0">
                <a:pos x="11" y="42"/>
              </a:cxn>
              <a:cxn ang="0">
                <a:pos x="10" y="40"/>
              </a:cxn>
              <a:cxn ang="0">
                <a:pos x="2" y="16"/>
              </a:cxn>
              <a:cxn ang="0">
                <a:pos x="8" y="2"/>
              </a:cxn>
              <a:cxn ang="0">
                <a:pos x="10" y="1"/>
              </a:cxn>
              <a:cxn ang="0">
                <a:pos x="23" y="9"/>
              </a:cxn>
              <a:cxn ang="0">
                <a:pos x="32" y="34"/>
              </a:cxn>
              <a:cxn ang="0">
                <a:pos x="34" y="41"/>
              </a:cxn>
              <a:cxn ang="0">
                <a:pos x="57" y="110"/>
              </a:cxn>
            </a:cxnLst>
            <a:rect l="0" t="0" r="r" b="b"/>
            <a:pathLst>
              <a:path w="66" h="146">
                <a:moveTo>
                  <a:pt x="57" y="110"/>
                </a:moveTo>
                <a:cubicBezTo>
                  <a:pt x="64" y="130"/>
                  <a:pt x="64" y="130"/>
                  <a:pt x="64" y="130"/>
                </a:cubicBezTo>
                <a:cubicBezTo>
                  <a:pt x="66" y="134"/>
                  <a:pt x="66" y="138"/>
                  <a:pt x="65" y="140"/>
                </a:cubicBezTo>
                <a:cubicBezTo>
                  <a:pt x="64" y="142"/>
                  <a:pt x="62" y="144"/>
                  <a:pt x="58" y="145"/>
                </a:cubicBezTo>
                <a:cubicBezTo>
                  <a:pt x="57" y="145"/>
                  <a:pt x="57" y="145"/>
                  <a:pt x="57" y="145"/>
                </a:cubicBezTo>
                <a:cubicBezTo>
                  <a:pt x="54" y="146"/>
                  <a:pt x="51" y="146"/>
                  <a:pt x="48" y="145"/>
                </a:cubicBezTo>
                <a:cubicBezTo>
                  <a:pt x="46" y="143"/>
                  <a:pt x="44" y="141"/>
                  <a:pt x="43" y="137"/>
                </a:cubicBezTo>
                <a:cubicBezTo>
                  <a:pt x="39" y="125"/>
                  <a:pt x="39" y="125"/>
                  <a:pt x="39" y="125"/>
                </a:cubicBezTo>
                <a:cubicBezTo>
                  <a:pt x="39" y="125"/>
                  <a:pt x="39" y="125"/>
                  <a:pt x="38" y="121"/>
                </a:cubicBezTo>
                <a:cubicBezTo>
                  <a:pt x="11" y="42"/>
                  <a:pt x="11" y="42"/>
                  <a:pt x="11" y="42"/>
                </a:cubicBezTo>
                <a:cubicBezTo>
                  <a:pt x="10" y="38"/>
                  <a:pt x="10" y="40"/>
                  <a:pt x="10" y="40"/>
                </a:cubicBezTo>
                <a:cubicBezTo>
                  <a:pt x="2" y="16"/>
                  <a:pt x="2" y="16"/>
                  <a:pt x="2" y="16"/>
                </a:cubicBezTo>
                <a:cubicBezTo>
                  <a:pt x="0" y="8"/>
                  <a:pt x="2" y="4"/>
                  <a:pt x="8" y="2"/>
                </a:cubicBezTo>
                <a:cubicBezTo>
                  <a:pt x="10" y="1"/>
                  <a:pt x="10" y="1"/>
                  <a:pt x="10" y="1"/>
                </a:cubicBezTo>
                <a:cubicBezTo>
                  <a:pt x="16" y="0"/>
                  <a:pt x="21" y="2"/>
                  <a:pt x="23" y="9"/>
                </a:cubicBezTo>
                <a:cubicBezTo>
                  <a:pt x="32" y="34"/>
                  <a:pt x="32" y="34"/>
                  <a:pt x="32" y="34"/>
                </a:cubicBezTo>
                <a:cubicBezTo>
                  <a:pt x="34" y="41"/>
                  <a:pt x="34" y="41"/>
                  <a:pt x="34" y="41"/>
                </a:cubicBezTo>
                <a:cubicBezTo>
                  <a:pt x="57" y="110"/>
                  <a:pt x="57" y="110"/>
                  <a:pt x="57" y="110"/>
                </a:cubicBezTo>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65" name="Freeform 141"/>
          <p:cNvSpPr>
            <a:spLocks/>
          </p:cNvSpPr>
          <p:nvPr userDrawn="1"/>
        </p:nvSpPr>
        <p:spPr bwMode="auto">
          <a:xfrm>
            <a:off x="7444536" y="4485085"/>
            <a:ext cx="55974" cy="123825"/>
          </a:xfrm>
          <a:custGeom>
            <a:avLst/>
            <a:gdLst/>
            <a:ahLst/>
            <a:cxnLst>
              <a:cxn ang="0">
                <a:pos x="8" y="110"/>
              </a:cxn>
              <a:cxn ang="0">
                <a:pos x="32" y="41"/>
              </a:cxn>
              <a:cxn ang="0">
                <a:pos x="34" y="34"/>
              </a:cxn>
              <a:cxn ang="0">
                <a:pos x="42" y="9"/>
              </a:cxn>
              <a:cxn ang="0">
                <a:pos x="56" y="1"/>
              </a:cxn>
              <a:cxn ang="0">
                <a:pos x="57" y="2"/>
              </a:cxn>
              <a:cxn ang="0">
                <a:pos x="64" y="16"/>
              </a:cxn>
              <a:cxn ang="0">
                <a:pos x="55" y="40"/>
              </a:cxn>
              <a:cxn ang="0">
                <a:pos x="55" y="42"/>
              </a:cxn>
              <a:cxn ang="0">
                <a:pos x="28" y="121"/>
              </a:cxn>
              <a:cxn ang="0">
                <a:pos x="26" y="125"/>
              </a:cxn>
              <a:cxn ang="0">
                <a:pos x="23" y="137"/>
              </a:cxn>
              <a:cxn ang="0">
                <a:pos x="17" y="145"/>
              </a:cxn>
              <a:cxn ang="0">
                <a:pos x="8" y="145"/>
              </a:cxn>
              <a:cxn ang="0">
                <a:pos x="7" y="145"/>
              </a:cxn>
              <a:cxn ang="0">
                <a:pos x="1" y="140"/>
              </a:cxn>
              <a:cxn ang="0">
                <a:pos x="1" y="130"/>
              </a:cxn>
              <a:cxn ang="0">
                <a:pos x="8" y="110"/>
              </a:cxn>
            </a:cxnLst>
            <a:rect l="0" t="0" r="r" b="b"/>
            <a:pathLst>
              <a:path w="66" h="146">
                <a:moveTo>
                  <a:pt x="8" y="110"/>
                </a:moveTo>
                <a:cubicBezTo>
                  <a:pt x="32" y="41"/>
                  <a:pt x="32" y="41"/>
                  <a:pt x="32" y="41"/>
                </a:cubicBezTo>
                <a:cubicBezTo>
                  <a:pt x="34" y="34"/>
                  <a:pt x="34" y="34"/>
                  <a:pt x="34" y="34"/>
                </a:cubicBezTo>
                <a:cubicBezTo>
                  <a:pt x="42" y="9"/>
                  <a:pt x="42" y="9"/>
                  <a:pt x="42" y="9"/>
                </a:cubicBezTo>
                <a:cubicBezTo>
                  <a:pt x="45" y="2"/>
                  <a:pt x="50" y="0"/>
                  <a:pt x="56" y="1"/>
                </a:cubicBezTo>
                <a:cubicBezTo>
                  <a:pt x="57" y="2"/>
                  <a:pt x="57" y="2"/>
                  <a:pt x="57" y="2"/>
                </a:cubicBezTo>
                <a:cubicBezTo>
                  <a:pt x="63" y="4"/>
                  <a:pt x="66" y="8"/>
                  <a:pt x="64" y="16"/>
                </a:cubicBezTo>
                <a:cubicBezTo>
                  <a:pt x="55" y="40"/>
                  <a:pt x="55" y="40"/>
                  <a:pt x="55" y="40"/>
                </a:cubicBezTo>
                <a:cubicBezTo>
                  <a:pt x="55" y="40"/>
                  <a:pt x="56" y="38"/>
                  <a:pt x="55" y="42"/>
                </a:cubicBezTo>
                <a:cubicBezTo>
                  <a:pt x="28" y="121"/>
                  <a:pt x="28" y="121"/>
                  <a:pt x="28" y="121"/>
                </a:cubicBezTo>
                <a:cubicBezTo>
                  <a:pt x="26" y="125"/>
                  <a:pt x="26" y="125"/>
                  <a:pt x="26" y="125"/>
                </a:cubicBezTo>
                <a:cubicBezTo>
                  <a:pt x="23" y="137"/>
                  <a:pt x="23" y="137"/>
                  <a:pt x="23" y="137"/>
                </a:cubicBezTo>
                <a:cubicBezTo>
                  <a:pt x="21" y="141"/>
                  <a:pt x="19" y="143"/>
                  <a:pt x="17" y="145"/>
                </a:cubicBezTo>
                <a:cubicBezTo>
                  <a:pt x="15" y="146"/>
                  <a:pt x="12" y="146"/>
                  <a:pt x="8" y="145"/>
                </a:cubicBezTo>
                <a:cubicBezTo>
                  <a:pt x="7" y="145"/>
                  <a:pt x="7" y="145"/>
                  <a:pt x="7" y="145"/>
                </a:cubicBezTo>
                <a:cubicBezTo>
                  <a:pt x="4" y="144"/>
                  <a:pt x="2" y="142"/>
                  <a:pt x="1" y="140"/>
                </a:cubicBezTo>
                <a:cubicBezTo>
                  <a:pt x="0" y="138"/>
                  <a:pt x="0" y="134"/>
                  <a:pt x="1" y="130"/>
                </a:cubicBezTo>
                <a:cubicBezTo>
                  <a:pt x="8" y="110"/>
                  <a:pt x="8" y="110"/>
                  <a:pt x="8" y="110"/>
                </a:cubicBezTo>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69" name="Freeform 145"/>
          <p:cNvSpPr>
            <a:spLocks/>
          </p:cNvSpPr>
          <p:nvPr userDrawn="1"/>
        </p:nvSpPr>
        <p:spPr bwMode="auto">
          <a:xfrm>
            <a:off x="7632704" y="4501754"/>
            <a:ext cx="41683" cy="94059"/>
          </a:xfrm>
          <a:custGeom>
            <a:avLst/>
            <a:gdLst/>
            <a:ahLst/>
            <a:cxnLst>
              <a:cxn ang="0">
                <a:pos x="20" y="34"/>
              </a:cxn>
              <a:cxn ang="0">
                <a:pos x="15" y="34"/>
              </a:cxn>
              <a:cxn ang="0">
                <a:pos x="4" y="31"/>
              </a:cxn>
              <a:cxn ang="0">
                <a:pos x="0" y="20"/>
              </a:cxn>
              <a:cxn ang="0">
                <a:pos x="1" y="15"/>
              </a:cxn>
              <a:cxn ang="0">
                <a:pos x="3" y="11"/>
              </a:cxn>
              <a:cxn ang="0">
                <a:pos x="5" y="9"/>
              </a:cxn>
              <a:cxn ang="0">
                <a:pos x="6" y="9"/>
              </a:cxn>
              <a:cxn ang="0">
                <a:pos x="11" y="11"/>
              </a:cxn>
              <a:cxn ang="0">
                <a:pos x="17" y="12"/>
              </a:cxn>
              <a:cxn ang="0">
                <a:pos x="26" y="9"/>
              </a:cxn>
              <a:cxn ang="0">
                <a:pos x="31" y="0"/>
              </a:cxn>
              <a:cxn ang="0">
                <a:pos x="38" y="0"/>
              </a:cxn>
              <a:cxn ang="0">
                <a:pos x="49" y="11"/>
              </a:cxn>
              <a:cxn ang="0">
                <a:pos x="49" y="100"/>
              </a:cxn>
              <a:cxn ang="0">
                <a:pos x="38" y="111"/>
              </a:cxn>
              <a:cxn ang="0">
                <a:pos x="35" y="111"/>
              </a:cxn>
              <a:cxn ang="0">
                <a:pos x="24" y="100"/>
              </a:cxn>
              <a:cxn ang="0">
                <a:pos x="24" y="31"/>
              </a:cxn>
              <a:cxn ang="0">
                <a:pos x="20" y="34"/>
              </a:cxn>
            </a:cxnLst>
            <a:rect l="0" t="0" r="r" b="b"/>
            <a:pathLst>
              <a:path w="49" h="111">
                <a:moveTo>
                  <a:pt x="20" y="34"/>
                </a:moveTo>
                <a:cubicBezTo>
                  <a:pt x="18" y="34"/>
                  <a:pt x="17" y="34"/>
                  <a:pt x="15" y="34"/>
                </a:cubicBezTo>
                <a:cubicBezTo>
                  <a:pt x="10" y="34"/>
                  <a:pt x="7" y="33"/>
                  <a:pt x="4" y="31"/>
                </a:cubicBezTo>
                <a:cubicBezTo>
                  <a:pt x="1" y="28"/>
                  <a:pt x="0" y="25"/>
                  <a:pt x="0" y="20"/>
                </a:cubicBezTo>
                <a:cubicBezTo>
                  <a:pt x="0" y="18"/>
                  <a:pt x="0" y="17"/>
                  <a:pt x="1" y="15"/>
                </a:cubicBezTo>
                <a:cubicBezTo>
                  <a:pt x="1" y="14"/>
                  <a:pt x="2" y="12"/>
                  <a:pt x="3" y="11"/>
                </a:cubicBezTo>
                <a:cubicBezTo>
                  <a:pt x="3" y="10"/>
                  <a:pt x="4" y="10"/>
                  <a:pt x="5" y="9"/>
                </a:cubicBezTo>
                <a:cubicBezTo>
                  <a:pt x="6" y="9"/>
                  <a:pt x="6" y="9"/>
                  <a:pt x="6" y="9"/>
                </a:cubicBezTo>
                <a:cubicBezTo>
                  <a:pt x="8" y="10"/>
                  <a:pt x="9" y="11"/>
                  <a:pt x="11" y="11"/>
                </a:cubicBezTo>
                <a:cubicBezTo>
                  <a:pt x="13" y="12"/>
                  <a:pt x="14" y="12"/>
                  <a:pt x="17" y="12"/>
                </a:cubicBezTo>
                <a:cubicBezTo>
                  <a:pt x="20" y="12"/>
                  <a:pt x="23" y="11"/>
                  <a:pt x="26" y="9"/>
                </a:cubicBezTo>
                <a:cubicBezTo>
                  <a:pt x="29" y="7"/>
                  <a:pt x="30" y="4"/>
                  <a:pt x="31" y="0"/>
                </a:cubicBezTo>
                <a:cubicBezTo>
                  <a:pt x="38" y="0"/>
                  <a:pt x="38" y="0"/>
                  <a:pt x="38" y="0"/>
                </a:cubicBezTo>
                <a:cubicBezTo>
                  <a:pt x="45" y="0"/>
                  <a:pt x="49" y="4"/>
                  <a:pt x="49" y="11"/>
                </a:cubicBezTo>
                <a:cubicBezTo>
                  <a:pt x="49" y="100"/>
                  <a:pt x="49" y="100"/>
                  <a:pt x="49" y="100"/>
                </a:cubicBezTo>
                <a:cubicBezTo>
                  <a:pt x="49" y="107"/>
                  <a:pt x="45" y="111"/>
                  <a:pt x="38" y="111"/>
                </a:cubicBezTo>
                <a:cubicBezTo>
                  <a:pt x="35" y="111"/>
                  <a:pt x="35" y="111"/>
                  <a:pt x="35" y="111"/>
                </a:cubicBezTo>
                <a:cubicBezTo>
                  <a:pt x="28" y="111"/>
                  <a:pt x="24" y="107"/>
                  <a:pt x="24" y="100"/>
                </a:cubicBezTo>
                <a:cubicBezTo>
                  <a:pt x="24" y="31"/>
                  <a:pt x="24" y="31"/>
                  <a:pt x="24" y="31"/>
                </a:cubicBezTo>
                <a:cubicBezTo>
                  <a:pt x="23" y="32"/>
                  <a:pt x="21" y="33"/>
                  <a:pt x="20" y="3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73" name="Freeform 149"/>
          <p:cNvSpPr>
            <a:spLocks/>
          </p:cNvSpPr>
          <p:nvPr userDrawn="1"/>
        </p:nvSpPr>
        <p:spPr bwMode="auto">
          <a:xfrm>
            <a:off x="7816108" y="4487466"/>
            <a:ext cx="39301" cy="122634"/>
          </a:xfrm>
          <a:custGeom>
            <a:avLst/>
            <a:gdLst/>
            <a:ahLst/>
            <a:cxnLst>
              <a:cxn ang="0">
                <a:pos x="33" y="145"/>
              </a:cxn>
              <a:cxn ang="0">
                <a:pos x="13" y="145"/>
              </a:cxn>
              <a:cxn ang="0">
                <a:pos x="3" y="141"/>
              </a:cxn>
              <a:cxn ang="0">
                <a:pos x="0" y="131"/>
              </a:cxn>
              <a:cxn ang="0">
                <a:pos x="0" y="14"/>
              </a:cxn>
              <a:cxn ang="0">
                <a:pos x="3" y="4"/>
              </a:cxn>
              <a:cxn ang="0">
                <a:pos x="13" y="0"/>
              </a:cxn>
              <a:cxn ang="0">
                <a:pos x="33" y="0"/>
              </a:cxn>
              <a:cxn ang="0">
                <a:pos x="42" y="2"/>
              </a:cxn>
              <a:cxn ang="0">
                <a:pos x="45" y="9"/>
              </a:cxn>
              <a:cxn ang="0">
                <a:pos x="45" y="10"/>
              </a:cxn>
              <a:cxn ang="0">
                <a:pos x="42" y="17"/>
              </a:cxn>
              <a:cxn ang="0">
                <a:pos x="33" y="20"/>
              </a:cxn>
              <a:cxn ang="0">
                <a:pos x="22" y="20"/>
              </a:cxn>
              <a:cxn ang="0">
                <a:pos x="22" y="125"/>
              </a:cxn>
              <a:cxn ang="0">
                <a:pos x="33" y="125"/>
              </a:cxn>
              <a:cxn ang="0">
                <a:pos x="42" y="127"/>
              </a:cxn>
              <a:cxn ang="0">
                <a:pos x="45" y="134"/>
              </a:cxn>
              <a:cxn ang="0">
                <a:pos x="45" y="135"/>
              </a:cxn>
              <a:cxn ang="0">
                <a:pos x="42" y="143"/>
              </a:cxn>
              <a:cxn ang="0">
                <a:pos x="33" y="145"/>
              </a:cxn>
            </a:cxnLst>
            <a:rect l="0" t="0" r="r" b="b"/>
            <a:pathLst>
              <a:path w="45" h="145">
                <a:moveTo>
                  <a:pt x="33" y="145"/>
                </a:moveTo>
                <a:cubicBezTo>
                  <a:pt x="13" y="145"/>
                  <a:pt x="13" y="145"/>
                  <a:pt x="13" y="145"/>
                </a:cubicBezTo>
                <a:cubicBezTo>
                  <a:pt x="9" y="145"/>
                  <a:pt x="6" y="144"/>
                  <a:pt x="3" y="141"/>
                </a:cubicBezTo>
                <a:cubicBezTo>
                  <a:pt x="1" y="139"/>
                  <a:pt x="0" y="135"/>
                  <a:pt x="0" y="131"/>
                </a:cubicBezTo>
                <a:cubicBezTo>
                  <a:pt x="0" y="14"/>
                  <a:pt x="0" y="14"/>
                  <a:pt x="0" y="14"/>
                </a:cubicBezTo>
                <a:cubicBezTo>
                  <a:pt x="0" y="9"/>
                  <a:pt x="1" y="6"/>
                  <a:pt x="3" y="4"/>
                </a:cubicBezTo>
                <a:cubicBezTo>
                  <a:pt x="6" y="1"/>
                  <a:pt x="9" y="0"/>
                  <a:pt x="13" y="0"/>
                </a:cubicBezTo>
                <a:cubicBezTo>
                  <a:pt x="33" y="0"/>
                  <a:pt x="33" y="0"/>
                  <a:pt x="33" y="0"/>
                </a:cubicBezTo>
                <a:cubicBezTo>
                  <a:pt x="37" y="0"/>
                  <a:pt x="40" y="1"/>
                  <a:pt x="42" y="2"/>
                </a:cubicBezTo>
                <a:cubicBezTo>
                  <a:pt x="44" y="4"/>
                  <a:pt x="45" y="6"/>
                  <a:pt x="45" y="9"/>
                </a:cubicBezTo>
                <a:cubicBezTo>
                  <a:pt x="45" y="10"/>
                  <a:pt x="45" y="10"/>
                  <a:pt x="45" y="10"/>
                </a:cubicBezTo>
                <a:cubicBezTo>
                  <a:pt x="45" y="14"/>
                  <a:pt x="44" y="16"/>
                  <a:pt x="42" y="17"/>
                </a:cubicBezTo>
                <a:cubicBezTo>
                  <a:pt x="40" y="19"/>
                  <a:pt x="37" y="20"/>
                  <a:pt x="33" y="20"/>
                </a:cubicBezTo>
                <a:cubicBezTo>
                  <a:pt x="22" y="20"/>
                  <a:pt x="22" y="20"/>
                  <a:pt x="22" y="20"/>
                </a:cubicBezTo>
                <a:cubicBezTo>
                  <a:pt x="22" y="125"/>
                  <a:pt x="22" y="125"/>
                  <a:pt x="22" y="125"/>
                </a:cubicBezTo>
                <a:cubicBezTo>
                  <a:pt x="33" y="125"/>
                  <a:pt x="33" y="125"/>
                  <a:pt x="33" y="125"/>
                </a:cubicBezTo>
                <a:cubicBezTo>
                  <a:pt x="37" y="125"/>
                  <a:pt x="40" y="126"/>
                  <a:pt x="42" y="127"/>
                </a:cubicBezTo>
                <a:cubicBezTo>
                  <a:pt x="44" y="129"/>
                  <a:pt x="45" y="131"/>
                  <a:pt x="45" y="134"/>
                </a:cubicBezTo>
                <a:cubicBezTo>
                  <a:pt x="45" y="135"/>
                  <a:pt x="45" y="135"/>
                  <a:pt x="45" y="135"/>
                </a:cubicBezTo>
                <a:cubicBezTo>
                  <a:pt x="45" y="139"/>
                  <a:pt x="44" y="141"/>
                  <a:pt x="42" y="143"/>
                </a:cubicBezTo>
                <a:cubicBezTo>
                  <a:pt x="40" y="144"/>
                  <a:pt x="37" y="145"/>
                  <a:pt x="33" y="14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77" name="Freeform 153"/>
          <p:cNvSpPr>
            <a:spLocks/>
          </p:cNvSpPr>
          <p:nvPr userDrawn="1"/>
        </p:nvSpPr>
        <p:spPr bwMode="auto">
          <a:xfrm>
            <a:off x="7989984" y="4486275"/>
            <a:ext cx="39301" cy="123825"/>
          </a:xfrm>
          <a:custGeom>
            <a:avLst/>
            <a:gdLst/>
            <a:ahLst/>
            <a:cxnLst>
              <a:cxn ang="0">
                <a:pos x="2" y="143"/>
              </a:cxn>
              <a:cxn ang="0">
                <a:pos x="0" y="135"/>
              </a:cxn>
              <a:cxn ang="0">
                <a:pos x="0" y="134"/>
              </a:cxn>
              <a:cxn ang="0">
                <a:pos x="2" y="127"/>
              </a:cxn>
              <a:cxn ang="0">
                <a:pos x="11" y="125"/>
              </a:cxn>
              <a:cxn ang="0">
                <a:pos x="23" y="125"/>
              </a:cxn>
              <a:cxn ang="0">
                <a:pos x="23" y="20"/>
              </a:cxn>
              <a:cxn ang="0">
                <a:pos x="12" y="20"/>
              </a:cxn>
              <a:cxn ang="0">
                <a:pos x="3" y="17"/>
              </a:cxn>
              <a:cxn ang="0">
                <a:pos x="0" y="10"/>
              </a:cxn>
              <a:cxn ang="0">
                <a:pos x="0" y="9"/>
              </a:cxn>
              <a:cxn ang="0">
                <a:pos x="3" y="2"/>
              </a:cxn>
              <a:cxn ang="0">
                <a:pos x="12" y="0"/>
              </a:cxn>
              <a:cxn ang="0">
                <a:pos x="32" y="0"/>
              </a:cxn>
              <a:cxn ang="0">
                <a:pos x="41" y="4"/>
              </a:cxn>
              <a:cxn ang="0">
                <a:pos x="45" y="14"/>
              </a:cxn>
              <a:cxn ang="0">
                <a:pos x="45" y="131"/>
              </a:cxn>
              <a:cxn ang="0">
                <a:pos x="41" y="141"/>
              </a:cxn>
              <a:cxn ang="0">
                <a:pos x="32" y="145"/>
              </a:cxn>
              <a:cxn ang="0">
                <a:pos x="11" y="145"/>
              </a:cxn>
              <a:cxn ang="0">
                <a:pos x="2" y="143"/>
              </a:cxn>
            </a:cxnLst>
            <a:rect l="0" t="0" r="r" b="b"/>
            <a:pathLst>
              <a:path w="45" h="145">
                <a:moveTo>
                  <a:pt x="2" y="143"/>
                </a:moveTo>
                <a:cubicBezTo>
                  <a:pt x="1" y="141"/>
                  <a:pt x="0" y="139"/>
                  <a:pt x="0" y="135"/>
                </a:cubicBezTo>
                <a:cubicBezTo>
                  <a:pt x="0" y="134"/>
                  <a:pt x="0" y="134"/>
                  <a:pt x="0" y="134"/>
                </a:cubicBezTo>
                <a:cubicBezTo>
                  <a:pt x="0" y="131"/>
                  <a:pt x="1" y="129"/>
                  <a:pt x="2" y="127"/>
                </a:cubicBezTo>
                <a:cubicBezTo>
                  <a:pt x="4" y="126"/>
                  <a:pt x="7" y="125"/>
                  <a:pt x="11" y="125"/>
                </a:cubicBezTo>
                <a:cubicBezTo>
                  <a:pt x="23" y="125"/>
                  <a:pt x="23" y="125"/>
                  <a:pt x="23" y="125"/>
                </a:cubicBezTo>
                <a:cubicBezTo>
                  <a:pt x="23" y="20"/>
                  <a:pt x="23" y="20"/>
                  <a:pt x="23" y="20"/>
                </a:cubicBezTo>
                <a:cubicBezTo>
                  <a:pt x="12" y="20"/>
                  <a:pt x="12" y="20"/>
                  <a:pt x="12" y="20"/>
                </a:cubicBezTo>
                <a:cubicBezTo>
                  <a:pt x="8" y="20"/>
                  <a:pt x="5" y="19"/>
                  <a:pt x="3" y="17"/>
                </a:cubicBezTo>
                <a:cubicBezTo>
                  <a:pt x="1" y="16"/>
                  <a:pt x="0" y="14"/>
                  <a:pt x="0" y="10"/>
                </a:cubicBezTo>
                <a:cubicBezTo>
                  <a:pt x="0" y="9"/>
                  <a:pt x="0" y="9"/>
                  <a:pt x="0" y="9"/>
                </a:cubicBezTo>
                <a:cubicBezTo>
                  <a:pt x="0" y="6"/>
                  <a:pt x="1" y="4"/>
                  <a:pt x="3" y="2"/>
                </a:cubicBezTo>
                <a:cubicBezTo>
                  <a:pt x="5" y="1"/>
                  <a:pt x="8" y="0"/>
                  <a:pt x="12" y="0"/>
                </a:cubicBezTo>
                <a:cubicBezTo>
                  <a:pt x="32" y="0"/>
                  <a:pt x="32" y="0"/>
                  <a:pt x="32" y="0"/>
                </a:cubicBezTo>
                <a:cubicBezTo>
                  <a:pt x="36" y="0"/>
                  <a:pt x="39" y="1"/>
                  <a:pt x="41" y="4"/>
                </a:cubicBezTo>
                <a:cubicBezTo>
                  <a:pt x="44" y="6"/>
                  <a:pt x="45" y="9"/>
                  <a:pt x="45" y="14"/>
                </a:cubicBezTo>
                <a:cubicBezTo>
                  <a:pt x="45" y="131"/>
                  <a:pt x="45" y="131"/>
                  <a:pt x="45" y="131"/>
                </a:cubicBezTo>
                <a:cubicBezTo>
                  <a:pt x="45" y="135"/>
                  <a:pt x="44" y="139"/>
                  <a:pt x="41" y="141"/>
                </a:cubicBezTo>
                <a:cubicBezTo>
                  <a:pt x="39" y="144"/>
                  <a:pt x="36" y="145"/>
                  <a:pt x="32" y="145"/>
                </a:cubicBezTo>
                <a:cubicBezTo>
                  <a:pt x="11" y="145"/>
                  <a:pt x="11" y="145"/>
                  <a:pt x="11" y="145"/>
                </a:cubicBezTo>
                <a:cubicBezTo>
                  <a:pt x="7" y="145"/>
                  <a:pt x="4" y="144"/>
                  <a:pt x="2" y="143"/>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81" name="Freeform 157"/>
          <p:cNvSpPr>
            <a:spLocks/>
          </p:cNvSpPr>
          <p:nvPr userDrawn="1"/>
        </p:nvSpPr>
        <p:spPr bwMode="auto">
          <a:xfrm>
            <a:off x="8167433" y="4494610"/>
            <a:ext cx="26201" cy="109538"/>
          </a:xfrm>
          <a:custGeom>
            <a:avLst/>
            <a:gdLst/>
            <a:ahLst/>
            <a:cxnLst>
              <a:cxn ang="0">
                <a:pos x="25" y="8"/>
              </a:cxn>
              <a:cxn ang="0">
                <a:pos x="14" y="0"/>
              </a:cxn>
              <a:cxn ang="0">
                <a:pos x="0" y="14"/>
              </a:cxn>
              <a:cxn ang="0">
                <a:pos x="4" y="26"/>
              </a:cxn>
              <a:cxn ang="0">
                <a:pos x="9" y="63"/>
              </a:cxn>
              <a:cxn ang="0">
                <a:pos x="3" y="103"/>
              </a:cxn>
              <a:cxn ang="0">
                <a:pos x="0" y="114"/>
              </a:cxn>
              <a:cxn ang="0">
                <a:pos x="14" y="127"/>
              </a:cxn>
              <a:cxn ang="0">
                <a:pos x="22" y="123"/>
              </a:cxn>
              <a:cxn ang="0">
                <a:pos x="37" y="63"/>
              </a:cxn>
              <a:cxn ang="0">
                <a:pos x="25" y="8"/>
              </a:cxn>
            </a:cxnLst>
            <a:rect l="0" t="0" r="r" b="b"/>
            <a:pathLst>
              <a:path w="37" h="127">
                <a:moveTo>
                  <a:pt x="25" y="8"/>
                </a:moveTo>
                <a:cubicBezTo>
                  <a:pt x="22" y="2"/>
                  <a:pt x="18" y="0"/>
                  <a:pt x="14" y="0"/>
                </a:cubicBezTo>
                <a:cubicBezTo>
                  <a:pt x="6" y="0"/>
                  <a:pt x="0" y="6"/>
                  <a:pt x="0" y="14"/>
                </a:cubicBezTo>
                <a:cubicBezTo>
                  <a:pt x="0" y="16"/>
                  <a:pt x="4" y="26"/>
                  <a:pt x="4" y="26"/>
                </a:cubicBezTo>
                <a:cubicBezTo>
                  <a:pt x="7" y="37"/>
                  <a:pt x="9" y="50"/>
                  <a:pt x="9" y="63"/>
                </a:cubicBezTo>
                <a:cubicBezTo>
                  <a:pt x="9" y="76"/>
                  <a:pt x="7" y="90"/>
                  <a:pt x="3" y="103"/>
                </a:cubicBezTo>
                <a:cubicBezTo>
                  <a:pt x="2" y="104"/>
                  <a:pt x="0" y="111"/>
                  <a:pt x="0" y="114"/>
                </a:cubicBezTo>
                <a:cubicBezTo>
                  <a:pt x="0" y="121"/>
                  <a:pt x="6" y="127"/>
                  <a:pt x="14" y="127"/>
                </a:cubicBezTo>
                <a:cubicBezTo>
                  <a:pt x="17" y="127"/>
                  <a:pt x="20" y="125"/>
                  <a:pt x="22" y="123"/>
                </a:cubicBezTo>
                <a:cubicBezTo>
                  <a:pt x="33" y="112"/>
                  <a:pt x="37" y="73"/>
                  <a:pt x="37" y="63"/>
                </a:cubicBezTo>
                <a:cubicBezTo>
                  <a:pt x="37" y="48"/>
                  <a:pt x="33" y="21"/>
                  <a:pt x="25" y="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85" name="Freeform 161"/>
          <p:cNvSpPr>
            <a:spLocks/>
          </p:cNvSpPr>
          <p:nvPr userDrawn="1"/>
        </p:nvSpPr>
        <p:spPr bwMode="auto">
          <a:xfrm>
            <a:off x="8337738" y="4494610"/>
            <a:ext cx="30964" cy="109538"/>
          </a:xfrm>
          <a:custGeom>
            <a:avLst/>
            <a:gdLst/>
            <a:ahLst/>
            <a:cxnLst>
              <a:cxn ang="0">
                <a:pos x="27" y="63"/>
              </a:cxn>
              <a:cxn ang="0">
                <a:pos x="33" y="26"/>
              </a:cxn>
              <a:cxn ang="0">
                <a:pos x="37" y="14"/>
              </a:cxn>
              <a:cxn ang="0">
                <a:pos x="23" y="0"/>
              </a:cxn>
              <a:cxn ang="0">
                <a:pos x="11" y="8"/>
              </a:cxn>
              <a:cxn ang="0">
                <a:pos x="0" y="63"/>
              </a:cxn>
              <a:cxn ang="0">
                <a:pos x="15" y="123"/>
              </a:cxn>
              <a:cxn ang="0">
                <a:pos x="23" y="127"/>
              </a:cxn>
              <a:cxn ang="0">
                <a:pos x="37" y="114"/>
              </a:cxn>
              <a:cxn ang="0">
                <a:pos x="34" y="103"/>
              </a:cxn>
              <a:cxn ang="0">
                <a:pos x="27" y="63"/>
              </a:cxn>
            </a:cxnLst>
            <a:rect l="0" t="0" r="r" b="b"/>
            <a:pathLst>
              <a:path w="37" h="127">
                <a:moveTo>
                  <a:pt x="27" y="63"/>
                </a:moveTo>
                <a:cubicBezTo>
                  <a:pt x="27" y="50"/>
                  <a:pt x="29" y="37"/>
                  <a:pt x="33" y="26"/>
                </a:cubicBezTo>
                <a:cubicBezTo>
                  <a:pt x="34" y="23"/>
                  <a:pt x="37" y="16"/>
                  <a:pt x="37" y="14"/>
                </a:cubicBezTo>
                <a:cubicBezTo>
                  <a:pt x="37" y="6"/>
                  <a:pt x="31" y="0"/>
                  <a:pt x="23" y="0"/>
                </a:cubicBezTo>
                <a:cubicBezTo>
                  <a:pt x="18" y="0"/>
                  <a:pt x="14" y="3"/>
                  <a:pt x="11" y="8"/>
                </a:cubicBezTo>
                <a:cubicBezTo>
                  <a:pt x="4" y="21"/>
                  <a:pt x="0" y="48"/>
                  <a:pt x="0" y="63"/>
                </a:cubicBezTo>
                <a:cubicBezTo>
                  <a:pt x="0" y="73"/>
                  <a:pt x="4" y="112"/>
                  <a:pt x="15" y="123"/>
                </a:cubicBezTo>
                <a:cubicBezTo>
                  <a:pt x="17" y="125"/>
                  <a:pt x="20" y="127"/>
                  <a:pt x="23" y="127"/>
                </a:cubicBezTo>
                <a:cubicBezTo>
                  <a:pt x="31" y="127"/>
                  <a:pt x="37" y="121"/>
                  <a:pt x="37" y="114"/>
                </a:cubicBezTo>
                <a:cubicBezTo>
                  <a:pt x="37" y="111"/>
                  <a:pt x="34" y="104"/>
                  <a:pt x="34" y="103"/>
                </a:cubicBezTo>
                <a:cubicBezTo>
                  <a:pt x="29" y="90"/>
                  <a:pt x="27" y="76"/>
                  <a:pt x="27" y="63"/>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89" name="Freeform 165"/>
          <p:cNvSpPr>
            <a:spLocks noEditPoints="1"/>
          </p:cNvSpPr>
          <p:nvPr userDrawn="1"/>
        </p:nvSpPr>
        <p:spPr bwMode="auto">
          <a:xfrm>
            <a:off x="8502086" y="4500563"/>
            <a:ext cx="26201" cy="95250"/>
          </a:xfrm>
          <a:custGeom>
            <a:avLst/>
            <a:gdLst/>
            <a:ahLst/>
            <a:cxnLst>
              <a:cxn ang="0">
                <a:pos x="10" y="76"/>
              </a:cxn>
              <a:cxn ang="0">
                <a:pos x="8" y="70"/>
              </a:cxn>
              <a:cxn ang="0">
                <a:pos x="1" y="15"/>
              </a:cxn>
              <a:cxn ang="0">
                <a:pos x="3" y="4"/>
              </a:cxn>
              <a:cxn ang="0">
                <a:pos x="13" y="0"/>
              </a:cxn>
              <a:cxn ang="0">
                <a:pos x="17" y="0"/>
              </a:cxn>
              <a:cxn ang="0">
                <a:pos x="27" y="4"/>
              </a:cxn>
              <a:cxn ang="0">
                <a:pos x="29" y="15"/>
              </a:cxn>
              <a:cxn ang="0">
                <a:pos x="23" y="70"/>
              </a:cxn>
              <a:cxn ang="0">
                <a:pos x="21" y="76"/>
              </a:cxn>
              <a:cxn ang="0">
                <a:pos x="16" y="77"/>
              </a:cxn>
              <a:cxn ang="0">
                <a:pos x="14" y="77"/>
              </a:cxn>
              <a:cxn ang="0">
                <a:pos x="10" y="76"/>
              </a:cxn>
              <a:cxn ang="0">
                <a:pos x="2" y="101"/>
              </a:cxn>
              <a:cxn ang="0">
                <a:pos x="2" y="99"/>
              </a:cxn>
              <a:cxn ang="0">
                <a:pos x="14" y="88"/>
              </a:cxn>
              <a:cxn ang="0">
                <a:pos x="17" y="88"/>
              </a:cxn>
              <a:cxn ang="0">
                <a:pos x="28" y="99"/>
              </a:cxn>
              <a:cxn ang="0">
                <a:pos x="28" y="101"/>
              </a:cxn>
              <a:cxn ang="0">
                <a:pos x="17" y="113"/>
              </a:cxn>
              <a:cxn ang="0">
                <a:pos x="14" y="113"/>
              </a:cxn>
              <a:cxn ang="0">
                <a:pos x="2" y="101"/>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193" name="Freeform 169"/>
          <p:cNvSpPr>
            <a:spLocks/>
          </p:cNvSpPr>
          <p:nvPr userDrawn="1"/>
        </p:nvSpPr>
        <p:spPr bwMode="auto">
          <a:xfrm>
            <a:off x="8659290" y="4523185"/>
            <a:ext cx="55974" cy="51197"/>
          </a:xfrm>
          <a:custGeom>
            <a:avLst/>
            <a:gdLst/>
            <a:ahLst/>
            <a:cxnLst>
              <a:cxn ang="0">
                <a:pos x="26" y="6"/>
              </a:cxn>
              <a:cxn ang="0">
                <a:pos x="28" y="1"/>
              </a:cxn>
              <a:cxn ang="0">
                <a:pos x="32" y="0"/>
              </a:cxn>
              <a:cxn ang="0">
                <a:pos x="33" y="0"/>
              </a:cxn>
              <a:cxn ang="0">
                <a:pos x="37" y="1"/>
              </a:cxn>
              <a:cxn ang="0">
                <a:pos x="39" y="6"/>
              </a:cxn>
              <a:cxn ang="0">
                <a:pos x="41" y="20"/>
              </a:cxn>
              <a:cxn ang="0">
                <a:pos x="55" y="17"/>
              </a:cxn>
              <a:cxn ang="0">
                <a:pos x="61" y="18"/>
              </a:cxn>
              <a:cxn ang="0">
                <a:pos x="64" y="22"/>
              </a:cxn>
              <a:cxn ang="0">
                <a:pos x="64" y="22"/>
              </a:cxn>
              <a:cxn ang="0">
                <a:pos x="64" y="27"/>
              </a:cxn>
              <a:cxn ang="0">
                <a:pos x="60" y="31"/>
              </a:cxn>
              <a:cxn ang="0">
                <a:pos x="46" y="37"/>
              </a:cxn>
              <a:cxn ang="0">
                <a:pos x="54" y="50"/>
              </a:cxn>
              <a:cxn ang="0">
                <a:pos x="55" y="56"/>
              </a:cxn>
              <a:cxn ang="0">
                <a:pos x="52" y="59"/>
              </a:cxn>
              <a:cxn ang="0">
                <a:pos x="52" y="60"/>
              </a:cxn>
              <a:cxn ang="0">
                <a:pos x="48" y="61"/>
              </a:cxn>
              <a:cxn ang="0">
                <a:pos x="43" y="58"/>
              </a:cxn>
              <a:cxn ang="0">
                <a:pos x="32" y="47"/>
              </a:cxn>
              <a:cxn ang="0">
                <a:pos x="22" y="58"/>
              </a:cxn>
              <a:cxn ang="0">
                <a:pos x="17" y="61"/>
              </a:cxn>
              <a:cxn ang="0">
                <a:pos x="13" y="60"/>
              </a:cxn>
              <a:cxn ang="0">
                <a:pos x="12" y="59"/>
              </a:cxn>
              <a:cxn ang="0">
                <a:pos x="9" y="56"/>
              </a:cxn>
              <a:cxn ang="0">
                <a:pos x="11" y="50"/>
              </a:cxn>
              <a:cxn ang="0">
                <a:pos x="18" y="37"/>
              </a:cxn>
              <a:cxn ang="0">
                <a:pos x="5" y="31"/>
              </a:cxn>
              <a:cxn ang="0">
                <a:pos x="1" y="27"/>
              </a:cxn>
              <a:cxn ang="0">
                <a:pos x="1" y="22"/>
              </a:cxn>
              <a:cxn ang="0">
                <a:pos x="1" y="22"/>
              </a:cxn>
              <a:cxn ang="0">
                <a:pos x="3" y="18"/>
              </a:cxn>
              <a:cxn ang="0">
                <a:pos x="9" y="17"/>
              </a:cxn>
              <a:cxn ang="0">
                <a:pos x="24" y="20"/>
              </a:cxn>
              <a:cxn ang="0">
                <a:pos x="26" y="6"/>
              </a:cxn>
            </a:cxnLst>
            <a:rect l="0" t="0" r="r" b="b"/>
            <a:pathLst>
              <a:path w="65" h="61">
                <a:moveTo>
                  <a:pt x="26" y="6"/>
                </a:moveTo>
                <a:cubicBezTo>
                  <a:pt x="26" y="3"/>
                  <a:pt x="27" y="2"/>
                  <a:pt x="28" y="1"/>
                </a:cubicBezTo>
                <a:cubicBezTo>
                  <a:pt x="29" y="0"/>
                  <a:pt x="30" y="0"/>
                  <a:pt x="32" y="0"/>
                </a:cubicBezTo>
                <a:cubicBezTo>
                  <a:pt x="33" y="0"/>
                  <a:pt x="33" y="0"/>
                  <a:pt x="33" y="0"/>
                </a:cubicBezTo>
                <a:cubicBezTo>
                  <a:pt x="35" y="0"/>
                  <a:pt x="36" y="0"/>
                  <a:pt x="37" y="1"/>
                </a:cubicBezTo>
                <a:cubicBezTo>
                  <a:pt x="38" y="2"/>
                  <a:pt x="39" y="3"/>
                  <a:pt x="39" y="6"/>
                </a:cubicBezTo>
                <a:cubicBezTo>
                  <a:pt x="41" y="20"/>
                  <a:pt x="41" y="20"/>
                  <a:pt x="41" y="20"/>
                </a:cubicBezTo>
                <a:cubicBezTo>
                  <a:pt x="55" y="17"/>
                  <a:pt x="55" y="17"/>
                  <a:pt x="55" y="17"/>
                </a:cubicBezTo>
                <a:cubicBezTo>
                  <a:pt x="58" y="17"/>
                  <a:pt x="60" y="17"/>
                  <a:pt x="61" y="18"/>
                </a:cubicBezTo>
                <a:cubicBezTo>
                  <a:pt x="62" y="19"/>
                  <a:pt x="63" y="20"/>
                  <a:pt x="64" y="22"/>
                </a:cubicBezTo>
                <a:cubicBezTo>
                  <a:pt x="64" y="22"/>
                  <a:pt x="64" y="22"/>
                  <a:pt x="64" y="22"/>
                </a:cubicBezTo>
                <a:cubicBezTo>
                  <a:pt x="65" y="24"/>
                  <a:pt x="65" y="26"/>
                  <a:pt x="64" y="27"/>
                </a:cubicBezTo>
                <a:cubicBezTo>
                  <a:pt x="64" y="28"/>
                  <a:pt x="62" y="29"/>
                  <a:pt x="60" y="31"/>
                </a:cubicBezTo>
                <a:cubicBezTo>
                  <a:pt x="46" y="37"/>
                  <a:pt x="46" y="37"/>
                  <a:pt x="46" y="37"/>
                </a:cubicBezTo>
                <a:cubicBezTo>
                  <a:pt x="54" y="50"/>
                  <a:pt x="54" y="50"/>
                  <a:pt x="54" y="50"/>
                </a:cubicBezTo>
                <a:cubicBezTo>
                  <a:pt x="55" y="52"/>
                  <a:pt x="56" y="54"/>
                  <a:pt x="55" y="56"/>
                </a:cubicBezTo>
                <a:cubicBezTo>
                  <a:pt x="55" y="57"/>
                  <a:pt x="54" y="58"/>
                  <a:pt x="52" y="59"/>
                </a:cubicBezTo>
                <a:cubicBezTo>
                  <a:pt x="52" y="60"/>
                  <a:pt x="52" y="60"/>
                  <a:pt x="52" y="60"/>
                </a:cubicBezTo>
                <a:cubicBezTo>
                  <a:pt x="51" y="60"/>
                  <a:pt x="49" y="61"/>
                  <a:pt x="48" y="61"/>
                </a:cubicBezTo>
                <a:cubicBezTo>
                  <a:pt x="46" y="61"/>
                  <a:pt x="45" y="60"/>
                  <a:pt x="43" y="58"/>
                </a:cubicBezTo>
                <a:cubicBezTo>
                  <a:pt x="32" y="47"/>
                  <a:pt x="32" y="47"/>
                  <a:pt x="32" y="47"/>
                </a:cubicBezTo>
                <a:cubicBezTo>
                  <a:pt x="22" y="58"/>
                  <a:pt x="22" y="58"/>
                  <a:pt x="22" y="58"/>
                </a:cubicBezTo>
                <a:cubicBezTo>
                  <a:pt x="20" y="60"/>
                  <a:pt x="18" y="61"/>
                  <a:pt x="17" y="61"/>
                </a:cubicBezTo>
                <a:cubicBezTo>
                  <a:pt x="16" y="61"/>
                  <a:pt x="14" y="60"/>
                  <a:pt x="13" y="60"/>
                </a:cubicBezTo>
                <a:cubicBezTo>
                  <a:pt x="12" y="59"/>
                  <a:pt x="12" y="59"/>
                  <a:pt x="12" y="59"/>
                </a:cubicBezTo>
                <a:cubicBezTo>
                  <a:pt x="11" y="58"/>
                  <a:pt x="10" y="57"/>
                  <a:pt x="9" y="56"/>
                </a:cubicBezTo>
                <a:cubicBezTo>
                  <a:pt x="9" y="54"/>
                  <a:pt x="9" y="52"/>
                  <a:pt x="11" y="50"/>
                </a:cubicBezTo>
                <a:cubicBezTo>
                  <a:pt x="18" y="37"/>
                  <a:pt x="18" y="37"/>
                  <a:pt x="18" y="37"/>
                </a:cubicBezTo>
                <a:cubicBezTo>
                  <a:pt x="5" y="31"/>
                  <a:pt x="5" y="31"/>
                  <a:pt x="5" y="31"/>
                </a:cubicBezTo>
                <a:cubicBezTo>
                  <a:pt x="2" y="29"/>
                  <a:pt x="1" y="28"/>
                  <a:pt x="1" y="27"/>
                </a:cubicBezTo>
                <a:cubicBezTo>
                  <a:pt x="0" y="26"/>
                  <a:pt x="0" y="24"/>
                  <a:pt x="1" y="22"/>
                </a:cubicBezTo>
                <a:cubicBezTo>
                  <a:pt x="1" y="22"/>
                  <a:pt x="1" y="22"/>
                  <a:pt x="1" y="22"/>
                </a:cubicBezTo>
                <a:cubicBezTo>
                  <a:pt x="1" y="20"/>
                  <a:pt x="2" y="18"/>
                  <a:pt x="3" y="18"/>
                </a:cubicBezTo>
                <a:cubicBezTo>
                  <a:pt x="5" y="17"/>
                  <a:pt x="6" y="17"/>
                  <a:pt x="9" y="17"/>
                </a:cubicBezTo>
                <a:cubicBezTo>
                  <a:pt x="24" y="20"/>
                  <a:pt x="24" y="20"/>
                  <a:pt x="24" y="20"/>
                </a:cubicBezTo>
                <a:lnTo>
                  <a:pt x="26" y="6"/>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05" name="Freeform 6"/>
          <p:cNvSpPr>
            <a:spLocks/>
          </p:cNvSpPr>
          <p:nvPr userDrawn="1"/>
        </p:nvSpPr>
        <p:spPr bwMode="auto">
          <a:xfrm>
            <a:off x="1371399" y="3803009"/>
            <a:ext cx="382086" cy="416087"/>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210" name="Freeform 6"/>
          <p:cNvSpPr>
            <a:spLocks/>
          </p:cNvSpPr>
          <p:nvPr userDrawn="1"/>
        </p:nvSpPr>
        <p:spPr bwMode="auto">
          <a:xfrm>
            <a:off x="5202765" y="2788784"/>
            <a:ext cx="408453" cy="2652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solidFill>
                <a:srgbClr val="009530"/>
              </a:solidFill>
            </a:endParaRPr>
          </a:p>
        </p:txBody>
      </p:sp>
      <p:sp>
        <p:nvSpPr>
          <p:cNvPr id="197" name="Freeform 9"/>
          <p:cNvSpPr>
            <a:spLocks/>
          </p:cNvSpPr>
          <p:nvPr userDrawn="1"/>
        </p:nvSpPr>
        <p:spPr bwMode="auto">
          <a:xfrm>
            <a:off x="335845" y="4393429"/>
            <a:ext cx="52312" cy="248567"/>
          </a:xfrm>
          <a:custGeom>
            <a:avLst/>
            <a:gdLst/>
            <a:ahLst/>
            <a:cxnLst>
              <a:cxn ang="0">
                <a:pos x="59" y="400"/>
              </a:cxn>
              <a:cxn ang="0">
                <a:pos x="50" y="380"/>
              </a:cxn>
              <a:cxn ang="0">
                <a:pos x="50" y="247"/>
              </a:cxn>
              <a:cxn ang="0">
                <a:pos x="34" y="213"/>
              </a:cxn>
              <a:cxn ang="0">
                <a:pos x="50" y="180"/>
              </a:cxn>
              <a:cxn ang="0">
                <a:pos x="50" y="46"/>
              </a:cxn>
              <a:cxn ang="0">
                <a:pos x="59" y="26"/>
              </a:cxn>
              <a:cxn ang="0">
                <a:pos x="72" y="13"/>
              </a:cxn>
              <a:cxn ang="0">
                <a:pos x="59" y="0"/>
              </a:cxn>
              <a:cxn ang="0">
                <a:pos x="23" y="46"/>
              </a:cxn>
              <a:cxn ang="0">
                <a:pos x="23" y="180"/>
              </a:cxn>
              <a:cxn ang="0">
                <a:pos x="6" y="202"/>
              </a:cxn>
              <a:cxn ang="0">
                <a:pos x="0" y="213"/>
              </a:cxn>
              <a:cxn ang="0">
                <a:pos x="6" y="224"/>
              </a:cxn>
              <a:cxn ang="0">
                <a:pos x="23" y="247"/>
              </a:cxn>
              <a:cxn ang="0">
                <a:pos x="23" y="380"/>
              </a:cxn>
              <a:cxn ang="0">
                <a:pos x="59" y="427"/>
              </a:cxn>
              <a:cxn ang="0">
                <a:pos x="72" y="414"/>
              </a:cxn>
              <a:cxn ang="0">
                <a:pos x="59" y="400"/>
              </a:cxn>
            </a:cxnLst>
            <a:rect l="0" t="0" r="r" b="b"/>
            <a:pathLst>
              <a:path w="72" h="427">
                <a:moveTo>
                  <a:pt x="59" y="400"/>
                </a:moveTo>
                <a:cubicBezTo>
                  <a:pt x="56" y="400"/>
                  <a:pt x="50" y="393"/>
                  <a:pt x="50" y="380"/>
                </a:cubicBezTo>
                <a:cubicBezTo>
                  <a:pt x="50" y="247"/>
                  <a:pt x="50" y="247"/>
                  <a:pt x="50" y="247"/>
                </a:cubicBezTo>
                <a:cubicBezTo>
                  <a:pt x="50" y="233"/>
                  <a:pt x="42" y="221"/>
                  <a:pt x="34" y="213"/>
                </a:cubicBezTo>
                <a:cubicBezTo>
                  <a:pt x="42" y="205"/>
                  <a:pt x="50" y="194"/>
                  <a:pt x="50" y="180"/>
                </a:cubicBezTo>
                <a:cubicBezTo>
                  <a:pt x="50" y="46"/>
                  <a:pt x="50" y="46"/>
                  <a:pt x="50" y="46"/>
                </a:cubicBezTo>
                <a:cubicBezTo>
                  <a:pt x="50" y="34"/>
                  <a:pt x="56" y="26"/>
                  <a:pt x="59" y="26"/>
                </a:cubicBezTo>
                <a:cubicBezTo>
                  <a:pt x="66" y="26"/>
                  <a:pt x="72" y="20"/>
                  <a:pt x="72" y="13"/>
                </a:cubicBezTo>
                <a:cubicBezTo>
                  <a:pt x="72" y="6"/>
                  <a:pt x="66" y="0"/>
                  <a:pt x="59" y="0"/>
                </a:cubicBezTo>
                <a:cubicBezTo>
                  <a:pt x="39" y="0"/>
                  <a:pt x="23" y="20"/>
                  <a:pt x="23" y="46"/>
                </a:cubicBezTo>
                <a:cubicBezTo>
                  <a:pt x="23" y="180"/>
                  <a:pt x="23" y="180"/>
                  <a:pt x="23" y="180"/>
                </a:cubicBezTo>
                <a:cubicBezTo>
                  <a:pt x="23" y="188"/>
                  <a:pt x="12" y="199"/>
                  <a:pt x="6" y="202"/>
                </a:cubicBezTo>
                <a:cubicBezTo>
                  <a:pt x="3" y="205"/>
                  <a:pt x="0" y="209"/>
                  <a:pt x="0" y="213"/>
                </a:cubicBezTo>
                <a:cubicBezTo>
                  <a:pt x="0" y="218"/>
                  <a:pt x="3" y="222"/>
                  <a:pt x="6" y="224"/>
                </a:cubicBezTo>
                <a:cubicBezTo>
                  <a:pt x="12" y="228"/>
                  <a:pt x="23" y="238"/>
                  <a:pt x="23" y="247"/>
                </a:cubicBezTo>
                <a:cubicBezTo>
                  <a:pt x="23" y="380"/>
                  <a:pt x="23" y="380"/>
                  <a:pt x="23" y="380"/>
                </a:cubicBezTo>
                <a:cubicBezTo>
                  <a:pt x="23" y="407"/>
                  <a:pt x="39" y="427"/>
                  <a:pt x="59" y="427"/>
                </a:cubicBezTo>
                <a:cubicBezTo>
                  <a:pt x="66" y="427"/>
                  <a:pt x="72" y="421"/>
                  <a:pt x="72" y="414"/>
                </a:cubicBezTo>
                <a:cubicBezTo>
                  <a:pt x="72" y="406"/>
                  <a:pt x="66" y="400"/>
                  <a:pt x="59" y="40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98" name="Freeform 13"/>
          <p:cNvSpPr>
            <a:spLocks/>
          </p:cNvSpPr>
          <p:nvPr userDrawn="1"/>
        </p:nvSpPr>
        <p:spPr bwMode="auto">
          <a:xfrm>
            <a:off x="458930" y="4393429"/>
            <a:ext cx="54363" cy="248567"/>
          </a:xfrm>
          <a:custGeom>
            <a:avLst/>
            <a:gdLst/>
            <a:ahLst/>
            <a:cxnLst>
              <a:cxn ang="0">
                <a:pos x="72" y="214"/>
              </a:cxn>
              <a:cxn ang="0">
                <a:pos x="66" y="202"/>
              </a:cxn>
              <a:cxn ang="0">
                <a:pos x="50" y="180"/>
              </a:cxn>
              <a:cxn ang="0">
                <a:pos x="50" y="46"/>
              </a:cxn>
              <a:cxn ang="0">
                <a:pos x="14" y="0"/>
              </a:cxn>
              <a:cxn ang="0">
                <a:pos x="0" y="13"/>
              </a:cxn>
              <a:cxn ang="0">
                <a:pos x="14" y="26"/>
              </a:cxn>
              <a:cxn ang="0">
                <a:pos x="23" y="46"/>
              </a:cxn>
              <a:cxn ang="0">
                <a:pos x="23" y="180"/>
              </a:cxn>
              <a:cxn ang="0">
                <a:pos x="39" y="213"/>
              </a:cxn>
              <a:cxn ang="0">
                <a:pos x="23" y="247"/>
              </a:cxn>
              <a:cxn ang="0">
                <a:pos x="23" y="380"/>
              </a:cxn>
              <a:cxn ang="0">
                <a:pos x="14" y="400"/>
              </a:cxn>
              <a:cxn ang="0">
                <a:pos x="0" y="414"/>
              </a:cxn>
              <a:cxn ang="0">
                <a:pos x="14" y="427"/>
              </a:cxn>
              <a:cxn ang="0">
                <a:pos x="50" y="380"/>
              </a:cxn>
              <a:cxn ang="0">
                <a:pos x="50" y="247"/>
              </a:cxn>
              <a:cxn ang="0">
                <a:pos x="66" y="224"/>
              </a:cxn>
              <a:cxn ang="0">
                <a:pos x="65" y="225"/>
              </a:cxn>
              <a:cxn ang="0">
                <a:pos x="72" y="214"/>
              </a:cxn>
            </a:cxnLst>
            <a:rect l="0" t="0" r="r" b="b"/>
            <a:pathLst>
              <a:path w="73" h="427">
                <a:moveTo>
                  <a:pt x="72" y="214"/>
                </a:moveTo>
                <a:cubicBezTo>
                  <a:pt x="73" y="209"/>
                  <a:pt x="70" y="205"/>
                  <a:pt x="66" y="202"/>
                </a:cubicBezTo>
                <a:cubicBezTo>
                  <a:pt x="61" y="199"/>
                  <a:pt x="50" y="188"/>
                  <a:pt x="50" y="180"/>
                </a:cubicBezTo>
                <a:cubicBezTo>
                  <a:pt x="50" y="46"/>
                  <a:pt x="50" y="46"/>
                  <a:pt x="50" y="46"/>
                </a:cubicBezTo>
                <a:cubicBezTo>
                  <a:pt x="50" y="20"/>
                  <a:pt x="34" y="0"/>
                  <a:pt x="14" y="0"/>
                </a:cubicBezTo>
                <a:cubicBezTo>
                  <a:pt x="6" y="0"/>
                  <a:pt x="0" y="6"/>
                  <a:pt x="0" y="13"/>
                </a:cubicBezTo>
                <a:cubicBezTo>
                  <a:pt x="0" y="20"/>
                  <a:pt x="6" y="26"/>
                  <a:pt x="14" y="26"/>
                </a:cubicBezTo>
                <a:cubicBezTo>
                  <a:pt x="17" y="26"/>
                  <a:pt x="23" y="34"/>
                  <a:pt x="23" y="46"/>
                </a:cubicBezTo>
                <a:cubicBezTo>
                  <a:pt x="23" y="180"/>
                  <a:pt x="23" y="180"/>
                  <a:pt x="23" y="180"/>
                </a:cubicBezTo>
                <a:cubicBezTo>
                  <a:pt x="23" y="194"/>
                  <a:pt x="31" y="205"/>
                  <a:pt x="39" y="213"/>
                </a:cubicBezTo>
                <a:cubicBezTo>
                  <a:pt x="31" y="221"/>
                  <a:pt x="23" y="233"/>
                  <a:pt x="23" y="247"/>
                </a:cubicBezTo>
                <a:cubicBezTo>
                  <a:pt x="23" y="380"/>
                  <a:pt x="23" y="380"/>
                  <a:pt x="23" y="380"/>
                </a:cubicBezTo>
                <a:cubicBezTo>
                  <a:pt x="23" y="393"/>
                  <a:pt x="17" y="400"/>
                  <a:pt x="14" y="400"/>
                </a:cubicBezTo>
                <a:cubicBezTo>
                  <a:pt x="6" y="400"/>
                  <a:pt x="0" y="406"/>
                  <a:pt x="0" y="414"/>
                </a:cubicBezTo>
                <a:cubicBezTo>
                  <a:pt x="0" y="421"/>
                  <a:pt x="6" y="427"/>
                  <a:pt x="14" y="427"/>
                </a:cubicBezTo>
                <a:cubicBezTo>
                  <a:pt x="34" y="427"/>
                  <a:pt x="50" y="407"/>
                  <a:pt x="50" y="380"/>
                </a:cubicBezTo>
                <a:cubicBezTo>
                  <a:pt x="50" y="247"/>
                  <a:pt x="50" y="247"/>
                  <a:pt x="50" y="247"/>
                </a:cubicBezTo>
                <a:cubicBezTo>
                  <a:pt x="50" y="238"/>
                  <a:pt x="61" y="228"/>
                  <a:pt x="66" y="224"/>
                </a:cubicBezTo>
                <a:cubicBezTo>
                  <a:pt x="66" y="225"/>
                  <a:pt x="65" y="225"/>
                  <a:pt x="65" y="225"/>
                </a:cubicBezTo>
                <a:cubicBezTo>
                  <a:pt x="69" y="223"/>
                  <a:pt x="72" y="219"/>
                  <a:pt x="72" y="21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endParaRPr lang="en-US" dirty="0"/>
          </a:p>
        </p:txBody>
      </p:sp>
      <p:sp>
        <p:nvSpPr>
          <p:cNvPr id="199" name="TextBox 198"/>
          <p:cNvSpPr txBox="1"/>
          <p:nvPr userDrawn="1"/>
        </p:nvSpPr>
        <p:spPr>
          <a:xfrm>
            <a:off x="456129" y="4759465"/>
            <a:ext cx="2130481" cy="92333"/>
          </a:xfrm>
          <a:prstGeom prst="rect">
            <a:avLst/>
          </a:prstGeom>
          <a:noFill/>
        </p:spPr>
        <p:txBody>
          <a:bodyPr wrap="square" lIns="0" tIns="0" rIns="0" bIns="0" rtlCol="0" anchor="b" anchorCtr="0">
            <a:spAutoFit/>
          </a:bodyPr>
          <a:lstStyle/>
          <a:p>
            <a:r>
              <a:rPr lang="en-US" sz="600" dirty="0">
                <a:solidFill>
                  <a:schemeClr val="bg1"/>
                </a:solidFill>
                <a:latin typeface="Arial" pitchFamily="34" charset="0"/>
                <a:cs typeface="Arial" pitchFamily="34" charset="0"/>
              </a:rPr>
              <a:t>Confidential Property of Schneider Electric</a:t>
            </a:r>
          </a:p>
        </p:txBody>
      </p:sp>
      <p:sp>
        <p:nvSpPr>
          <p:cNvPr id="200" name="Slide Number Placeholder 3"/>
          <p:cNvSpPr txBox="1">
            <a:spLocks/>
          </p:cNvSpPr>
          <p:nvPr userDrawn="1"/>
        </p:nvSpPr>
        <p:spPr>
          <a:xfrm>
            <a:off x="8388947" y="4708922"/>
            <a:ext cx="297734" cy="142875"/>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28476316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pic>
        <p:nvPicPr>
          <p:cNvPr id="13" name="Picture 12"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73713380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43226CD-576F-7340-A4E6-58FCB1D087E7}"/>
              </a:ext>
            </a:extLst>
          </p:cNvPr>
          <p:cNvSpPr/>
          <p:nvPr userDrawn="1"/>
        </p:nvSpPr>
        <p:spPr>
          <a:xfrm>
            <a:off x="-8626" y="4745"/>
            <a:ext cx="9144000" cy="857250"/>
          </a:xfrm>
          <a:prstGeom prst="rect">
            <a:avLst/>
          </a:prstGeom>
          <a:solidFill>
            <a:srgbClr val="333E4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8"/>
          </a:p>
        </p:txBody>
      </p:sp>
      <p:sp>
        <p:nvSpPr>
          <p:cNvPr id="9" name="Title 1">
            <a:extLst>
              <a:ext uri="{FF2B5EF4-FFF2-40B4-BE49-F238E27FC236}">
                <a16:creationId xmlns:a16="http://schemas.microsoft.com/office/drawing/2014/main" id="{66FA1621-6C33-EF45-A5E0-F408D5D3ED60}"/>
              </a:ext>
            </a:extLst>
          </p:cNvPr>
          <p:cNvSpPr>
            <a:spLocks noGrp="1"/>
          </p:cNvSpPr>
          <p:nvPr>
            <p:ph type="title"/>
          </p:nvPr>
        </p:nvSpPr>
        <p:spPr>
          <a:xfrm>
            <a:off x="0" y="0"/>
            <a:ext cx="9144000" cy="369332"/>
          </a:xfrm>
          <a:prstGeom prst="rect">
            <a:avLst/>
          </a:prstGeom>
          <a:noFill/>
        </p:spPr>
        <p:txBody>
          <a:bodyPr/>
          <a:lstStyle>
            <a:lvl1pPr>
              <a:defRPr>
                <a:solidFill>
                  <a:schemeClr val="bg1"/>
                </a:solidFill>
              </a:defRPr>
            </a:lvl1pPr>
          </a:lstStyle>
          <a:p>
            <a:r>
              <a:rPr lang="en-GB"/>
              <a:t>Click to edit Master title style</a:t>
            </a:r>
            <a:endParaRPr lang="en-US" dirty="0"/>
          </a:p>
        </p:txBody>
      </p:sp>
      <p:sp>
        <p:nvSpPr>
          <p:cNvPr id="3" name="Content Placeholder 2"/>
          <p:cNvSpPr>
            <a:spLocks noGrp="1"/>
          </p:cNvSpPr>
          <p:nvPr>
            <p:ph idx="1"/>
          </p:nvPr>
        </p:nvSpPr>
        <p:spPr>
          <a:xfrm>
            <a:off x="457200" y="1200150"/>
            <a:ext cx="8229600" cy="2173224"/>
          </a:xfrm>
          <a:prstGeom prst="rect">
            <a:avLst/>
          </a:prstGeom>
        </p:spPr>
        <p:txBody>
          <a:bodyPr/>
          <a:lstStyle>
            <a:lvl1pPr>
              <a:buClr>
                <a:srgbClr val="FF0000"/>
              </a:buClr>
              <a:defRPr sz="2797"/>
            </a:lvl1pPr>
            <a:lvl2pPr>
              <a:buClr>
                <a:srgbClr val="6BBBE8"/>
              </a:buClr>
              <a:defRPr sz="2398"/>
            </a:lvl2pPr>
            <a:lvl3pPr>
              <a:buClr>
                <a:srgbClr val="FF0000"/>
              </a:buClr>
              <a:defRPr sz="1998"/>
            </a:lvl3pPr>
            <a:lvl4pPr>
              <a:buClr>
                <a:srgbClr val="6BBBE8"/>
              </a:buClr>
              <a:defRPr sz="1798"/>
            </a:lvl4pPr>
            <a:lvl5pPr>
              <a:defRPr sz="1798"/>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Footer Placeholder 4"/>
          <p:cNvSpPr>
            <a:spLocks noGrp="1"/>
          </p:cNvSpPr>
          <p:nvPr>
            <p:ph type="ftr" sz="quarter" idx="11"/>
          </p:nvPr>
        </p:nvSpPr>
        <p:spPr/>
        <p:txBody>
          <a:bodyPr/>
          <a:lstStyle/>
          <a:p>
            <a:r>
              <a:rPr lang="en-US" dirty="0"/>
              <a:t>Commercial in Confidence</a:t>
            </a:r>
          </a:p>
        </p:txBody>
      </p:sp>
      <p:sp>
        <p:nvSpPr>
          <p:cNvPr id="6" name="Slide Number Placeholder 5"/>
          <p:cNvSpPr>
            <a:spLocks noGrp="1"/>
          </p:cNvSpPr>
          <p:nvPr>
            <p:ph type="sldNum" sz="quarter" idx="12"/>
          </p:nvPr>
        </p:nvSpPr>
        <p:spPr/>
        <p:txBody>
          <a:bodyPr/>
          <a:lstStyle>
            <a:lvl1pPr>
              <a:defRPr/>
            </a:lvl1pPr>
          </a:lstStyle>
          <a:p>
            <a:fld id="{BF60D41C-2B59-204D-AE67-06E845EF081A}" type="slidenum">
              <a:rPr lang="en-US" smtClean="0"/>
              <a:pPr/>
              <a:t>‹#›</a:t>
            </a:fld>
            <a:endParaRPr lang="en-US" dirty="0"/>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457201" y="4767264"/>
            <a:ext cx="1187245" cy="293675"/>
          </a:xfrm>
          <a:prstGeom prst="rect">
            <a:avLst/>
          </a:prstGeom>
        </p:spPr>
      </p:pic>
      <p:cxnSp>
        <p:nvCxnSpPr>
          <p:cNvPr id="12" name="Straight Connector 11"/>
          <p:cNvCxnSpPr/>
          <p:nvPr userDrawn="1"/>
        </p:nvCxnSpPr>
        <p:spPr>
          <a:xfrm>
            <a:off x="457200" y="4691519"/>
            <a:ext cx="8229600" cy="0"/>
          </a:xfrm>
          <a:prstGeom prst="line">
            <a:avLst/>
          </a:prstGeom>
          <a:ln>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22699CE2-B4D8-6B46-94EA-699C8252D2EC}"/>
              </a:ext>
            </a:extLst>
          </p:cNvPr>
          <p:cNvCxnSpPr>
            <a:cxnSpLocks/>
          </p:cNvCxnSpPr>
          <p:nvPr userDrawn="1"/>
        </p:nvCxnSpPr>
        <p:spPr>
          <a:xfrm flipV="1">
            <a:off x="8626" y="16578"/>
            <a:ext cx="655608" cy="822136"/>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7790531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6_Standard Layout">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17432" name="think-cell Slide" r:id="rId5" imgW="360" imgH="360" progId="TCLayout.ActiveDocument.1">
                  <p:embed/>
                </p:oleObj>
              </mc:Choice>
              <mc:Fallback>
                <p:oleObj name="think-cell Slide" r:id="rId5" imgW="360" imgH="360" progId="TCLayout.ActiveDocument.1">
                  <p:embed/>
                  <p:pic>
                    <p:nvPicPr>
                      <p:cNvPr id="2" name="Objet 1" hidden="1"/>
                      <p:cNvPicPr/>
                      <p:nvPr/>
                    </p:nvPicPr>
                    <p:blipFill>
                      <a:blip r:embed="rId6"/>
                      <a:stretch>
                        <a:fillRect/>
                      </a:stretch>
                    </p:blipFill>
                    <p:spPr>
                      <a:xfrm>
                        <a:off x="1592" y="1589"/>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A6BAAE1-BE16-4913-97AE-78C99E907225}"/>
              </a:ext>
            </a:extLst>
          </p:cNvPr>
          <p:cNvSpPr/>
          <p:nvPr userDrawn="1">
            <p:custDataLst>
              <p:tags r:id="rId3"/>
            </p:custDataLst>
          </p:nvPr>
        </p:nvSpPr>
        <p:spPr>
          <a:xfrm>
            <a:off x="0" y="0"/>
            <a:ext cx="119062"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Arial" panose="020B0604020202020204" pitchFamily="34" charset="0"/>
              <a:ea typeface="+mj-ea"/>
              <a:cs typeface="+mj-cs"/>
              <a:sym typeface="Arial" panose="020B0604020202020204" pitchFamily="34" charset="0"/>
            </a:endParaRPr>
          </a:p>
        </p:txBody>
      </p:sp>
      <p:pic>
        <p:nvPicPr>
          <p:cNvPr id="48" name="Picture 47">
            <a:extLst>
              <a:ext uri="{FF2B5EF4-FFF2-40B4-BE49-F238E27FC236}">
                <a16:creationId xmlns:a16="http://schemas.microsoft.com/office/drawing/2014/main" id="{50B9BE38-B23E-4651-AAA0-DEFCC83B237E}"/>
              </a:ext>
            </a:extLst>
          </p:cNvPr>
          <p:cNvPicPr>
            <a:picLocks noChangeAspect="1"/>
          </p:cNvPicPr>
          <p:nvPr userDrawn="1"/>
        </p:nvPicPr>
        <p:blipFill rotWithShape="1">
          <a:blip r:embed="rId7" cstate="email">
            <a:extLst>
              <a:ext uri="{28A0092B-C50C-407E-A947-70E740481C1C}">
                <a14:useLocalDpi xmlns:a14="http://schemas.microsoft.com/office/drawing/2010/main" val="0"/>
              </a:ext>
            </a:extLst>
          </a:blip>
          <a:srcRect r="-1125" b="9838"/>
          <a:stretch/>
        </p:blipFill>
        <p:spPr>
          <a:xfrm>
            <a:off x="-1863" y="-1"/>
            <a:ext cx="9241676" cy="5149859"/>
          </a:xfrm>
          <a:prstGeom prst="rect">
            <a:avLst/>
          </a:prstGeom>
        </p:spPr>
      </p:pic>
      <p:sp>
        <p:nvSpPr>
          <p:cNvPr id="49" name="object 3">
            <a:extLst>
              <a:ext uri="{FF2B5EF4-FFF2-40B4-BE49-F238E27FC236}">
                <a16:creationId xmlns:a16="http://schemas.microsoft.com/office/drawing/2014/main" id="{25CD1890-32F1-428E-A164-BCA7D7379946}"/>
              </a:ext>
            </a:extLst>
          </p:cNvPr>
          <p:cNvSpPr/>
          <p:nvPr userDrawn="1"/>
        </p:nvSpPr>
        <p:spPr>
          <a:xfrm>
            <a:off x="-7175" y="0"/>
            <a:ext cx="9151175" cy="5149859"/>
          </a:xfrm>
          <a:custGeom>
            <a:avLst/>
            <a:gdLst/>
            <a:ahLst/>
            <a:cxnLst/>
            <a:rect l="l" t="t" r="r" b="b"/>
            <a:pathLst>
              <a:path w="9144000" h="5143500">
                <a:moveTo>
                  <a:pt x="0" y="5143500"/>
                </a:moveTo>
                <a:lnTo>
                  <a:pt x="9144000" y="5143500"/>
                </a:lnTo>
                <a:lnTo>
                  <a:pt x="9144000" y="0"/>
                </a:lnTo>
                <a:lnTo>
                  <a:pt x="0" y="0"/>
                </a:lnTo>
                <a:lnTo>
                  <a:pt x="0" y="5143500"/>
                </a:lnTo>
                <a:close/>
              </a:path>
            </a:pathLst>
          </a:custGeom>
          <a:solidFill>
            <a:srgbClr val="000000">
              <a:alpha val="69804"/>
            </a:srgbClr>
          </a:solidFill>
        </p:spPr>
        <p:txBody>
          <a:bodyPr wrap="square" lIns="0" tIns="0" rIns="0" bIns="0" rtlCol="0"/>
          <a:lstStyle/>
          <a:p>
            <a:endParaRPr sz="1350" dirty="0"/>
          </a:p>
        </p:txBody>
      </p:sp>
      <p:pic>
        <p:nvPicPr>
          <p:cNvPr id="50" name="Picture 49">
            <a:extLst>
              <a:ext uri="{FF2B5EF4-FFF2-40B4-BE49-F238E27FC236}">
                <a16:creationId xmlns:a16="http://schemas.microsoft.com/office/drawing/2014/main" id="{A2DE2203-73EE-4121-8B25-4C4BF5807EB1}"/>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664734" y="4702323"/>
            <a:ext cx="1031462" cy="214227"/>
          </a:xfrm>
          <a:prstGeom prst="rect">
            <a:avLst/>
          </a:prstGeom>
        </p:spPr>
      </p:pic>
      <p:sp>
        <p:nvSpPr>
          <p:cNvPr id="51" name="Slide Number Placeholder 2">
            <a:extLst>
              <a:ext uri="{FF2B5EF4-FFF2-40B4-BE49-F238E27FC236}">
                <a16:creationId xmlns:a16="http://schemas.microsoft.com/office/drawing/2014/main" id="{1FD03043-0AE4-454E-9F61-5D151A072A89}"/>
              </a:ext>
            </a:extLst>
          </p:cNvPr>
          <p:cNvSpPr txBox="1">
            <a:spLocks/>
          </p:cNvSpPr>
          <p:nvPr userDrawn="1"/>
        </p:nvSpPr>
        <p:spPr>
          <a:xfrm>
            <a:off x="1739940" y="4859006"/>
            <a:ext cx="525553" cy="923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70"/>
            <a:r>
              <a:rPr lang="en-US" sz="600" dirty="0">
                <a:solidFill>
                  <a:srgbClr val="3DCD58"/>
                </a:solidFill>
                <a:latin typeface="Arial" panose="020B0604020202020204" pitchFamily="34" charset="0"/>
                <a:cs typeface="Arial" panose="020B0604020202020204" pitchFamily="34" charset="0"/>
              </a:rPr>
              <a:t>Page </a:t>
            </a:r>
            <a:fld id="{5A9C12DC-491F-9444-86A2-13AC5C62A2FC}" type="slidenum">
              <a:rPr lang="en-US" sz="600">
                <a:solidFill>
                  <a:srgbClr val="3DCD58"/>
                </a:solidFill>
                <a:latin typeface="Arial" panose="020B0604020202020204" pitchFamily="34" charset="0"/>
                <a:cs typeface="Arial" panose="020B0604020202020204" pitchFamily="34" charset="0"/>
              </a:rPr>
              <a:pPr algn="ctr" defTabSz="457070"/>
              <a:t>‹#›</a:t>
            </a:fld>
            <a:endParaRPr lang="en-US" sz="600" dirty="0">
              <a:solidFill>
                <a:srgbClr val="3DCD58"/>
              </a:solidFill>
              <a:latin typeface="Arial" panose="020B0604020202020204" pitchFamily="34" charset="0"/>
              <a:cs typeface="Arial" panose="020B0604020202020204" pitchFamily="34" charset="0"/>
            </a:endParaRPr>
          </a:p>
        </p:txBody>
      </p:sp>
      <p:sp>
        <p:nvSpPr>
          <p:cNvPr id="52" name="Footer Placeholder 3">
            <a:extLst>
              <a:ext uri="{FF2B5EF4-FFF2-40B4-BE49-F238E27FC236}">
                <a16:creationId xmlns:a16="http://schemas.microsoft.com/office/drawing/2014/main" id="{6ED994D1-F1CF-41A3-8A29-EB927E1E1E2C}"/>
              </a:ext>
            </a:extLst>
          </p:cNvPr>
          <p:cNvSpPr txBox="1">
            <a:spLocks/>
          </p:cNvSpPr>
          <p:nvPr userDrawn="1"/>
        </p:nvSpPr>
        <p:spPr>
          <a:xfrm>
            <a:off x="253539" y="4857156"/>
            <a:ext cx="3384470" cy="941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70"/>
            <a:r>
              <a:rPr lang="en-US" sz="600" dirty="0">
                <a:solidFill>
                  <a:srgbClr val="626469"/>
                </a:solidFill>
                <a:latin typeface="Arial" panose="020B0604020202020204" pitchFamily="34" charset="0"/>
                <a:cs typeface="Arial" panose="020B0604020202020204" pitchFamily="34" charset="0"/>
              </a:rPr>
              <a:t>Confidential Property of Schneider Electric | </a:t>
            </a:r>
          </a:p>
        </p:txBody>
      </p:sp>
      <p:sp>
        <p:nvSpPr>
          <p:cNvPr id="89" name="Holder 2">
            <a:extLst>
              <a:ext uri="{FF2B5EF4-FFF2-40B4-BE49-F238E27FC236}">
                <a16:creationId xmlns:a16="http://schemas.microsoft.com/office/drawing/2014/main" id="{578F1C43-C033-4920-826E-488BDE382160}"/>
              </a:ext>
            </a:extLst>
          </p:cNvPr>
          <p:cNvSpPr>
            <a:spLocks noGrp="1"/>
          </p:cNvSpPr>
          <p:nvPr>
            <p:ph type="title"/>
          </p:nvPr>
        </p:nvSpPr>
        <p:spPr>
          <a:xfrm>
            <a:off x="304893" y="352005"/>
            <a:ext cx="8049957" cy="357791"/>
          </a:xfrm>
          <a:prstGeom prst="rect">
            <a:avLst/>
          </a:prstGeom>
        </p:spPr>
        <p:txBody>
          <a:bodyPr lIns="0" tIns="0" rIns="0" bIns="0"/>
          <a:lstStyle>
            <a:lvl1pPr algn="l">
              <a:defRPr sz="2300" b="1" i="0">
                <a:solidFill>
                  <a:srgbClr val="3CC957"/>
                </a:solidFill>
                <a:latin typeface="Arial"/>
                <a:cs typeface="Arial"/>
              </a:defRPr>
            </a:lvl1pPr>
          </a:lstStyle>
          <a:p>
            <a:endParaRPr/>
          </a:p>
        </p:txBody>
      </p:sp>
      <p:sp>
        <p:nvSpPr>
          <p:cNvPr id="91" name="Text Placeholder 90">
            <a:extLst>
              <a:ext uri="{FF2B5EF4-FFF2-40B4-BE49-F238E27FC236}">
                <a16:creationId xmlns:a16="http://schemas.microsoft.com/office/drawing/2014/main" id="{EC6A9235-43C6-4B7B-8E6D-F47A6C725A10}"/>
              </a:ext>
            </a:extLst>
          </p:cNvPr>
          <p:cNvSpPr>
            <a:spLocks noGrp="1"/>
          </p:cNvSpPr>
          <p:nvPr>
            <p:ph type="body" sz="quarter" idx="10"/>
          </p:nvPr>
        </p:nvSpPr>
        <p:spPr>
          <a:xfrm>
            <a:off x="304892" y="1390650"/>
            <a:ext cx="8049957" cy="2165350"/>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stStyle>
          <a:p>
            <a:pPr lvl="0"/>
            <a:r>
              <a:rPr lang="en-US" altLang="zh-HK" dirty="0"/>
              <a:t>Click to edit Master text styles</a:t>
            </a:r>
          </a:p>
          <a:p>
            <a:pPr lvl="1"/>
            <a:r>
              <a:rPr lang="en-US" altLang="zh-HK" dirty="0"/>
              <a:t>Second level</a:t>
            </a:r>
          </a:p>
          <a:p>
            <a:pPr lvl="2"/>
            <a:r>
              <a:rPr lang="en-US" altLang="zh-HK" dirty="0"/>
              <a:t>Third level</a:t>
            </a:r>
          </a:p>
          <a:p>
            <a:pPr lvl="3"/>
            <a:r>
              <a:rPr lang="en-US" altLang="zh-HK" dirty="0"/>
              <a:t>Fourth level</a:t>
            </a:r>
          </a:p>
          <a:p>
            <a:pPr lvl="4"/>
            <a:r>
              <a:rPr lang="en-US" altLang="zh-HK" dirty="0"/>
              <a:t>Fifth level</a:t>
            </a:r>
            <a:endParaRPr lang="zh-HK" altLang="en-US" dirty="0"/>
          </a:p>
        </p:txBody>
      </p:sp>
    </p:spTree>
    <p:extLst>
      <p:ext uri="{BB962C8B-B14F-4D97-AF65-F5344CB8AC3E}">
        <p14:creationId xmlns:p14="http://schemas.microsoft.com/office/powerpoint/2010/main" val="14554650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bg1"/>
                </a:solidFill>
              </a:defRPr>
            </a:lvl1pPr>
          </a:lstStyle>
          <a:p>
            <a:r>
              <a:rPr lang="en-US"/>
              <a:t>CLICK TO EDIT QUOTE OR CALLOUT</a:t>
            </a:r>
          </a:p>
        </p:txBody>
      </p:sp>
      <p:sp>
        <p:nvSpPr>
          <p:cNvPr id="10" name="Subtitle 2"/>
          <p:cNvSpPr>
            <a:spLocks noGrp="1"/>
          </p:cNvSpPr>
          <p:nvPr>
            <p:ph type="subTitle" idx="1" hasCustomPrompt="1"/>
          </p:nvPr>
        </p:nvSpPr>
        <p:spPr>
          <a:xfrm>
            <a:off x="252414" y="2955454"/>
            <a:ext cx="8577820" cy="307777"/>
          </a:xfrm>
          <a:prstGeom prst="rect">
            <a:avLst/>
          </a:prstGeom>
        </p:spPr>
        <p:txBody>
          <a:bodyPr lIns="0" tIns="0" rIns="0" bIns="0">
            <a:sp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pic>
        <p:nvPicPr>
          <p:cNvPr id="8" name="Picture 7" descr="schneider_LIO_White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451089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eave Image 1">
    <p:spTree>
      <p:nvGrpSpPr>
        <p:cNvPr id="1" name=""/>
        <p:cNvGrpSpPr/>
        <p:nvPr/>
      </p:nvGrpSpPr>
      <p:grpSpPr>
        <a:xfrm>
          <a:off x="0" y="0"/>
          <a:ext cx="0" cy="0"/>
          <a:chOff x="0" y="0"/>
          <a:chExt cx="0" cy="0"/>
        </a:xfrm>
      </p:grpSpPr>
      <p:pic>
        <p:nvPicPr>
          <p:cNvPr id="2" name="Picture 1" descr="Weave_175139600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14" name="Rectangle 1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3" name="Picture 12" descr="schneider_LIO_White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5283182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eave Image 2">
    <p:spTree>
      <p:nvGrpSpPr>
        <p:cNvPr id="1" name=""/>
        <p:cNvGrpSpPr/>
        <p:nvPr/>
      </p:nvGrpSpPr>
      <p:grpSpPr>
        <a:xfrm>
          <a:off x="0" y="0"/>
          <a:ext cx="0" cy="0"/>
          <a:chOff x="0" y="0"/>
          <a:chExt cx="0" cy="0"/>
        </a:xfrm>
      </p:grpSpPr>
      <p:pic>
        <p:nvPicPr>
          <p:cNvPr id="10" name="Picture 9" descr="Weave_463028807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schneider_LIO_White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9276867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eave Image 3">
    <p:spTree>
      <p:nvGrpSpPr>
        <p:cNvPr id="1" name=""/>
        <p:cNvGrpSpPr/>
        <p:nvPr/>
      </p:nvGrpSpPr>
      <p:grpSpPr>
        <a:xfrm>
          <a:off x="0" y="0"/>
          <a:ext cx="0" cy="0"/>
          <a:chOff x="0" y="0"/>
          <a:chExt cx="0" cy="0"/>
        </a:xfrm>
      </p:grpSpPr>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Slide Number Placeholder 5"/>
          <p:cNvSpPr>
            <a:spLocks noGrp="1"/>
          </p:cNvSpPr>
          <p:nvPr>
            <p:ph type="sldNum" sz="quarter" idx="4"/>
          </p:nvPr>
        </p:nvSpPr>
        <p:spPr>
          <a:xfrm>
            <a:off x="1762180"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6" name="TextBox 5"/>
          <p:cNvSpPr txBox="1"/>
          <p:nvPr userDrawn="1"/>
        </p:nvSpPr>
        <p:spPr>
          <a:xfrm>
            <a:off x="1674435" y="4851248"/>
            <a:ext cx="83510" cy="92333"/>
          </a:xfrm>
          <a:prstGeom prst="rect">
            <a:avLst/>
          </a:prstGeom>
          <a:noFill/>
        </p:spPr>
        <p:txBody>
          <a:bodyPr wrap="square" lIns="0" tIns="0" rIns="0" bIns="0" rtlCol="0">
            <a:spAutoFit/>
          </a:bodyPr>
          <a:lstStyle/>
          <a:p>
            <a:pPr algn="ctr"/>
            <a:r>
              <a:rPr lang="en-US" sz="600" dirty="0">
                <a:solidFill>
                  <a:srgbClr val="FFFFFF"/>
                </a:solidFill>
                <a:latin typeface="Arial"/>
                <a:cs typeface="Arial"/>
              </a:rPr>
              <a:t>|</a:t>
            </a:r>
          </a:p>
        </p:txBody>
      </p:sp>
      <p:sp>
        <p:nvSpPr>
          <p:cNvPr id="7" name="Footer Placeholder 4"/>
          <p:cNvSpPr>
            <a:spLocks noGrp="1"/>
          </p:cNvSpPr>
          <p:nvPr>
            <p:ph type="ftr" sz="quarter" idx="3"/>
          </p:nvPr>
        </p:nvSpPr>
        <p:spPr>
          <a:xfrm>
            <a:off x="252413" y="4857154"/>
            <a:ext cx="1505531"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10" name="Picture 9" descr="Weave_486603441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9" name="Picture 8" descr="schneider_LIO_White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8" name="Slide Number Placeholder 5"/>
          <p:cNvSpPr txBox="1">
            <a:spLocks/>
          </p:cNvSpPr>
          <p:nvPr userDrawn="1"/>
        </p:nvSpPr>
        <p:spPr>
          <a:xfrm>
            <a:off x="1747891" y="4857155"/>
            <a:ext cx="525690" cy="92333"/>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Page </a:t>
            </a:r>
            <a:fld id="{5A9C12DC-491F-9444-86A2-13AC5C62A2FC}" type="slidenum">
              <a:rPr lang="en-US" smtClean="0"/>
              <a:pPr/>
              <a:t>‹#›</a:t>
            </a:fld>
            <a:endParaRPr lang="en-US" dirty="0"/>
          </a:p>
        </p:txBody>
      </p:sp>
      <p:sp>
        <p:nvSpPr>
          <p:cNvPr id="11" name="Footer Placeholder 4"/>
          <p:cNvSpPr txBox="1">
            <a:spLocks/>
          </p:cNvSpPr>
          <p:nvPr userDrawn="1"/>
        </p:nvSpPr>
        <p:spPr>
          <a:xfrm>
            <a:off x="252413" y="4857154"/>
            <a:ext cx="1509767" cy="92333"/>
          </a:xfrm>
          <a:prstGeom prst="rect">
            <a:avLst/>
          </a:prstGeom>
        </p:spPr>
        <p:txBody>
          <a:bodyPr vert="horz" wrap="square"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Confidential Property of Schneider Electric |</a:t>
            </a:r>
          </a:p>
        </p:txBody>
      </p:sp>
    </p:spTree>
    <p:extLst>
      <p:ext uri="{BB962C8B-B14F-4D97-AF65-F5344CB8AC3E}">
        <p14:creationId xmlns:p14="http://schemas.microsoft.com/office/powerpoint/2010/main" val="15331834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eave Image 4">
    <p:spTree>
      <p:nvGrpSpPr>
        <p:cNvPr id="1" name=""/>
        <p:cNvGrpSpPr/>
        <p:nvPr/>
      </p:nvGrpSpPr>
      <p:grpSpPr>
        <a:xfrm>
          <a:off x="0" y="0"/>
          <a:ext cx="0" cy="0"/>
          <a:chOff x="0" y="0"/>
          <a:chExt cx="0" cy="0"/>
        </a:xfrm>
      </p:grpSpPr>
      <p:pic>
        <p:nvPicPr>
          <p:cNvPr id="10" name="Picture 9" descr="Weave_522513175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schneider_LIO_White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0156905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eave Image 5">
    <p:spTree>
      <p:nvGrpSpPr>
        <p:cNvPr id="1" name=""/>
        <p:cNvGrpSpPr/>
        <p:nvPr/>
      </p:nvGrpSpPr>
      <p:grpSpPr>
        <a:xfrm>
          <a:off x="0" y="0"/>
          <a:ext cx="0" cy="0"/>
          <a:chOff x="0" y="0"/>
          <a:chExt cx="0" cy="0"/>
        </a:xfrm>
      </p:grpSpPr>
      <p:pic>
        <p:nvPicPr>
          <p:cNvPr id="10" name="Picture 9" descr="Weave_522794209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schneider_LIO_White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15365114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eave Image 6">
    <p:spTree>
      <p:nvGrpSpPr>
        <p:cNvPr id="1" name=""/>
        <p:cNvGrpSpPr/>
        <p:nvPr/>
      </p:nvGrpSpPr>
      <p:grpSpPr>
        <a:xfrm>
          <a:off x="0" y="0"/>
          <a:ext cx="0" cy="0"/>
          <a:chOff x="0" y="0"/>
          <a:chExt cx="0" cy="0"/>
        </a:xfrm>
      </p:grpSpPr>
      <p:pic>
        <p:nvPicPr>
          <p:cNvPr id="10" name="Picture 9" descr="Weave_528351183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schneider_LIO_White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2975091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3" name="Picture 2" descr="schneider_LIO_White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32549" y="2064587"/>
            <a:ext cx="3678903" cy="1014326"/>
          </a:xfrm>
          <a:prstGeom prst="rect">
            <a:avLst/>
          </a:prstGeom>
        </p:spPr>
      </p:pic>
    </p:spTree>
    <p:extLst>
      <p:ext uri="{BB962C8B-B14F-4D97-AF65-F5344CB8AC3E}">
        <p14:creationId xmlns:p14="http://schemas.microsoft.com/office/powerpoint/2010/main" val="30370478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40" y="4066303"/>
            <a:ext cx="269875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6" y="4066303"/>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6" name="Content Placeholder 5"/>
          <p:cNvSpPr>
            <a:spLocks noGrp="1"/>
          </p:cNvSpPr>
          <p:nvPr>
            <p:ph sz="quarter" idx="18"/>
          </p:nvPr>
        </p:nvSpPr>
        <p:spPr>
          <a:xfrm>
            <a:off x="258055" y="1202024"/>
            <a:ext cx="5574419" cy="2300091"/>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7"/>
          <p:cNvSpPr>
            <a:spLocks noGrp="1"/>
          </p:cNvSpPr>
          <p:nvPr>
            <p:ph sz="quarter" idx="19"/>
          </p:nvPr>
        </p:nvSpPr>
        <p:spPr>
          <a:xfrm>
            <a:off x="6192839" y="1201739"/>
            <a:ext cx="2698750" cy="2287696"/>
          </a:xfrm>
        </p:spPr>
        <p:txBody>
          <a:bodyPr>
            <a:noAutofit/>
          </a:bodyPr>
          <a:lstStyle>
            <a:lvl1pPr>
              <a:defRPr sz="1200"/>
            </a:lvl1pPr>
            <a:lvl2pPr>
              <a:defRPr sz="1100"/>
            </a:lvl2pPr>
            <a:lvl3pPr>
              <a:defRPr sz="1000"/>
            </a:lvl3pPr>
            <a:lvl4pPr>
              <a:defRPr sz="1000"/>
            </a:lvl4pPr>
            <a:lvl5pPr>
              <a:defRPr sz="1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252414"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GB"/>
              <a:t>Click to edit Master text styles</a:t>
            </a:r>
          </a:p>
        </p:txBody>
      </p:sp>
      <p:sp>
        <p:nvSpPr>
          <p:cNvPr id="14" name="Text Placeholder 13"/>
          <p:cNvSpPr>
            <a:spLocks noGrp="1"/>
          </p:cNvSpPr>
          <p:nvPr>
            <p:ph type="body" sz="quarter" idx="33"/>
          </p:nvPr>
        </p:nvSpPr>
        <p:spPr>
          <a:xfrm>
            <a:off x="252414" y="683367"/>
            <a:ext cx="8647112" cy="253916"/>
          </a:xfrm>
        </p:spPr>
        <p:txBody>
          <a:bodyPr>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GB"/>
              <a:t>Click to edit Master text styles</a:t>
            </a:r>
          </a:p>
        </p:txBody>
      </p:sp>
    </p:spTree>
    <p:extLst>
      <p:ext uri="{BB962C8B-B14F-4D97-AF65-F5344CB8AC3E}">
        <p14:creationId xmlns:p14="http://schemas.microsoft.com/office/powerpoint/2010/main" val="24723707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Click To Edit Optional Subtitle</a:t>
            </a:r>
          </a:p>
        </p:txBody>
      </p:sp>
      <p:pic>
        <p:nvPicPr>
          <p:cNvPr id="11" name="Picture 10"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150674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11"/>
          <p:cNvSpPr>
            <a:spLocks noGrp="1"/>
          </p:cNvSpPr>
          <p:nvPr>
            <p:ph type="body" sz="quarter" idx="32"/>
          </p:nvPr>
        </p:nvSpPr>
        <p:spPr>
          <a:xfrm>
            <a:off x="252414" y="230188"/>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GB"/>
              <a:t>Click to edit Master text styles</a:t>
            </a:r>
          </a:p>
        </p:txBody>
      </p:sp>
      <p:sp>
        <p:nvSpPr>
          <p:cNvPr id="14" name="Text Placeholder 13"/>
          <p:cNvSpPr>
            <a:spLocks noGrp="1"/>
          </p:cNvSpPr>
          <p:nvPr>
            <p:ph type="body" sz="quarter" idx="33"/>
          </p:nvPr>
        </p:nvSpPr>
        <p:spPr>
          <a:xfrm>
            <a:off x="252414" y="683367"/>
            <a:ext cx="8647112" cy="253916"/>
          </a:xfrm>
        </p:spPr>
        <p:txBody>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GB"/>
              <a:t>Click to edit Master text styles</a:t>
            </a:r>
          </a:p>
        </p:txBody>
      </p:sp>
    </p:spTree>
    <p:extLst>
      <p:ext uri="{BB962C8B-B14F-4D97-AF65-F5344CB8AC3E}">
        <p14:creationId xmlns:p14="http://schemas.microsoft.com/office/powerpoint/2010/main" val="17845779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5" y="4066303"/>
            <a:ext cx="558006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a:t>Optional description / context goes here</a:t>
            </a:r>
          </a:p>
        </p:txBody>
      </p:sp>
      <p:sp>
        <p:nvSpPr>
          <p:cNvPr id="4" name="Content Placeholder 3"/>
          <p:cNvSpPr>
            <a:spLocks noGrp="1"/>
          </p:cNvSpPr>
          <p:nvPr>
            <p:ph sz="quarter" idx="17"/>
          </p:nvPr>
        </p:nvSpPr>
        <p:spPr>
          <a:xfrm>
            <a:off x="252414" y="1203327"/>
            <a:ext cx="5580062" cy="2717033"/>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8" name="Text Placeholder 11"/>
          <p:cNvSpPr>
            <a:spLocks noGrp="1"/>
          </p:cNvSpPr>
          <p:nvPr>
            <p:ph type="body" sz="quarter" idx="32"/>
          </p:nvPr>
        </p:nvSpPr>
        <p:spPr>
          <a:xfrm>
            <a:off x="252414" y="230188"/>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GB"/>
              <a:t>Click to edit Master text styles</a:t>
            </a:r>
          </a:p>
        </p:txBody>
      </p:sp>
      <p:sp>
        <p:nvSpPr>
          <p:cNvPr id="11" name="Text Placeholder 13"/>
          <p:cNvSpPr>
            <a:spLocks noGrp="1"/>
          </p:cNvSpPr>
          <p:nvPr>
            <p:ph type="body" sz="quarter" idx="33"/>
          </p:nvPr>
        </p:nvSpPr>
        <p:spPr>
          <a:xfrm>
            <a:off x="252414" y="683367"/>
            <a:ext cx="8647112" cy="253916"/>
          </a:xfrm>
        </p:spPr>
        <p:txBody>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GB"/>
              <a:t>Click to edit Master text styles</a:t>
            </a:r>
          </a:p>
        </p:txBody>
      </p:sp>
    </p:spTree>
    <p:extLst>
      <p:ext uri="{BB962C8B-B14F-4D97-AF65-F5344CB8AC3E}">
        <p14:creationId xmlns:p14="http://schemas.microsoft.com/office/powerpoint/2010/main" val="25817232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1" y="3037461"/>
            <a:ext cx="5574419" cy="1471478"/>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p:cNvSpPr>
            <a:spLocks noGrp="1"/>
          </p:cNvSpPr>
          <p:nvPr>
            <p:ph type="body" sz="quarter" idx="16" hasCustomPrompt="1"/>
          </p:nvPr>
        </p:nvSpPr>
        <p:spPr>
          <a:xfrm>
            <a:off x="252415" y="2674811"/>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8" name="Text Placeholder 11"/>
          <p:cNvSpPr>
            <a:spLocks noGrp="1"/>
          </p:cNvSpPr>
          <p:nvPr>
            <p:ph type="body" sz="quarter" idx="20" hasCustomPrompt="1"/>
          </p:nvPr>
        </p:nvSpPr>
        <p:spPr>
          <a:xfrm>
            <a:off x="258058" y="4569743"/>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6" name="Content Placeholder 5"/>
          <p:cNvSpPr>
            <a:spLocks noGrp="1"/>
          </p:cNvSpPr>
          <p:nvPr>
            <p:ph sz="quarter" idx="23"/>
          </p:nvPr>
        </p:nvSpPr>
        <p:spPr>
          <a:xfrm>
            <a:off x="248011" y="1213548"/>
            <a:ext cx="5574419" cy="1370903"/>
          </a:xfrm>
        </p:spPr>
        <p:txBody>
          <a:bodyPr>
            <a:noAutofit/>
          </a:bodyPr>
          <a:lstStyle>
            <a:lvl5pPr>
              <a:buNone/>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4" name="Text Placeholder 11"/>
          <p:cNvSpPr>
            <a:spLocks noGrp="1"/>
          </p:cNvSpPr>
          <p:nvPr>
            <p:ph type="body" sz="quarter" idx="32"/>
          </p:nvPr>
        </p:nvSpPr>
        <p:spPr>
          <a:xfrm>
            <a:off x="252414"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GB"/>
              <a:t>Click to edit Master text styles</a:t>
            </a:r>
          </a:p>
        </p:txBody>
      </p:sp>
      <p:sp>
        <p:nvSpPr>
          <p:cNvPr id="15" name="Text Placeholder 13"/>
          <p:cNvSpPr>
            <a:spLocks noGrp="1"/>
          </p:cNvSpPr>
          <p:nvPr>
            <p:ph type="body" sz="quarter" idx="33"/>
          </p:nvPr>
        </p:nvSpPr>
        <p:spPr>
          <a:xfrm>
            <a:off x="252414" y="683367"/>
            <a:ext cx="8647112" cy="253916"/>
          </a:xfrm>
        </p:spPr>
        <p:txBody>
          <a:bodyPr>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GB"/>
              <a:t>Click to edit Master text styles</a:t>
            </a:r>
          </a:p>
        </p:txBody>
      </p:sp>
    </p:spTree>
    <p:extLst>
      <p:ext uri="{BB962C8B-B14F-4D97-AF65-F5344CB8AC3E}">
        <p14:creationId xmlns:p14="http://schemas.microsoft.com/office/powerpoint/2010/main" val="28621039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6"/>
            <a:ext cx="4172656" cy="2711063"/>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5" name="Text Placeholder 11"/>
          <p:cNvSpPr>
            <a:spLocks noGrp="1"/>
          </p:cNvSpPr>
          <p:nvPr>
            <p:ph type="body" sz="quarter" idx="13" hasCustomPrompt="1"/>
          </p:nvPr>
        </p:nvSpPr>
        <p:spPr>
          <a:xfrm>
            <a:off x="4791076" y="406630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28" name="Text Placeholder 11"/>
          <p:cNvSpPr>
            <a:spLocks noGrp="1"/>
          </p:cNvSpPr>
          <p:nvPr>
            <p:ph type="body" sz="quarter" idx="15" hasCustomPrompt="1"/>
          </p:nvPr>
        </p:nvSpPr>
        <p:spPr>
          <a:xfrm>
            <a:off x="252414" y="4066303"/>
            <a:ext cx="4178298"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3" name="Content Placeholder 2"/>
          <p:cNvSpPr>
            <a:spLocks noGrp="1"/>
          </p:cNvSpPr>
          <p:nvPr>
            <p:ph sz="quarter" idx="22"/>
          </p:nvPr>
        </p:nvSpPr>
        <p:spPr>
          <a:xfrm>
            <a:off x="247548" y="1209297"/>
            <a:ext cx="4172656" cy="2711063"/>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252414"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GB"/>
              <a:t>Click to edit Master text styles</a:t>
            </a:r>
          </a:p>
        </p:txBody>
      </p:sp>
      <p:sp>
        <p:nvSpPr>
          <p:cNvPr id="15" name="Text Placeholder 13"/>
          <p:cNvSpPr>
            <a:spLocks noGrp="1"/>
          </p:cNvSpPr>
          <p:nvPr>
            <p:ph type="body" sz="quarter" idx="33"/>
          </p:nvPr>
        </p:nvSpPr>
        <p:spPr>
          <a:xfrm>
            <a:off x="252414" y="683367"/>
            <a:ext cx="8647112" cy="253916"/>
          </a:xfrm>
        </p:spPr>
        <p:txBody>
          <a:bodyPr>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GB"/>
              <a:t>Click to edit Master text styles</a:t>
            </a:r>
          </a:p>
        </p:txBody>
      </p:sp>
    </p:spTree>
    <p:extLst>
      <p:ext uri="{BB962C8B-B14F-4D97-AF65-F5344CB8AC3E}">
        <p14:creationId xmlns:p14="http://schemas.microsoft.com/office/powerpoint/2010/main" val="32689702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7"/>
            <a:ext cx="4172656" cy="2738053"/>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Text Placeholder 11"/>
          <p:cNvSpPr>
            <a:spLocks noGrp="1"/>
          </p:cNvSpPr>
          <p:nvPr>
            <p:ph type="body" sz="quarter" idx="13" hasCustomPrompt="1"/>
          </p:nvPr>
        </p:nvSpPr>
        <p:spPr>
          <a:xfrm>
            <a:off x="4791076" y="406630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2" name="Text Placeholder 11"/>
          <p:cNvSpPr>
            <a:spLocks noGrp="1"/>
          </p:cNvSpPr>
          <p:nvPr>
            <p:ph type="body" sz="quarter" idx="15" hasCustomPrompt="1"/>
          </p:nvPr>
        </p:nvSpPr>
        <p:spPr>
          <a:xfrm>
            <a:off x="252415" y="4066303"/>
            <a:ext cx="417829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04" y="1203328"/>
            <a:ext cx="4178299" cy="2738053"/>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252414"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GB"/>
              <a:t>Click to edit Master text styles</a:t>
            </a:r>
          </a:p>
        </p:txBody>
      </p:sp>
      <p:sp>
        <p:nvSpPr>
          <p:cNvPr id="18" name="Text Placeholder 13"/>
          <p:cNvSpPr>
            <a:spLocks noGrp="1"/>
          </p:cNvSpPr>
          <p:nvPr>
            <p:ph type="body" sz="quarter" idx="33"/>
          </p:nvPr>
        </p:nvSpPr>
        <p:spPr>
          <a:xfrm>
            <a:off x="252414" y="683367"/>
            <a:ext cx="8647112" cy="253916"/>
          </a:xfrm>
        </p:spPr>
        <p:txBody>
          <a:bodyPr>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GB"/>
              <a:t>Click to edit Master text styles</a:t>
            </a:r>
          </a:p>
        </p:txBody>
      </p:sp>
    </p:spTree>
    <p:extLst>
      <p:ext uri="{BB962C8B-B14F-4D97-AF65-F5344CB8AC3E}">
        <p14:creationId xmlns:p14="http://schemas.microsoft.com/office/powerpoint/2010/main" val="23133391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31" y="2698484"/>
            <a:ext cx="863353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5" name="Text Placeholder 11"/>
          <p:cNvSpPr>
            <a:spLocks noGrp="1"/>
          </p:cNvSpPr>
          <p:nvPr>
            <p:ph type="body" sz="quarter" idx="16" hasCustomPrompt="1"/>
          </p:nvPr>
        </p:nvSpPr>
        <p:spPr>
          <a:xfrm>
            <a:off x="253294" y="4413143"/>
            <a:ext cx="409487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5" name="Content Placeholder 4"/>
          <p:cNvSpPr>
            <a:spLocks noGrp="1"/>
          </p:cNvSpPr>
          <p:nvPr>
            <p:ph sz="quarter" idx="24"/>
          </p:nvPr>
        </p:nvSpPr>
        <p:spPr>
          <a:xfrm>
            <a:off x="246634" y="1198259"/>
            <a:ext cx="8644953" cy="1386193"/>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Content Placeholder 11"/>
          <p:cNvSpPr>
            <a:spLocks noGrp="1"/>
          </p:cNvSpPr>
          <p:nvPr>
            <p:ph sz="quarter" idx="25"/>
          </p:nvPr>
        </p:nvSpPr>
        <p:spPr>
          <a:xfrm>
            <a:off x="248531" y="2907433"/>
            <a:ext cx="4094871" cy="147248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Content Placeholder 13"/>
          <p:cNvSpPr>
            <a:spLocks noGrp="1"/>
          </p:cNvSpPr>
          <p:nvPr>
            <p:ph sz="quarter" idx="26"/>
          </p:nvPr>
        </p:nvSpPr>
        <p:spPr>
          <a:xfrm>
            <a:off x="4791076" y="2907433"/>
            <a:ext cx="4100514" cy="147248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7" name="Text Placeholder 11"/>
          <p:cNvSpPr>
            <a:spLocks noGrp="1"/>
          </p:cNvSpPr>
          <p:nvPr>
            <p:ph type="body" sz="quarter" idx="32"/>
          </p:nvPr>
        </p:nvSpPr>
        <p:spPr>
          <a:xfrm>
            <a:off x="252414"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GB"/>
              <a:t>Click to edit Master text styles</a:t>
            </a:r>
          </a:p>
        </p:txBody>
      </p:sp>
      <p:sp>
        <p:nvSpPr>
          <p:cNvPr id="18" name="Text Placeholder 13"/>
          <p:cNvSpPr>
            <a:spLocks noGrp="1"/>
          </p:cNvSpPr>
          <p:nvPr>
            <p:ph type="body" sz="quarter" idx="33"/>
          </p:nvPr>
        </p:nvSpPr>
        <p:spPr>
          <a:xfrm>
            <a:off x="252414" y="683367"/>
            <a:ext cx="8647112" cy="253916"/>
          </a:xfrm>
        </p:spPr>
        <p:txBody>
          <a:bodyPr>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GB"/>
              <a:t>Click to edit Master text styles</a:t>
            </a:r>
          </a:p>
        </p:txBody>
      </p:sp>
    </p:spTree>
    <p:extLst>
      <p:ext uri="{BB962C8B-B14F-4D97-AF65-F5344CB8AC3E}">
        <p14:creationId xmlns:p14="http://schemas.microsoft.com/office/powerpoint/2010/main" val="20346996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5" y="406630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26" name="Text Placeholder 11"/>
          <p:cNvSpPr>
            <a:spLocks noGrp="1"/>
          </p:cNvSpPr>
          <p:nvPr>
            <p:ph type="body" sz="quarter" idx="21" hasCustomPrompt="1"/>
          </p:nvPr>
        </p:nvSpPr>
        <p:spPr>
          <a:xfrm>
            <a:off x="6192839" y="4066303"/>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29" name="Text Placeholder 11"/>
          <p:cNvSpPr>
            <a:spLocks noGrp="1"/>
          </p:cNvSpPr>
          <p:nvPr>
            <p:ph type="body" sz="quarter" idx="24" hasCustomPrompt="1"/>
          </p:nvPr>
        </p:nvSpPr>
        <p:spPr>
          <a:xfrm>
            <a:off x="3232555" y="4066303"/>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3" name="Content Placeholder 2"/>
          <p:cNvSpPr>
            <a:spLocks noGrp="1"/>
          </p:cNvSpPr>
          <p:nvPr>
            <p:ph sz="quarter" idx="32"/>
          </p:nvPr>
        </p:nvSpPr>
        <p:spPr>
          <a:xfrm>
            <a:off x="252415" y="1192754"/>
            <a:ext cx="2698748" cy="2666729"/>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252414" y="230188"/>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GB"/>
              <a:t>Click to edit Master text styles</a:t>
            </a:r>
          </a:p>
        </p:txBody>
      </p:sp>
      <p:sp>
        <p:nvSpPr>
          <p:cNvPr id="15" name="Text Placeholder 13"/>
          <p:cNvSpPr>
            <a:spLocks noGrp="1"/>
          </p:cNvSpPr>
          <p:nvPr>
            <p:ph type="body" sz="quarter" idx="36"/>
          </p:nvPr>
        </p:nvSpPr>
        <p:spPr>
          <a:xfrm>
            <a:off x="252414" y="683367"/>
            <a:ext cx="8685212" cy="253916"/>
          </a:xfrm>
        </p:spPr>
        <p:txBody>
          <a:bodyPr>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GB"/>
              <a:t>Click to edit Master text styles</a:t>
            </a:r>
          </a:p>
        </p:txBody>
      </p:sp>
    </p:spTree>
    <p:extLst>
      <p:ext uri="{BB962C8B-B14F-4D97-AF65-F5344CB8AC3E}">
        <p14:creationId xmlns:p14="http://schemas.microsoft.com/office/powerpoint/2010/main" val="26458045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5" y="406630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26" name="Text Placeholder 11"/>
          <p:cNvSpPr>
            <a:spLocks noGrp="1"/>
          </p:cNvSpPr>
          <p:nvPr>
            <p:ph type="body" sz="quarter" idx="21" hasCustomPrompt="1"/>
          </p:nvPr>
        </p:nvSpPr>
        <p:spPr>
          <a:xfrm>
            <a:off x="6192839" y="4066303"/>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29" name="Text Placeholder 11"/>
          <p:cNvSpPr>
            <a:spLocks noGrp="1"/>
          </p:cNvSpPr>
          <p:nvPr>
            <p:ph type="body" sz="quarter" idx="24" hasCustomPrompt="1"/>
          </p:nvPr>
        </p:nvSpPr>
        <p:spPr>
          <a:xfrm>
            <a:off x="3232555" y="4066303"/>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3" name="Content Placeholder 2"/>
          <p:cNvSpPr>
            <a:spLocks noGrp="1"/>
          </p:cNvSpPr>
          <p:nvPr>
            <p:ph sz="quarter" idx="32"/>
          </p:nvPr>
        </p:nvSpPr>
        <p:spPr>
          <a:xfrm>
            <a:off x="252415" y="1192754"/>
            <a:ext cx="2698748" cy="2666729"/>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252414" y="230188"/>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GB"/>
              <a:t>Click to edit Master text styles</a:t>
            </a:r>
          </a:p>
        </p:txBody>
      </p:sp>
      <p:sp>
        <p:nvSpPr>
          <p:cNvPr id="15" name="Text Placeholder 13"/>
          <p:cNvSpPr>
            <a:spLocks noGrp="1"/>
          </p:cNvSpPr>
          <p:nvPr>
            <p:ph type="body" sz="quarter" idx="36"/>
          </p:nvPr>
        </p:nvSpPr>
        <p:spPr>
          <a:xfrm>
            <a:off x="252414" y="683367"/>
            <a:ext cx="8685212" cy="253916"/>
          </a:xfrm>
        </p:spPr>
        <p:txBody>
          <a:bodyPr>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GB"/>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133405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8"/>
            <a:ext cx="8639175" cy="1381124"/>
          </a:xfrm>
        </p:spPr>
        <p:txBody>
          <a:bodyPr wrap="square">
            <a:no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Content Placeholder 11"/>
          <p:cNvSpPr>
            <a:spLocks noGrp="1"/>
          </p:cNvSpPr>
          <p:nvPr>
            <p:ph sz="quarter" idx="33"/>
          </p:nvPr>
        </p:nvSpPr>
        <p:spPr>
          <a:xfrm>
            <a:off x="252414" y="2872040"/>
            <a:ext cx="2683481" cy="144655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15" name="Content Placeholder 14"/>
          <p:cNvSpPr>
            <a:spLocks noGrp="1"/>
          </p:cNvSpPr>
          <p:nvPr>
            <p:ph sz="quarter" idx="34"/>
          </p:nvPr>
        </p:nvSpPr>
        <p:spPr>
          <a:xfrm>
            <a:off x="3232555" y="2872040"/>
            <a:ext cx="2678893" cy="144655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19" name="Content Placeholder 18"/>
          <p:cNvSpPr>
            <a:spLocks noGrp="1"/>
          </p:cNvSpPr>
          <p:nvPr>
            <p:ph sz="quarter" idx="35"/>
          </p:nvPr>
        </p:nvSpPr>
        <p:spPr>
          <a:xfrm>
            <a:off x="6192839" y="2872040"/>
            <a:ext cx="2678893" cy="144655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11"/>
          <p:cNvSpPr>
            <a:spLocks noGrp="1"/>
          </p:cNvSpPr>
          <p:nvPr>
            <p:ph type="body" sz="quarter" idx="18" hasCustomPrompt="1"/>
          </p:nvPr>
        </p:nvSpPr>
        <p:spPr>
          <a:xfrm>
            <a:off x="258057" y="2630753"/>
            <a:ext cx="863353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4" name="Text Placeholder 11"/>
          <p:cNvSpPr>
            <a:spLocks noGrp="1"/>
          </p:cNvSpPr>
          <p:nvPr>
            <p:ph type="body" sz="quarter" idx="13" hasCustomPrompt="1"/>
          </p:nvPr>
        </p:nvSpPr>
        <p:spPr>
          <a:xfrm>
            <a:off x="252415" y="4376264"/>
            <a:ext cx="268348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6" name="Text Placeholder 11"/>
          <p:cNvSpPr>
            <a:spLocks noGrp="1"/>
          </p:cNvSpPr>
          <p:nvPr>
            <p:ph type="body" sz="quarter" idx="21" hasCustomPrompt="1"/>
          </p:nvPr>
        </p:nvSpPr>
        <p:spPr>
          <a:xfrm>
            <a:off x="6192839" y="4376264"/>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8" name="Text Placeholder 11"/>
          <p:cNvSpPr>
            <a:spLocks noGrp="1"/>
          </p:cNvSpPr>
          <p:nvPr>
            <p:ph type="body" sz="quarter" idx="24" hasCustomPrompt="1"/>
          </p:nvPr>
        </p:nvSpPr>
        <p:spPr>
          <a:xfrm>
            <a:off x="3232555" y="4376264"/>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7"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21" name="Text Placeholder 11"/>
          <p:cNvSpPr>
            <a:spLocks noGrp="1"/>
          </p:cNvSpPr>
          <p:nvPr>
            <p:ph type="body" sz="quarter" idx="36"/>
          </p:nvPr>
        </p:nvSpPr>
        <p:spPr>
          <a:xfrm>
            <a:off x="252414" y="230188"/>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GB"/>
              <a:t>Click to edit Master text styles</a:t>
            </a:r>
          </a:p>
        </p:txBody>
      </p:sp>
      <p:sp>
        <p:nvSpPr>
          <p:cNvPr id="22" name="Text Placeholder 13"/>
          <p:cNvSpPr>
            <a:spLocks noGrp="1"/>
          </p:cNvSpPr>
          <p:nvPr>
            <p:ph type="body" sz="quarter" idx="37"/>
          </p:nvPr>
        </p:nvSpPr>
        <p:spPr>
          <a:xfrm>
            <a:off x="252414" y="683367"/>
            <a:ext cx="8647112" cy="253916"/>
          </a:xfrm>
        </p:spPr>
        <p:txBody>
          <a:bodyPr>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GB"/>
              <a:t>Click to edit Master text styles</a:t>
            </a:r>
          </a:p>
        </p:txBody>
      </p:sp>
    </p:spTree>
    <p:extLst>
      <p:ext uri="{BB962C8B-B14F-4D97-AF65-F5344CB8AC3E}">
        <p14:creationId xmlns:p14="http://schemas.microsoft.com/office/powerpoint/2010/main" val="7586798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2"/>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sz="1800" dirty="0"/>
          </a:p>
        </p:txBody>
      </p:sp>
      <p:sp>
        <p:nvSpPr>
          <p:cNvPr id="5" name="Content Placeholder 4"/>
          <p:cNvSpPr>
            <a:spLocks noGrp="1"/>
          </p:cNvSpPr>
          <p:nvPr>
            <p:ph sz="quarter" idx="32"/>
          </p:nvPr>
        </p:nvSpPr>
        <p:spPr>
          <a:xfrm>
            <a:off x="252413" y="1735872"/>
            <a:ext cx="8639175" cy="2644043"/>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22" name="Rectangle 21"/>
          <p:cNvSpPr/>
          <p:nvPr userDrawn="1"/>
        </p:nvSpPr>
        <p:spPr>
          <a:xfrm>
            <a:off x="0" y="1105321"/>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sz="1800" dirty="0"/>
          </a:p>
        </p:txBody>
      </p:sp>
      <p:sp>
        <p:nvSpPr>
          <p:cNvPr id="15" name="Text Placeholder 11"/>
          <p:cNvSpPr>
            <a:spLocks noGrp="1"/>
          </p:cNvSpPr>
          <p:nvPr>
            <p:ph type="body" sz="quarter" idx="33"/>
          </p:nvPr>
        </p:nvSpPr>
        <p:spPr>
          <a:xfrm>
            <a:off x="252414" y="230188"/>
            <a:ext cx="8647112" cy="369332"/>
          </a:xfrm>
        </p:spPr>
        <p:txBody>
          <a:bodyPr>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a:r>
              <a:rPr lang="en-GB"/>
              <a:t>Click to edit Master text styles</a:t>
            </a:r>
          </a:p>
        </p:txBody>
      </p:sp>
      <p:sp>
        <p:nvSpPr>
          <p:cNvPr id="16" name="Text Placeholder 13"/>
          <p:cNvSpPr>
            <a:spLocks noGrp="1"/>
          </p:cNvSpPr>
          <p:nvPr>
            <p:ph type="body" sz="quarter" idx="34"/>
          </p:nvPr>
        </p:nvSpPr>
        <p:spPr>
          <a:xfrm>
            <a:off x="252414" y="683367"/>
            <a:ext cx="8647112" cy="253916"/>
          </a:xfrm>
        </p:spPr>
        <p:txBody>
          <a:bodyPr>
            <a:noAutofit/>
          </a:bodyPr>
          <a:lstStyle>
            <a:lvl1pPr marL="358753" indent="-342880">
              <a:buFontTx/>
              <a:buNone/>
              <a:defRPr sz="1600">
                <a:solidFill>
                  <a:schemeClr val="bg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GB"/>
              <a:t>Click to edit Master text styles</a:t>
            </a:r>
          </a:p>
        </p:txBody>
      </p:sp>
    </p:spTree>
    <p:extLst>
      <p:ext uri="{BB962C8B-B14F-4D97-AF65-F5344CB8AC3E}">
        <p14:creationId xmlns:p14="http://schemas.microsoft.com/office/powerpoint/2010/main" val="7489966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Click To Edit Optional Subtitle</a:t>
            </a:r>
          </a:p>
        </p:txBody>
      </p:sp>
      <p:pic>
        <p:nvPicPr>
          <p:cNvPr id="13" name="Picture 12"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6950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7198037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dirty="0"/>
              <a:t>Click icon to add picture</a:t>
            </a:r>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
        <p:nvSpPr>
          <p:cNvPr id="14" name="Footer Placeholder 4"/>
          <p:cNvSpPr>
            <a:spLocks noGrp="1"/>
          </p:cNvSpPr>
          <p:nvPr>
            <p:ph type="ftr" sz="quarter" idx="3"/>
          </p:nvPr>
        </p:nvSpPr>
        <p:spPr>
          <a:xfrm>
            <a:off x="252415"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err="1"/>
              <a:t>Presented</a:t>
            </a:r>
            <a:r>
              <a:rPr lang="fr-FR"/>
              <a:t> by: </a:t>
            </a:r>
          </a:p>
          <a:p>
            <a:pPr lvl="0"/>
            <a:r>
              <a:rPr lang="fr-FR"/>
              <a:t>Date: </a:t>
            </a:r>
          </a:p>
          <a:p>
            <a:pPr lvl="0"/>
            <a:endParaRPr lang="fr-FR"/>
          </a:p>
          <a:p>
            <a:pPr lvl="0"/>
            <a:endParaRPr lang="fr-FR"/>
          </a:p>
          <a:p>
            <a:pPr lvl="0"/>
            <a:endParaRPr lang="fr-FR"/>
          </a:p>
          <a:p>
            <a:pPr lvl="0"/>
            <a:endParaRPr lang="fr-FR"/>
          </a:p>
          <a:p>
            <a:pPr lvl="0"/>
            <a:endParaRPr lang="fr-FR"/>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dirty="0"/>
          </a:p>
        </p:txBody>
      </p:sp>
    </p:spTree>
    <p:extLst>
      <p:ext uri="{BB962C8B-B14F-4D97-AF65-F5344CB8AC3E}">
        <p14:creationId xmlns:p14="http://schemas.microsoft.com/office/powerpoint/2010/main" val="4486562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8993821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4605849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1981308"/>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a:t>Click To Edit Section Title</a:t>
            </a:r>
          </a:p>
        </p:txBody>
      </p:sp>
      <p:sp>
        <p:nvSpPr>
          <p:cNvPr id="4" name="Text Placeholder 9"/>
          <p:cNvSpPr>
            <a:spLocks noGrp="1"/>
          </p:cNvSpPr>
          <p:nvPr>
            <p:ph type="body" sz="quarter" idx="11" hasCustomPrompt="1"/>
          </p:nvPr>
        </p:nvSpPr>
        <p:spPr>
          <a:xfrm>
            <a:off x="0" y="1608245"/>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a:t>Click To Edit Optional Subtitle</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White_RGB.png"/>
          <p:cNvPicPr>
            <a:picLocks noChangeAspect="1"/>
          </p:cNvPicPr>
          <p:nvPr userDrawn="1"/>
        </p:nvPicPr>
        <p:blipFill>
          <a:blip r:embed="rId2" cstate="print"/>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1182007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0" y="-2"/>
            <a:ext cx="4578351"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a:t>Insert Your Content Here</a:t>
            </a:r>
          </a:p>
        </p:txBody>
      </p:sp>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6017431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hasCustomPrompt="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baseline="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Agenda (edit text)</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10" name="Rechteck 7"/>
          <p:cNvSpPr/>
          <p:nvPr userDrawn="1"/>
        </p:nvSpPr>
        <p:spPr>
          <a:xfrm>
            <a:off x="5032059"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11" name="Rechteck 8"/>
          <p:cNvSpPr/>
          <p:nvPr userDrawn="1"/>
        </p:nvSpPr>
        <p:spPr>
          <a:xfrm>
            <a:off x="5616268"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dirty="0">
              <a:solidFill>
                <a:schemeClr val="accent1"/>
              </a:solidFill>
              <a:latin typeface="+mn-lt"/>
              <a:cs typeface="Arial" pitchFamily="34" charset="0"/>
            </a:endParaRPr>
          </a:p>
        </p:txBody>
      </p:sp>
      <p:sp>
        <p:nvSpPr>
          <p:cNvPr id="12" name="Rechteck 10"/>
          <p:cNvSpPr/>
          <p:nvPr userDrawn="1"/>
        </p:nvSpPr>
        <p:spPr>
          <a:xfrm>
            <a:off x="5028791"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13" name="Rechteck 11"/>
          <p:cNvSpPr/>
          <p:nvPr userDrawn="1"/>
        </p:nvSpPr>
        <p:spPr>
          <a:xfrm>
            <a:off x="5624172"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31" name="Rechteck 10"/>
          <p:cNvSpPr/>
          <p:nvPr userDrawn="1"/>
        </p:nvSpPr>
        <p:spPr>
          <a:xfrm>
            <a:off x="5028791"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32" name="Rechteck 11"/>
          <p:cNvSpPr/>
          <p:nvPr userDrawn="1"/>
        </p:nvSpPr>
        <p:spPr>
          <a:xfrm>
            <a:off x="5624172"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5" name="Rechteck 10"/>
          <p:cNvSpPr/>
          <p:nvPr userDrawn="1"/>
        </p:nvSpPr>
        <p:spPr>
          <a:xfrm>
            <a:off x="5028791"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6" name="Rechteck 11"/>
          <p:cNvSpPr/>
          <p:nvPr userDrawn="1"/>
        </p:nvSpPr>
        <p:spPr>
          <a:xfrm>
            <a:off x="5624172"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7" name="Rechteck 10"/>
          <p:cNvSpPr/>
          <p:nvPr userDrawn="1"/>
        </p:nvSpPr>
        <p:spPr>
          <a:xfrm>
            <a:off x="5028791"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8" name="Rechteck 11"/>
          <p:cNvSpPr/>
          <p:nvPr userDrawn="1"/>
        </p:nvSpPr>
        <p:spPr>
          <a:xfrm>
            <a:off x="5624172"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49" name="Rechteck 10"/>
          <p:cNvSpPr/>
          <p:nvPr userDrawn="1"/>
        </p:nvSpPr>
        <p:spPr>
          <a:xfrm>
            <a:off x="5028791"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0" name="Rechteck 11"/>
          <p:cNvSpPr/>
          <p:nvPr userDrawn="1"/>
        </p:nvSpPr>
        <p:spPr>
          <a:xfrm>
            <a:off x="5624172"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51" name="Rechteck 10"/>
          <p:cNvSpPr/>
          <p:nvPr userDrawn="1"/>
        </p:nvSpPr>
        <p:spPr>
          <a:xfrm>
            <a:off x="5028791" y="33956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2" name="Rechteck 11"/>
          <p:cNvSpPr/>
          <p:nvPr userDrawn="1"/>
        </p:nvSpPr>
        <p:spPr>
          <a:xfrm>
            <a:off x="5624172" y="33966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55" name="Rechteck 10"/>
          <p:cNvSpPr/>
          <p:nvPr userDrawn="1"/>
        </p:nvSpPr>
        <p:spPr>
          <a:xfrm>
            <a:off x="5028791" y="391957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6" name="Rechteck 11"/>
          <p:cNvSpPr/>
          <p:nvPr userDrawn="1"/>
        </p:nvSpPr>
        <p:spPr>
          <a:xfrm>
            <a:off x="5624172" y="3920561"/>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dirty="0">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5004100" y="382137"/>
            <a:ext cx="509596" cy="210641"/>
          </a:xfrm>
          <a:prstGeom prst="rect">
            <a:avLst/>
          </a:prstGeom>
        </p:spPr>
        <p:txBody>
          <a:bodyPr anchor="ctr"/>
          <a:lstStyle>
            <a:lvl1pPr algn="ctr">
              <a:buNone/>
              <a:defRPr sz="1300" b="1">
                <a:solidFill>
                  <a:schemeClr val="accent1"/>
                </a:solidFill>
              </a:defRPr>
            </a:lvl1pPr>
          </a:lstStyle>
          <a:p>
            <a:r>
              <a:rPr lang="en-US"/>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26" name="Text Placeholder 4"/>
          <p:cNvSpPr>
            <a:spLocks noGrp="1"/>
          </p:cNvSpPr>
          <p:nvPr userDrawn="1">
            <p:ph type="body" sz="quarter" idx="15" hasCustomPrompt="1"/>
          </p:nvPr>
        </p:nvSpPr>
        <p:spPr>
          <a:xfrm>
            <a:off x="5006372" y="875737"/>
            <a:ext cx="509596" cy="210641"/>
          </a:xfrm>
          <a:prstGeom prst="rect">
            <a:avLst/>
          </a:prstGeom>
        </p:spPr>
        <p:txBody>
          <a:bodyPr anchor="ctr"/>
          <a:lstStyle>
            <a:lvl1pPr algn="ctr">
              <a:buNone/>
              <a:defRPr sz="1300" b="1">
                <a:solidFill>
                  <a:schemeClr val="accent1"/>
                </a:solidFill>
              </a:defRPr>
            </a:lvl1pPr>
          </a:lstStyle>
          <a:p>
            <a:r>
              <a:rPr lang="en-US"/>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27" name="Text Placeholder 4"/>
          <p:cNvSpPr>
            <a:spLocks noGrp="1"/>
          </p:cNvSpPr>
          <p:nvPr userDrawn="1">
            <p:ph type="body" sz="quarter" idx="16" hasCustomPrompt="1"/>
          </p:nvPr>
        </p:nvSpPr>
        <p:spPr>
          <a:xfrm>
            <a:off x="4994996" y="1410281"/>
            <a:ext cx="509596" cy="210641"/>
          </a:xfrm>
          <a:prstGeom prst="rect">
            <a:avLst/>
          </a:prstGeom>
        </p:spPr>
        <p:txBody>
          <a:bodyPr anchor="ctr"/>
          <a:lstStyle>
            <a:lvl1pPr algn="ctr">
              <a:buNone/>
              <a:defRPr sz="1300" b="1">
                <a:solidFill>
                  <a:schemeClr val="accent1"/>
                </a:solidFill>
              </a:defRPr>
            </a:lvl1pPr>
          </a:lstStyle>
          <a:p>
            <a:r>
              <a:rPr lang="en-US"/>
              <a:t>3</a:t>
            </a:r>
          </a:p>
        </p:txBody>
      </p:sp>
      <p:sp>
        <p:nvSpPr>
          <p:cNvPr id="28" name="Text Placeholder 4"/>
          <p:cNvSpPr>
            <a:spLocks noGrp="1"/>
          </p:cNvSpPr>
          <p:nvPr userDrawn="1">
            <p:ph type="body" sz="quarter" idx="17" hasCustomPrompt="1"/>
          </p:nvPr>
        </p:nvSpPr>
        <p:spPr>
          <a:xfrm>
            <a:off x="5620528" y="1423929"/>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29" name="Text Placeholder 4"/>
          <p:cNvSpPr>
            <a:spLocks noGrp="1"/>
          </p:cNvSpPr>
          <p:nvPr userDrawn="1">
            <p:ph type="body" sz="quarter" idx="18" hasCustomPrompt="1"/>
          </p:nvPr>
        </p:nvSpPr>
        <p:spPr>
          <a:xfrm>
            <a:off x="4992724" y="1926633"/>
            <a:ext cx="509596" cy="210641"/>
          </a:xfrm>
          <a:prstGeom prst="rect">
            <a:avLst/>
          </a:prstGeom>
        </p:spPr>
        <p:txBody>
          <a:bodyPr anchor="ctr"/>
          <a:lstStyle>
            <a:lvl1pPr algn="ctr">
              <a:buNone/>
              <a:defRPr sz="1300" b="1">
                <a:solidFill>
                  <a:schemeClr val="accent1"/>
                </a:solidFill>
              </a:defRPr>
            </a:lvl1pPr>
          </a:lstStyle>
          <a:p>
            <a:r>
              <a:rPr lang="en-US"/>
              <a:t>4</a:t>
            </a:r>
          </a:p>
        </p:txBody>
      </p:sp>
      <p:sp>
        <p:nvSpPr>
          <p:cNvPr id="30" name="Text Placeholder 4"/>
          <p:cNvSpPr>
            <a:spLocks noGrp="1"/>
          </p:cNvSpPr>
          <p:nvPr userDrawn="1">
            <p:ph type="body" sz="quarter" idx="19" hasCustomPrompt="1"/>
          </p:nvPr>
        </p:nvSpPr>
        <p:spPr>
          <a:xfrm>
            <a:off x="5618256" y="1940281"/>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3" name="Text Placeholder 4"/>
          <p:cNvSpPr>
            <a:spLocks noGrp="1"/>
          </p:cNvSpPr>
          <p:nvPr userDrawn="1">
            <p:ph type="body" sz="quarter" idx="20" hasCustomPrompt="1"/>
          </p:nvPr>
        </p:nvSpPr>
        <p:spPr>
          <a:xfrm>
            <a:off x="4994996" y="2420233"/>
            <a:ext cx="509596" cy="210641"/>
          </a:xfrm>
          <a:prstGeom prst="rect">
            <a:avLst/>
          </a:prstGeom>
        </p:spPr>
        <p:txBody>
          <a:bodyPr anchor="ctr"/>
          <a:lstStyle>
            <a:lvl1pPr algn="ctr">
              <a:buNone/>
              <a:defRPr sz="1300" b="1">
                <a:solidFill>
                  <a:schemeClr val="accent1"/>
                </a:solidFill>
              </a:defRPr>
            </a:lvl1pPr>
          </a:lstStyle>
          <a:p>
            <a:r>
              <a:rPr lang="en-US"/>
              <a:t>5</a:t>
            </a:r>
          </a:p>
        </p:txBody>
      </p:sp>
      <p:sp>
        <p:nvSpPr>
          <p:cNvPr id="34" name="Text Placeholder 4"/>
          <p:cNvSpPr>
            <a:spLocks noGrp="1"/>
          </p:cNvSpPr>
          <p:nvPr userDrawn="1">
            <p:ph type="body" sz="quarter" idx="21" hasCustomPrompt="1"/>
          </p:nvPr>
        </p:nvSpPr>
        <p:spPr>
          <a:xfrm>
            <a:off x="5620528" y="2433881"/>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5" name="Text Placeholder 4"/>
          <p:cNvSpPr>
            <a:spLocks noGrp="1"/>
          </p:cNvSpPr>
          <p:nvPr userDrawn="1">
            <p:ph type="body" sz="quarter" idx="22" hasCustomPrompt="1"/>
          </p:nvPr>
        </p:nvSpPr>
        <p:spPr>
          <a:xfrm>
            <a:off x="4997268" y="2954777"/>
            <a:ext cx="509596" cy="210641"/>
          </a:xfrm>
          <a:prstGeom prst="rect">
            <a:avLst/>
          </a:prstGeom>
        </p:spPr>
        <p:txBody>
          <a:bodyPr anchor="ctr"/>
          <a:lstStyle>
            <a:lvl1pPr algn="ctr">
              <a:buNone/>
              <a:defRPr sz="1300" b="1">
                <a:solidFill>
                  <a:schemeClr val="accent1"/>
                </a:solidFill>
              </a:defRPr>
            </a:lvl1pPr>
          </a:lstStyle>
          <a:p>
            <a:r>
              <a:rPr lang="en-US"/>
              <a:t>6</a:t>
            </a:r>
          </a:p>
        </p:txBody>
      </p:sp>
      <p:sp>
        <p:nvSpPr>
          <p:cNvPr id="36" name="Text Placeholder 4"/>
          <p:cNvSpPr>
            <a:spLocks noGrp="1"/>
          </p:cNvSpPr>
          <p:nvPr userDrawn="1">
            <p:ph type="body" sz="quarter" idx="23" hasCustomPrompt="1"/>
          </p:nvPr>
        </p:nvSpPr>
        <p:spPr>
          <a:xfrm>
            <a:off x="5609152" y="2968425"/>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7" name="Text Placeholder 4"/>
          <p:cNvSpPr>
            <a:spLocks noGrp="1"/>
          </p:cNvSpPr>
          <p:nvPr userDrawn="1">
            <p:ph type="body" sz="quarter" idx="24" hasCustomPrompt="1"/>
          </p:nvPr>
        </p:nvSpPr>
        <p:spPr>
          <a:xfrm>
            <a:off x="4983620" y="3487049"/>
            <a:ext cx="509596" cy="210641"/>
          </a:xfrm>
          <a:prstGeom prst="rect">
            <a:avLst/>
          </a:prstGeom>
        </p:spPr>
        <p:txBody>
          <a:bodyPr anchor="ctr"/>
          <a:lstStyle>
            <a:lvl1pPr algn="ctr">
              <a:buNone/>
              <a:defRPr sz="1300" b="1">
                <a:solidFill>
                  <a:schemeClr val="accent1"/>
                </a:solidFill>
              </a:defRPr>
            </a:lvl1pPr>
          </a:lstStyle>
          <a:p>
            <a:r>
              <a:rPr lang="en-US"/>
              <a:t>7</a:t>
            </a:r>
          </a:p>
        </p:txBody>
      </p:sp>
      <p:sp>
        <p:nvSpPr>
          <p:cNvPr id="38" name="Text Placeholder 4"/>
          <p:cNvSpPr>
            <a:spLocks noGrp="1"/>
          </p:cNvSpPr>
          <p:nvPr userDrawn="1">
            <p:ph type="body" sz="quarter" idx="25" hasCustomPrompt="1"/>
          </p:nvPr>
        </p:nvSpPr>
        <p:spPr>
          <a:xfrm>
            <a:off x="5622800" y="3500697"/>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9" name="Text Placeholder 4"/>
          <p:cNvSpPr>
            <a:spLocks noGrp="1"/>
          </p:cNvSpPr>
          <p:nvPr userDrawn="1">
            <p:ph type="body" sz="quarter" idx="26" hasCustomPrompt="1"/>
          </p:nvPr>
        </p:nvSpPr>
        <p:spPr>
          <a:xfrm>
            <a:off x="4985892" y="4021593"/>
            <a:ext cx="509596" cy="210641"/>
          </a:xfrm>
          <a:prstGeom prst="rect">
            <a:avLst/>
          </a:prstGeom>
        </p:spPr>
        <p:txBody>
          <a:bodyPr anchor="ctr"/>
          <a:lstStyle>
            <a:lvl1pPr algn="ctr">
              <a:buNone/>
              <a:defRPr sz="1300" b="1">
                <a:solidFill>
                  <a:schemeClr val="accent1"/>
                </a:solidFill>
              </a:defRPr>
            </a:lvl1pPr>
          </a:lstStyle>
          <a:p>
            <a:r>
              <a:rPr lang="en-US"/>
              <a:t>8</a:t>
            </a:r>
          </a:p>
        </p:txBody>
      </p:sp>
      <p:sp>
        <p:nvSpPr>
          <p:cNvPr id="40" name="Text Placeholder 4"/>
          <p:cNvSpPr>
            <a:spLocks noGrp="1"/>
          </p:cNvSpPr>
          <p:nvPr userDrawn="1">
            <p:ph type="body" sz="quarter" idx="27" hasCustomPrompt="1"/>
          </p:nvPr>
        </p:nvSpPr>
        <p:spPr>
          <a:xfrm>
            <a:off x="5611424" y="4035241"/>
            <a:ext cx="3145878" cy="208365"/>
          </a:xfrm>
          <a:prstGeom prst="rect">
            <a:avLst/>
          </a:prstGeom>
        </p:spPr>
        <p:txBody>
          <a:bodyPr anchor="ctr"/>
          <a:lstStyle>
            <a:lvl1pPr>
              <a:buNone/>
              <a:defRPr sz="1300" b="1">
                <a:solidFill>
                  <a:schemeClr val="accent1"/>
                </a:solidFill>
              </a:defRPr>
            </a:lvl1pPr>
          </a:lstStyle>
          <a:p>
            <a:r>
              <a:rPr lang="en-US"/>
              <a:t>Edit text</a:t>
            </a:r>
          </a:p>
        </p:txBody>
      </p:sp>
    </p:spTree>
    <p:extLst>
      <p:ext uri="{BB962C8B-B14F-4D97-AF65-F5344CB8AC3E}">
        <p14:creationId xmlns:p14="http://schemas.microsoft.com/office/powerpoint/2010/main" val="4825542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a:t>Insert Your Content Here</a:t>
            </a:r>
          </a:p>
        </p:txBody>
      </p:sp>
      <p:sp>
        <p:nvSpPr>
          <p:cNvPr id="3" name="Content Placeholder 12"/>
          <p:cNvSpPr>
            <a:spLocks noGrp="1"/>
          </p:cNvSpPr>
          <p:nvPr>
            <p:ph sz="quarter" idx="11"/>
          </p:nvPr>
        </p:nvSpPr>
        <p:spPr>
          <a:xfrm>
            <a:off x="252413" y="982952"/>
            <a:ext cx="3749962" cy="3418927"/>
          </a:xfrm>
          <a:prstGeom prst="rect">
            <a:avLst/>
          </a:prstGeom>
          <a:noFill/>
        </p:spPr>
        <p:txBody>
          <a:bodyPr vert="horz" wrap="square" lIns="0" tIns="0" rIns="0" bIns="0">
            <a:noAutofit/>
          </a:bodyPr>
          <a:lstStyle>
            <a:lvl1pPr marL="236538" indent="-236538">
              <a:buClr>
                <a:schemeClr val="tx2"/>
              </a:buClr>
              <a:buFont typeface="Arial" panose="020B0604020202020204" pitchFamily="34" charset="0"/>
              <a:buNone/>
              <a:defRPr sz="1800">
                <a:solidFill>
                  <a:schemeClr val="accent1"/>
                </a:solidFill>
              </a:defRPr>
            </a:lvl1pPr>
            <a:lvl2pPr marL="457200" indent="-220663">
              <a:buClr>
                <a:schemeClr val="tx2"/>
              </a:buClr>
              <a:buFont typeface="Arial" panose="020B0604020202020204" pitchFamily="34" charset="0"/>
              <a:buChar char="•"/>
              <a:defRPr sz="1600">
                <a:solidFill>
                  <a:schemeClr val="accent1"/>
                </a:solidFill>
              </a:defRPr>
            </a:lvl2pPr>
            <a:lvl3pPr marL="630238" indent="-173038">
              <a:buClr>
                <a:schemeClr val="tx2"/>
              </a:buClr>
              <a:buFont typeface="Arial" panose="020B0604020202020204" pitchFamily="34" charset="0"/>
              <a:buChar char="•"/>
              <a:defRPr sz="14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10" name="Picture 9"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5458230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anchor="ctr" anchorCtr="0">
            <a:noAutofit/>
          </a:bodyPr>
          <a:lstStyle>
            <a:lvl1pPr algn="l">
              <a:defRPr sz="2400" baseline="0">
                <a:solidFill>
                  <a:schemeClr val="tx2"/>
                </a:solidFill>
              </a:defRPr>
            </a:lvl1pPr>
          </a:lstStyle>
          <a:p>
            <a:r>
              <a:rPr lang="en-US"/>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anchor="ctr" anchorCtr="0">
            <a:noAutofit/>
          </a:bodyPr>
          <a:lstStyle>
            <a:lvl1pPr marL="0" indent="0">
              <a:buNone/>
              <a:defRPr sz="1400" baseline="0">
                <a:solidFill>
                  <a:schemeClr val="accent1"/>
                </a:solidFill>
              </a:defRPr>
            </a:lvl1pPr>
          </a:lstStyle>
          <a:p>
            <a:pPr lvl="0"/>
            <a:r>
              <a:rPr lang="en-US"/>
              <a:t>Click To Edit Optional Subtitle</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1888829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a:t>CLICK TO EDIT QUOTE OR CALLOUT</a:t>
            </a:r>
          </a:p>
        </p:txBody>
      </p:sp>
    </p:spTree>
    <p:extLst>
      <p:ext uri="{BB962C8B-B14F-4D97-AF65-F5344CB8AC3E}">
        <p14:creationId xmlns:p14="http://schemas.microsoft.com/office/powerpoint/2010/main" val="26215771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w/ Image 2">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1981308"/>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a:t>Click To Edit Section Title</a:t>
            </a:r>
          </a:p>
        </p:txBody>
      </p:sp>
      <p:sp>
        <p:nvSpPr>
          <p:cNvPr id="4" name="Text Placeholder 9"/>
          <p:cNvSpPr>
            <a:spLocks noGrp="1"/>
          </p:cNvSpPr>
          <p:nvPr>
            <p:ph type="body" sz="quarter" idx="11" hasCustomPrompt="1"/>
          </p:nvPr>
        </p:nvSpPr>
        <p:spPr>
          <a:xfrm>
            <a:off x="0" y="1608245"/>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a:t>Click To Edit Optional 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25293" y="4601873"/>
            <a:ext cx="1800991" cy="446646"/>
          </a:xfrm>
          <a:prstGeom prst="rect">
            <a:avLst/>
          </a:prstGeom>
        </p:spPr>
      </p:pic>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9458371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rgbClr val="00B0F0"/>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6822393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wrap="square" lIns="0" tIns="0" rIns="0" bIns="0" anchor="t">
            <a:noAutofit/>
          </a:bodyPr>
          <a:lstStyle>
            <a:lvl1pPr marL="0" indent="0" algn="ctr">
              <a:buFont typeface="Arial"/>
              <a:buNone/>
              <a:defRPr sz="4000">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wrap="square"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2373144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a:t>CLICK TO EDIT QUOTE OR CALLOUT</a:t>
            </a:r>
          </a:p>
        </p:txBody>
      </p:sp>
      <p:sp>
        <p:nvSpPr>
          <p:cNvPr id="10"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11" name="Picture 10" descr="schneider_LIO_White_RGB.png"/>
          <p:cNvPicPr>
            <a:picLocks noChangeAspect="1"/>
          </p:cNvPicPr>
          <p:nvPr userDrawn="1"/>
        </p:nvPicPr>
        <p:blipFill>
          <a:blip r:embed="rId2" cstate="print"/>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27207590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7" name="Picture 6" descr="schneider_LIO_White_RGB.png"/>
          <p:cNvPicPr>
            <a:picLocks noChangeAspect="1"/>
          </p:cNvPicPr>
          <p:nvPr userDrawn="1"/>
        </p:nvPicPr>
        <p:blipFill>
          <a:blip r:embed="rId2" cstate="print"/>
          <a:stretch>
            <a:fillRect/>
          </a:stretch>
        </p:blipFill>
        <p:spPr>
          <a:xfrm>
            <a:off x="7105948" y="4510059"/>
            <a:ext cx="1907005" cy="525789"/>
          </a:xfrm>
          <a:prstGeom prst="rect">
            <a:avLst/>
          </a:prstGeom>
        </p:spPr>
      </p:pic>
      <p:sp>
        <p:nvSpPr>
          <p:cNvPr id="12"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966" tIns="0" rIns="0" bIns="0" anchor="ctr" anchorCtr="0"/>
          <a:lstStyle>
            <a:lvl1pPr algn="l">
              <a:defRPr sz="2400" baseline="0">
                <a:solidFill>
                  <a:srgbClr val="FFFFFF"/>
                </a:solidFill>
              </a:defRPr>
            </a:lvl1pPr>
          </a:lstStyle>
          <a:p>
            <a:r>
              <a:rPr lang="en-US"/>
              <a:t>Click To Edit Section Title</a:t>
            </a:r>
          </a:p>
        </p:txBody>
      </p:sp>
      <p:sp>
        <p:nvSpPr>
          <p:cNvPr id="13" name="Text Placeholder 9"/>
          <p:cNvSpPr>
            <a:spLocks noGrp="1"/>
          </p:cNvSpPr>
          <p:nvPr>
            <p:ph type="body" sz="quarter" idx="11" hasCustomPrompt="1"/>
          </p:nvPr>
        </p:nvSpPr>
        <p:spPr>
          <a:xfrm>
            <a:off x="0" y="2900387"/>
            <a:ext cx="9144000" cy="373063"/>
          </a:xfrm>
          <a:prstGeom prst="rect">
            <a:avLst/>
          </a:prstGeom>
          <a:solidFill>
            <a:schemeClr val="tx2"/>
          </a:solidFill>
        </p:spPr>
        <p:txBody>
          <a:bodyPr lIns="251966" tIns="0" rIns="0" bIns="0" anchor="ctr" anchorCtr="0"/>
          <a:lstStyle>
            <a:lvl1pPr marL="0" indent="0">
              <a:buNone/>
              <a:defRPr sz="1200" baseline="0">
                <a:solidFill>
                  <a:schemeClr val="bg1"/>
                </a:solidFill>
              </a:defRPr>
            </a:lvl1pPr>
          </a:lstStyle>
          <a:p>
            <a:pPr lvl="0"/>
            <a:r>
              <a:rPr lang="en-US"/>
              <a:t>Click To Edit Optional Subtitle</a:t>
            </a:r>
          </a:p>
        </p:txBody>
      </p:sp>
      <p:sp>
        <p:nvSpPr>
          <p:cNvPr id="10"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35005611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24" y="1958662"/>
            <a:ext cx="3559382" cy="981372"/>
          </a:xfrm>
          <a:prstGeom prst="rect">
            <a:avLst/>
          </a:prstGeom>
        </p:spPr>
      </p:pic>
    </p:spTree>
    <p:extLst>
      <p:ext uri="{BB962C8B-B14F-4D97-AF65-F5344CB8AC3E}">
        <p14:creationId xmlns:p14="http://schemas.microsoft.com/office/powerpoint/2010/main" val="34041971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Standard Layout">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2092" name="think-cell Slide" r:id="rId5" imgW="360" imgH="360" progId="TCLayout.ActiveDocument.1">
                  <p:embed/>
                </p:oleObj>
              </mc:Choice>
              <mc:Fallback>
                <p:oleObj name="think-cell Slide" r:id="rId5" imgW="360" imgH="360" progId="TCLayout.ActiveDocument.1">
                  <p:embed/>
                  <p:pic>
                    <p:nvPicPr>
                      <p:cNvPr id="2" name="Objet 1" hidden="1"/>
                      <p:cNvPicPr/>
                      <p:nvPr/>
                    </p:nvPicPr>
                    <p:blipFill>
                      <a:blip r:embed="rId6"/>
                      <a:stretch>
                        <a:fillRect/>
                      </a:stretch>
                    </p:blipFill>
                    <p:spPr>
                      <a:xfrm>
                        <a:off x="1592" y="1589"/>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A6BAAE1-BE16-4913-97AE-78C99E907225}"/>
              </a:ext>
            </a:extLst>
          </p:cNvPr>
          <p:cNvSpPr/>
          <p:nvPr userDrawn="1">
            <p:custDataLst>
              <p:tags r:id="rId3"/>
            </p:custDataLst>
          </p:nvPr>
        </p:nvSpPr>
        <p:spPr>
          <a:xfrm>
            <a:off x="0" y="0"/>
            <a:ext cx="119062"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Arial" panose="020B0604020202020204" pitchFamily="34" charset="0"/>
              <a:ea typeface="+mj-ea"/>
              <a:cs typeface="+mj-cs"/>
              <a:sym typeface="Arial" panose="020B0604020202020204" pitchFamily="34" charset="0"/>
            </a:endParaRPr>
          </a:p>
        </p:txBody>
      </p:sp>
      <p:pic>
        <p:nvPicPr>
          <p:cNvPr id="48" name="Picture 47">
            <a:extLst>
              <a:ext uri="{FF2B5EF4-FFF2-40B4-BE49-F238E27FC236}">
                <a16:creationId xmlns:a16="http://schemas.microsoft.com/office/drawing/2014/main" id="{50B9BE38-B23E-4651-AAA0-DEFCC83B237E}"/>
              </a:ext>
            </a:extLst>
          </p:cNvPr>
          <p:cNvPicPr>
            <a:picLocks noChangeAspect="1"/>
          </p:cNvPicPr>
          <p:nvPr userDrawn="1"/>
        </p:nvPicPr>
        <p:blipFill rotWithShape="1">
          <a:blip r:embed="rId7" cstate="email">
            <a:extLst>
              <a:ext uri="{28A0092B-C50C-407E-A947-70E740481C1C}">
                <a14:useLocalDpi xmlns:a14="http://schemas.microsoft.com/office/drawing/2010/main" val="0"/>
              </a:ext>
            </a:extLst>
          </a:blip>
          <a:srcRect r="-1125" b="9838"/>
          <a:stretch/>
        </p:blipFill>
        <p:spPr>
          <a:xfrm>
            <a:off x="-1863" y="-1"/>
            <a:ext cx="9241676" cy="5149859"/>
          </a:xfrm>
          <a:prstGeom prst="rect">
            <a:avLst/>
          </a:prstGeom>
        </p:spPr>
      </p:pic>
      <p:sp>
        <p:nvSpPr>
          <p:cNvPr id="49" name="object 3">
            <a:extLst>
              <a:ext uri="{FF2B5EF4-FFF2-40B4-BE49-F238E27FC236}">
                <a16:creationId xmlns:a16="http://schemas.microsoft.com/office/drawing/2014/main" id="{25CD1890-32F1-428E-A164-BCA7D7379946}"/>
              </a:ext>
            </a:extLst>
          </p:cNvPr>
          <p:cNvSpPr/>
          <p:nvPr userDrawn="1"/>
        </p:nvSpPr>
        <p:spPr>
          <a:xfrm>
            <a:off x="-7175" y="0"/>
            <a:ext cx="9151175" cy="5149859"/>
          </a:xfrm>
          <a:custGeom>
            <a:avLst/>
            <a:gdLst/>
            <a:ahLst/>
            <a:cxnLst/>
            <a:rect l="l" t="t" r="r" b="b"/>
            <a:pathLst>
              <a:path w="9144000" h="5143500">
                <a:moveTo>
                  <a:pt x="0" y="5143500"/>
                </a:moveTo>
                <a:lnTo>
                  <a:pt x="9144000" y="5143500"/>
                </a:lnTo>
                <a:lnTo>
                  <a:pt x="9144000" y="0"/>
                </a:lnTo>
                <a:lnTo>
                  <a:pt x="0" y="0"/>
                </a:lnTo>
                <a:lnTo>
                  <a:pt x="0" y="5143500"/>
                </a:lnTo>
                <a:close/>
              </a:path>
            </a:pathLst>
          </a:custGeom>
          <a:solidFill>
            <a:srgbClr val="000000">
              <a:alpha val="69804"/>
            </a:srgbClr>
          </a:solidFill>
        </p:spPr>
        <p:txBody>
          <a:bodyPr wrap="square" lIns="0" tIns="0" rIns="0" bIns="0" rtlCol="0"/>
          <a:lstStyle/>
          <a:p>
            <a:endParaRPr sz="1350" dirty="0"/>
          </a:p>
        </p:txBody>
      </p:sp>
      <p:pic>
        <p:nvPicPr>
          <p:cNvPr id="50" name="Picture 49">
            <a:extLst>
              <a:ext uri="{FF2B5EF4-FFF2-40B4-BE49-F238E27FC236}">
                <a16:creationId xmlns:a16="http://schemas.microsoft.com/office/drawing/2014/main" id="{A2DE2203-73EE-4121-8B25-4C4BF5807EB1}"/>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664734" y="4702323"/>
            <a:ext cx="1031462" cy="214227"/>
          </a:xfrm>
          <a:prstGeom prst="rect">
            <a:avLst/>
          </a:prstGeom>
        </p:spPr>
      </p:pic>
      <p:sp>
        <p:nvSpPr>
          <p:cNvPr id="51" name="Slide Number Placeholder 2">
            <a:extLst>
              <a:ext uri="{FF2B5EF4-FFF2-40B4-BE49-F238E27FC236}">
                <a16:creationId xmlns:a16="http://schemas.microsoft.com/office/drawing/2014/main" id="{1FD03043-0AE4-454E-9F61-5D151A072A89}"/>
              </a:ext>
            </a:extLst>
          </p:cNvPr>
          <p:cNvSpPr txBox="1">
            <a:spLocks/>
          </p:cNvSpPr>
          <p:nvPr userDrawn="1"/>
        </p:nvSpPr>
        <p:spPr>
          <a:xfrm>
            <a:off x="1739940" y="4859006"/>
            <a:ext cx="525553" cy="923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70"/>
            <a:r>
              <a:rPr lang="en-US" sz="600" dirty="0">
                <a:solidFill>
                  <a:srgbClr val="3DCD58"/>
                </a:solidFill>
                <a:latin typeface="Arial" panose="020B0604020202020204" pitchFamily="34" charset="0"/>
                <a:cs typeface="Arial" panose="020B0604020202020204" pitchFamily="34" charset="0"/>
              </a:rPr>
              <a:t>Page </a:t>
            </a:r>
            <a:fld id="{5A9C12DC-491F-9444-86A2-13AC5C62A2FC}" type="slidenum">
              <a:rPr lang="en-US" sz="600">
                <a:solidFill>
                  <a:srgbClr val="3DCD58"/>
                </a:solidFill>
                <a:latin typeface="Arial" panose="020B0604020202020204" pitchFamily="34" charset="0"/>
                <a:cs typeface="Arial" panose="020B0604020202020204" pitchFamily="34" charset="0"/>
              </a:rPr>
              <a:pPr algn="ctr" defTabSz="457070"/>
              <a:t>‹#›</a:t>
            </a:fld>
            <a:endParaRPr lang="en-US" sz="600" dirty="0">
              <a:solidFill>
                <a:srgbClr val="3DCD58"/>
              </a:solidFill>
              <a:latin typeface="Arial" panose="020B0604020202020204" pitchFamily="34" charset="0"/>
              <a:cs typeface="Arial" panose="020B0604020202020204" pitchFamily="34" charset="0"/>
            </a:endParaRPr>
          </a:p>
        </p:txBody>
      </p:sp>
      <p:sp>
        <p:nvSpPr>
          <p:cNvPr id="52" name="Footer Placeholder 3">
            <a:extLst>
              <a:ext uri="{FF2B5EF4-FFF2-40B4-BE49-F238E27FC236}">
                <a16:creationId xmlns:a16="http://schemas.microsoft.com/office/drawing/2014/main" id="{6ED994D1-F1CF-41A3-8A29-EB927E1E1E2C}"/>
              </a:ext>
            </a:extLst>
          </p:cNvPr>
          <p:cNvSpPr txBox="1">
            <a:spLocks/>
          </p:cNvSpPr>
          <p:nvPr userDrawn="1"/>
        </p:nvSpPr>
        <p:spPr>
          <a:xfrm>
            <a:off x="253539" y="4857156"/>
            <a:ext cx="3384470" cy="941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70"/>
            <a:r>
              <a:rPr lang="en-US" sz="600" dirty="0">
                <a:solidFill>
                  <a:srgbClr val="626469"/>
                </a:solidFill>
                <a:latin typeface="Arial" panose="020B0604020202020204" pitchFamily="34" charset="0"/>
                <a:cs typeface="Arial" panose="020B0604020202020204" pitchFamily="34" charset="0"/>
              </a:rPr>
              <a:t>Confidential Property of Schneider Electric | </a:t>
            </a:r>
          </a:p>
        </p:txBody>
      </p:sp>
      <p:sp>
        <p:nvSpPr>
          <p:cNvPr id="89" name="Holder 2">
            <a:extLst>
              <a:ext uri="{FF2B5EF4-FFF2-40B4-BE49-F238E27FC236}">
                <a16:creationId xmlns:a16="http://schemas.microsoft.com/office/drawing/2014/main" id="{578F1C43-C033-4920-826E-488BDE382160}"/>
              </a:ext>
            </a:extLst>
          </p:cNvPr>
          <p:cNvSpPr>
            <a:spLocks noGrp="1"/>
          </p:cNvSpPr>
          <p:nvPr>
            <p:ph type="title"/>
          </p:nvPr>
        </p:nvSpPr>
        <p:spPr>
          <a:xfrm>
            <a:off x="304893" y="352005"/>
            <a:ext cx="8049957" cy="357791"/>
          </a:xfrm>
          <a:prstGeom prst="rect">
            <a:avLst/>
          </a:prstGeom>
        </p:spPr>
        <p:txBody>
          <a:bodyPr lIns="0" tIns="0" rIns="0" bIns="0"/>
          <a:lstStyle>
            <a:lvl1pPr algn="l">
              <a:defRPr sz="2300" b="1" i="0">
                <a:solidFill>
                  <a:srgbClr val="3CC957"/>
                </a:solidFill>
                <a:latin typeface="Arial"/>
                <a:cs typeface="Arial"/>
              </a:defRPr>
            </a:lvl1pPr>
          </a:lstStyle>
          <a:p>
            <a:endParaRPr/>
          </a:p>
        </p:txBody>
      </p:sp>
      <p:sp>
        <p:nvSpPr>
          <p:cNvPr id="91" name="Text Placeholder 90">
            <a:extLst>
              <a:ext uri="{FF2B5EF4-FFF2-40B4-BE49-F238E27FC236}">
                <a16:creationId xmlns:a16="http://schemas.microsoft.com/office/drawing/2014/main" id="{EC6A9235-43C6-4B7B-8E6D-F47A6C725A10}"/>
              </a:ext>
            </a:extLst>
          </p:cNvPr>
          <p:cNvSpPr>
            <a:spLocks noGrp="1"/>
          </p:cNvSpPr>
          <p:nvPr>
            <p:ph type="body" sz="quarter" idx="10"/>
          </p:nvPr>
        </p:nvSpPr>
        <p:spPr>
          <a:xfrm>
            <a:off x="304892" y="1390650"/>
            <a:ext cx="8049957" cy="2165350"/>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Tree>
    <p:extLst>
      <p:ext uri="{BB962C8B-B14F-4D97-AF65-F5344CB8AC3E}">
        <p14:creationId xmlns:p14="http://schemas.microsoft.com/office/powerpoint/2010/main" val="4408173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7_Standard Layout">
    <p:spTree>
      <p:nvGrpSpPr>
        <p:cNvPr id="1" name=""/>
        <p:cNvGrpSpPr/>
        <p:nvPr/>
      </p:nvGrpSpPr>
      <p:grpSpPr>
        <a:xfrm>
          <a:off x="0" y="0"/>
          <a:ext cx="0" cy="0"/>
          <a:chOff x="0" y="0"/>
          <a:chExt cx="0" cy="0"/>
        </a:xfrm>
      </p:grpSpPr>
      <p:pic>
        <p:nvPicPr>
          <p:cNvPr id="11" name="Picture Placeholder 35">
            <a:extLst>
              <a:ext uri="{FF2B5EF4-FFF2-40B4-BE49-F238E27FC236}">
                <a16:creationId xmlns:a16="http://schemas.microsoft.com/office/drawing/2014/main" id="{F8157526-379A-483C-8AC4-4D511509C8ED}"/>
              </a:ext>
            </a:extLst>
          </p:cNvPr>
          <p:cNvPicPr>
            <a:picLocks noChangeAspect="1"/>
          </p:cNvPicPr>
          <p:nvPr userDrawn="1"/>
        </p:nvPicPr>
        <p:blipFill rotWithShape="1">
          <a:blip r:embed="rId5" cstate="email">
            <a:extLst>
              <a:ext uri="{28A0092B-C50C-407E-A947-70E740481C1C}">
                <a14:useLocalDpi xmlns:a14="http://schemas.microsoft.com/office/drawing/2010/main" val="0"/>
              </a:ext>
            </a:extLst>
          </a:blip>
          <a:srcRect t="20038" r="16687" b="9763"/>
          <a:stretch/>
        </p:blipFill>
        <p:spPr>
          <a:xfrm flipH="1">
            <a:off x="-1" y="-1"/>
            <a:ext cx="9168453" cy="5149859"/>
          </a:xfrm>
          <a:prstGeom prst="rect">
            <a:avLst/>
          </a:prstGeom>
          <a:solidFill>
            <a:schemeClr val="tx2">
              <a:alpha val="80000"/>
            </a:schemeClr>
          </a:solidFill>
          <a:ln>
            <a:noFill/>
          </a:ln>
        </p:spPr>
      </p:pic>
      <p:graphicFrame>
        <p:nvGraphicFramePr>
          <p:cNvPr id="2" name="Objet 1" hidden="1"/>
          <p:cNvGraphicFramePr>
            <a:graphicFrameLocks noChangeAspect="1"/>
          </p:cNvGraphicFramePr>
          <p:nvPr userDrawn="1">
            <p:custDataLst>
              <p:tags r:id="rId2"/>
            </p:custData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3116" name="think-cell Slide" r:id="rId6" imgW="360" imgH="360" progId="TCLayout.ActiveDocument.1">
                  <p:embed/>
                </p:oleObj>
              </mc:Choice>
              <mc:Fallback>
                <p:oleObj name="think-cell Slide" r:id="rId6" imgW="360" imgH="360" progId="TCLayout.ActiveDocument.1">
                  <p:embed/>
                  <p:pic>
                    <p:nvPicPr>
                      <p:cNvPr id="2" name="Objet 1" hidden="1"/>
                      <p:cNvPicPr/>
                      <p:nvPr/>
                    </p:nvPicPr>
                    <p:blipFill>
                      <a:blip r:embed="rId7"/>
                      <a:stretch>
                        <a:fillRect/>
                      </a:stretch>
                    </p:blipFill>
                    <p:spPr>
                      <a:xfrm>
                        <a:off x="1592" y="1589"/>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A6BAAE1-BE16-4913-97AE-78C99E907225}"/>
              </a:ext>
            </a:extLst>
          </p:cNvPr>
          <p:cNvSpPr/>
          <p:nvPr userDrawn="1">
            <p:custDataLst>
              <p:tags r:id="rId3"/>
            </p:custDataLst>
          </p:nvPr>
        </p:nvSpPr>
        <p:spPr>
          <a:xfrm>
            <a:off x="0" y="0"/>
            <a:ext cx="119062"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Arial" panose="020B0604020202020204" pitchFamily="34" charset="0"/>
              <a:ea typeface="+mj-ea"/>
              <a:cs typeface="+mj-cs"/>
              <a:sym typeface="Arial" panose="020B0604020202020204" pitchFamily="34" charset="0"/>
            </a:endParaRPr>
          </a:p>
        </p:txBody>
      </p:sp>
      <p:sp>
        <p:nvSpPr>
          <p:cNvPr id="49" name="object 3">
            <a:extLst>
              <a:ext uri="{FF2B5EF4-FFF2-40B4-BE49-F238E27FC236}">
                <a16:creationId xmlns:a16="http://schemas.microsoft.com/office/drawing/2014/main" id="{25CD1890-32F1-428E-A164-BCA7D7379946}"/>
              </a:ext>
            </a:extLst>
          </p:cNvPr>
          <p:cNvSpPr/>
          <p:nvPr userDrawn="1"/>
        </p:nvSpPr>
        <p:spPr>
          <a:xfrm>
            <a:off x="0" y="0"/>
            <a:ext cx="9168452" cy="5149859"/>
          </a:xfrm>
          <a:custGeom>
            <a:avLst/>
            <a:gdLst/>
            <a:ahLst/>
            <a:cxnLst/>
            <a:rect l="l" t="t" r="r" b="b"/>
            <a:pathLst>
              <a:path w="9144000" h="5143500">
                <a:moveTo>
                  <a:pt x="0" y="5143500"/>
                </a:moveTo>
                <a:lnTo>
                  <a:pt x="9144000" y="5143500"/>
                </a:lnTo>
                <a:lnTo>
                  <a:pt x="9144000" y="0"/>
                </a:lnTo>
                <a:lnTo>
                  <a:pt x="0" y="0"/>
                </a:lnTo>
                <a:lnTo>
                  <a:pt x="0" y="5143500"/>
                </a:lnTo>
                <a:close/>
              </a:path>
            </a:pathLst>
          </a:custGeom>
          <a:solidFill>
            <a:srgbClr val="000000">
              <a:alpha val="69804"/>
            </a:srgbClr>
          </a:solidFill>
        </p:spPr>
        <p:txBody>
          <a:bodyPr wrap="square" lIns="0" tIns="0" rIns="0" bIns="0" rtlCol="0"/>
          <a:lstStyle/>
          <a:p>
            <a:endParaRPr sz="1350" dirty="0"/>
          </a:p>
        </p:txBody>
      </p:sp>
      <p:pic>
        <p:nvPicPr>
          <p:cNvPr id="50" name="Picture 49">
            <a:extLst>
              <a:ext uri="{FF2B5EF4-FFF2-40B4-BE49-F238E27FC236}">
                <a16:creationId xmlns:a16="http://schemas.microsoft.com/office/drawing/2014/main" id="{A2DE2203-73EE-4121-8B25-4C4BF5807EB1}"/>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664734" y="4702323"/>
            <a:ext cx="1031462" cy="214227"/>
          </a:xfrm>
          <a:prstGeom prst="rect">
            <a:avLst/>
          </a:prstGeom>
        </p:spPr>
      </p:pic>
      <p:sp>
        <p:nvSpPr>
          <p:cNvPr id="51" name="Slide Number Placeholder 2">
            <a:extLst>
              <a:ext uri="{FF2B5EF4-FFF2-40B4-BE49-F238E27FC236}">
                <a16:creationId xmlns:a16="http://schemas.microsoft.com/office/drawing/2014/main" id="{1FD03043-0AE4-454E-9F61-5D151A072A89}"/>
              </a:ext>
            </a:extLst>
          </p:cNvPr>
          <p:cNvSpPr txBox="1">
            <a:spLocks/>
          </p:cNvSpPr>
          <p:nvPr userDrawn="1"/>
        </p:nvSpPr>
        <p:spPr>
          <a:xfrm>
            <a:off x="1739940" y="4859006"/>
            <a:ext cx="525553" cy="923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70"/>
            <a:r>
              <a:rPr lang="en-US" sz="600" dirty="0">
                <a:solidFill>
                  <a:srgbClr val="3DCD58"/>
                </a:solidFill>
                <a:latin typeface="Arial" panose="020B0604020202020204" pitchFamily="34" charset="0"/>
                <a:cs typeface="Arial" panose="020B0604020202020204" pitchFamily="34" charset="0"/>
              </a:rPr>
              <a:t>Page </a:t>
            </a:r>
            <a:fld id="{5A9C12DC-491F-9444-86A2-13AC5C62A2FC}" type="slidenum">
              <a:rPr lang="en-US" sz="600">
                <a:solidFill>
                  <a:srgbClr val="3DCD58"/>
                </a:solidFill>
                <a:latin typeface="Arial" panose="020B0604020202020204" pitchFamily="34" charset="0"/>
                <a:cs typeface="Arial" panose="020B0604020202020204" pitchFamily="34" charset="0"/>
              </a:rPr>
              <a:pPr algn="ctr" defTabSz="457070"/>
              <a:t>‹#›</a:t>
            </a:fld>
            <a:endParaRPr lang="en-US" sz="600" dirty="0">
              <a:solidFill>
                <a:srgbClr val="3DCD58"/>
              </a:solidFill>
              <a:latin typeface="Arial" panose="020B0604020202020204" pitchFamily="34" charset="0"/>
              <a:cs typeface="Arial" panose="020B0604020202020204" pitchFamily="34" charset="0"/>
            </a:endParaRPr>
          </a:p>
        </p:txBody>
      </p:sp>
      <p:sp>
        <p:nvSpPr>
          <p:cNvPr id="52" name="Footer Placeholder 3">
            <a:extLst>
              <a:ext uri="{FF2B5EF4-FFF2-40B4-BE49-F238E27FC236}">
                <a16:creationId xmlns:a16="http://schemas.microsoft.com/office/drawing/2014/main" id="{6ED994D1-F1CF-41A3-8A29-EB927E1E1E2C}"/>
              </a:ext>
            </a:extLst>
          </p:cNvPr>
          <p:cNvSpPr txBox="1">
            <a:spLocks/>
          </p:cNvSpPr>
          <p:nvPr userDrawn="1"/>
        </p:nvSpPr>
        <p:spPr>
          <a:xfrm>
            <a:off x="253539" y="4857156"/>
            <a:ext cx="3384470" cy="941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70"/>
            <a:r>
              <a:rPr lang="en-US" sz="600" dirty="0">
                <a:solidFill>
                  <a:srgbClr val="626469"/>
                </a:solidFill>
                <a:latin typeface="Arial" panose="020B0604020202020204" pitchFamily="34" charset="0"/>
                <a:cs typeface="Arial" panose="020B0604020202020204" pitchFamily="34" charset="0"/>
              </a:rPr>
              <a:t>Confidential Property of Schneider Electric | </a:t>
            </a:r>
          </a:p>
        </p:txBody>
      </p:sp>
      <p:sp>
        <p:nvSpPr>
          <p:cNvPr id="89" name="Holder 2">
            <a:extLst>
              <a:ext uri="{FF2B5EF4-FFF2-40B4-BE49-F238E27FC236}">
                <a16:creationId xmlns:a16="http://schemas.microsoft.com/office/drawing/2014/main" id="{578F1C43-C033-4920-826E-488BDE382160}"/>
              </a:ext>
            </a:extLst>
          </p:cNvPr>
          <p:cNvSpPr>
            <a:spLocks noGrp="1"/>
          </p:cNvSpPr>
          <p:nvPr>
            <p:ph type="title"/>
          </p:nvPr>
        </p:nvSpPr>
        <p:spPr>
          <a:xfrm>
            <a:off x="304893" y="352005"/>
            <a:ext cx="8049957" cy="357791"/>
          </a:xfrm>
          <a:prstGeom prst="rect">
            <a:avLst/>
          </a:prstGeom>
        </p:spPr>
        <p:txBody>
          <a:bodyPr lIns="0" tIns="0" rIns="0" bIns="0"/>
          <a:lstStyle>
            <a:lvl1pPr algn="l">
              <a:defRPr sz="2300" b="1" i="0">
                <a:solidFill>
                  <a:srgbClr val="3CC957"/>
                </a:solidFill>
                <a:latin typeface="Arial"/>
                <a:cs typeface="Arial"/>
              </a:defRPr>
            </a:lvl1pPr>
          </a:lstStyle>
          <a:p>
            <a:endParaRPr/>
          </a:p>
        </p:txBody>
      </p:sp>
      <p:sp>
        <p:nvSpPr>
          <p:cNvPr id="91" name="Text Placeholder 90">
            <a:extLst>
              <a:ext uri="{FF2B5EF4-FFF2-40B4-BE49-F238E27FC236}">
                <a16:creationId xmlns:a16="http://schemas.microsoft.com/office/drawing/2014/main" id="{EC6A9235-43C6-4B7B-8E6D-F47A6C725A10}"/>
              </a:ext>
            </a:extLst>
          </p:cNvPr>
          <p:cNvSpPr>
            <a:spLocks noGrp="1"/>
          </p:cNvSpPr>
          <p:nvPr>
            <p:ph type="body" sz="quarter" idx="10"/>
          </p:nvPr>
        </p:nvSpPr>
        <p:spPr>
          <a:xfrm>
            <a:off x="304892" y="1390650"/>
            <a:ext cx="8049957" cy="2165350"/>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Tree>
    <p:extLst>
      <p:ext uri="{BB962C8B-B14F-4D97-AF65-F5344CB8AC3E}">
        <p14:creationId xmlns:p14="http://schemas.microsoft.com/office/powerpoint/2010/main" val="38877132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8_Standard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589049D-1938-407C-974C-EEAFBE9EF083}"/>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0" y="0"/>
            <a:ext cx="9168452" cy="5157254"/>
          </a:xfrm>
          <a:prstGeom prst="rect">
            <a:avLst/>
          </a:prstGeom>
        </p:spPr>
      </p:pic>
      <p:graphicFrame>
        <p:nvGraphicFramePr>
          <p:cNvPr id="2" name="Objet 1" hidden="1"/>
          <p:cNvGraphicFramePr>
            <a:graphicFrameLocks noChangeAspect="1"/>
          </p:cNvGraphicFramePr>
          <p:nvPr userDrawn="1">
            <p:custDataLst>
              <p:tags r:id="rId2"/>
            </p:custData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4140" name="think-cell Slide" r:id="rId6" imgW="360" imgH="360" progId="TCLayout.ActiveDocument.1">
                  <p:embed/>
                </p:oleObj>
              </mc:Choice>
              <mc:Fallback>
                <p:oleObj name="think-cell Slide" r:id="rId6" imgW="360" imgH="360" progId="TCLayout.ActiveDocument.1">
                  <p:embed/>
                  <p:pic>
                    <p:nvPicPr>
                      <p:cNvPr id="2" name="Objet 1" hidden="1"/>
                      <p:cNvPicPr/>
                      <p:nvPr/>
                    </p:nvPicPr>
                    <p:blipFill>
                      <a:blip r:embed="rId7"/>
                      <a:stretch>
                        <a:fillRect/>
                      </a:stretch>
                    </p:blipFill>
                    <p:spPr>
                      <a:xfrm>
                        <a:off x="1592" y="1589"/>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A6BAAE1-BE16-4913-97AE-78C99E907225}"/>
              </a:ext>
            </a:extLst>
          </p:cNvPr>
          <p:cNvSpPr/>
          <p:nvPr userDrawn="1">
            <p:custDataLst>
              <p:tags r:id="rId3"/>
            </p:custDataLst>
          </p:nvPr>
        </p:nvSpPr>
        <p:spPr>
          <a:xfrm>
            <a:off x="0" y="0"/>
            <a:ext cx="119062"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Arial" panose="020B0604020202020204" pitchFamily="34" charset="0"/>
              <a:ea typeface="+mj-ea"/>
              <a:cs typeface="+mj-cs"/>
              <a:sym typeface="Arial" panose="020B0604020202020204" pitchFamily="34" charset="0"/>
            </a:endParaRPr>
          </a:p>
        </p:txBody>
      </p:sp>
      <p:sp>
        <p:nvSpPr>
          <p:cNvPr id="49" name="object 3">
            <a:extLst>
              <a:ext uri="{FF2B5EF4-FFF2-40B4-BE49-F238E27FC236}">
                <a16:creationId xmlns:a16="http://schemas.microsoft.com/office/drawing/2014/main" id="{25CD1890-32F1-428E-A164-BCA7D7379946}"/>
              </a:ext>
            </a:extLst>
          </p:cNvPr>
          <p:cNvSpPr/>
          <p:nvPr userDrawn="1"/>
        </p:nvSpPr>
        <p:spPr>
          <a:xfrm>
            <a:off x="-12226" y="7395"/>
            <a:ext cx="9168452" cy="5149859"/>
          </a:xfrm>
          <a:custGeom>
            <a:avLst/>
            <a:gdLst/>
            <a:ahLst/>
            <a:cxnLst/>
            <a:rect l="l" t="t" r="r" b="b"/>
            <a:pathLst>
              <a:path w="9144000" h="5143500">
                <a:moveTo>
                  <a:pt x="0" y="5143500"/>
                </a:moveTo>
                <a:lnTo>
                  <a:pt x="9144000" y="5143500"/>
                </a:lnTo>
                <a:lnTo>
                  <a:pt x="9144000" y="0"/>
                </a:lnTo>
                <a:lnTo>
                  <a:pt x="0" y="0"/>
                </a:lnTo>
                <a:lnTo>
                  <a:pt x="0" y="5143500"/>
                </a:lnTo>
                <a:close/>
              </a:path>
            </a:pathLst>
          </a:custGeom>
          <a:solidFill>
            <a:srgbClr val="000000">
              <a:alpha val="69804"/>
            </a:srgbClr>
          </a:solidFill>
        </p:spPr>
        <p:txBody>
          <a:bodyPr wrap="square" lIns="0" tIns="0" rIns="0" bIns="0" rtlCol="0"/>
          <a:lstStyle/>
          <a:p>
            <a:endParaRPr sz="1350" dirty="0"/>
          </a:p>
        </p:txBody>
      </p:sp>
      <p:pic>
        <p:nvPicPr>
          <p:cNvPr id="50" name="Picture 49">
            <a:extLst>
              <a:ext uri="{FF2B5EF4-FFF2-40B4-BE49-F238E27FC236}">
                <a16:creationId xmlns:a16="http://schemas.microsoft.com/office/drawing/2014/main" id="{A2DE2203-73EE-4121-8B25-4C4BF5807EB1}"/>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664734" y="4702323"/>
            <a:ext cx="1031462" cy="214227"/>
          </a:xfrm>
          <a:prstGeom prst="rect">
            <a:avLst/>
          </a:prstGeom>
        </p:spPr>
      </p:pic>
      <p:sp>
        <p:nvSpPr>
          <p:cNvPr id="51" name="Slide Number Placeholder 2">
            <a:extLst>
              <a:ext uri="{FF2B5EF4-FFF2-40B4-BE49-F238E27FC236}">
                <a16:creationId xmlns:a16="http://schemas.microsoft.com/office/drawing/2014/main" id="{1FD03043-0AE4-454E-9F61-5D151A072A89}"/>
              </a:ext>
            </a:extLst>
          </p:cNvPr>
          <p:cNvSpPr txBox="1">
            <a:spLocks/>
          </p:cNvSpPr>
          <p:nvPr userDrawn="1"/>
        </p:nvSpPr>
        <p:spPr>
          <a:xfrm>
            <a:off x="1739940" y="4859006"/>
            <a:ext cx="525553" cy="923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70"/>
            <a:r>
              <a:rPr lang="en-US" sz="600" dirty="0">
                <a:solidFill>
                  <a:srgbClr val="3DCD58"/>
                </a:solidFill>
                <a:latin typeface="Arial" panose="020B0604020202020204" pitchFamily="34" charset="0"/>
                <a:cs typeface="Arial" panose="020B0604020202020204" pitchFamily="34" charset="0"/>
              </a:rPr>
              <a:t>Page </a:t>
            </a:r>
            <a:fld id="{5A9C12DC-491F-9444-86A2-13AC5C62A2FC}" type="slidenum">
              <a:rPr lang="en-US" sz="600">
                <a:solidFill>
                  <a:srgbClr val="3DCD58"/>
                </a:solidFill>
                <a:latin typeface="Arial" panose="020B0604020202020204" pitchFamily="34" charset="0"/>
                <a:cs typeface="Arial" panose="020B0604020202020204" pitchFamily="34" charset="0"/>
              </a:rPr>
              <a:pPr algn="ctr" defTabSz="457070"/>
              <a:t>‹#›</a:t>
            </a:fld>
            <a:endParaRPr lang="en-US" sz="600" dirty="0">
              <a:solidFill>
                <a:srgbClr val="3DCD58"/>
              </a:solidFill>
              <a:latin typeface="Arial" panose="020B0604020202020204" pitchFamily="34" charset="0"/>
              <a:cs typeface="Arial" panose="020B0604020202020204" pitchFamily="34" charset="0"/>
            </a:endParaRPr>
          </a:p>
        </p:txBody>
      </p:sp>
      <p:sp>
        <p:nvSpPr>
          <p:cNvPr id="52" name="Footer Placeholder 3">
            <a:extLst>
              <a:ext uri="{FF2B5EF4-FFF2-40B4-BE49-F238E27FC236}">
                <a16:creationId xmlns:a16="http://schemas.microsoft.com/office/drawing/2014/main" id="{6ED994D1-F1CF-41A3-8A29-EB927E1E1E2C}"/>
              </a:ext>
            </a:extLst>
          </p:cNvPr>
          <p:cNvSpPr txBox="1">
            <a:spLocks/>
          </p:cNvSpPr>
          <p:nvPr userDrawn="1"/>
        </p:nvSpPr>
        <p:spPr>
          <a:xfrm>
            <a:off x="253539" y="4857156"/>
            <a:ext cx="3384470" cy="941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70"/>
            <a:r>
              <a:rPr lang="en-US" sz="600" dirty="0">
                <a:solidFill>
                  <a:srgbClr val="626469"/>
                </a:solidFill>
                <a:latin typeface="Arial" panose="020B0604020202020204" pitchFamily="34" charset="0"/>
                <a:cs typeface="Arial" panose="020B0604020202020204" pitchFamily="34" charset="0"/>
              </a:rPr>
              <a:t>Confidential Property of Schneider Electric | </a:t>
            </a:r>
          </a:p>
        </p:txBody>
      </p:sp>
      <p:sp>
        <p:nvSpPr>
          <p:cNvPr id="89" name="Holder 2">
            <a:extLst>
              <a:ext uri="{FF2B5EF4-FFF2-40B4-BE49-F238E27FC236}">
                <a16:creationId xmlns:a16="http://schemas.microsoft.com/office/drawing/2014/main" id="{578F1C43-C033-4920-826E-488BDE382160}"/>
              </a:ext>
            </a:extLst>
          </p:cNvPr>
          <p:cNvSpPr>
            <a:spLocks noGrp="1"/>
          </p:cNvSpPr>
          <p:nvPr>
            <p:ph type="title"/>
          </p:nvPr>
        </p:nvSpPr>
        <p:spPr>
          <a:xfrm>
            <a:off x="304893" y="352005"/>
            <a:ext cx="8049957" cy="357791"/>
          </a:xfrm>
          <a:prstGeom prst="rect">
            <a:avLst/>
          </a:prstGeom>
        </p:spPr>
        <p:txBody>
          <a:bodyPr lIns="0" tIns="0" rIns="0" bIns="0"/>
          <a:lstStyle>
            <a:lvl1pPr algn="l">
              <a:defRPr sz="3000" b="0" i="0">
                <a:solidFill>
                  <a:srgbClr val="3CC957"/>
                </a:solidFill>
                <a:latin typeface="Arial" panose="020B0604020202020204" pitchFamily="34" charset="0"/>
                <a:cs typeface="Arial" panose="020B0604020202020204" pitchFamily="34" charset="0"/>
              </a:defRPr>
            </a:lvl1pPr>
          </a:lstStyle>
          <a:p>
            <a:endParaRPr/>
          </a:p>
        </p:txBody>
      </p:sp>
      <p:sp>
        <p:nvSpPr>
          <p:cNvPr id="91" name="Text Placeholder 90">
            <a:extLst>
              <a:ext uri="{FF2B5EF4-FFF2-40B4-BE49-F238E27FC236}">
                <a16:creationId xmlns:a16="http://schemas.microsoft.com/office/drawing/2014/main" id="{EC6A9235-43C6-4B7B-8E6D-F47A6C725A10}"/>
              </a:ext>
            </a:extLst>
          </p:cNvPr>
          <p:cNvSpPr>
            <a:spLocks noGrp="1"/>
          </p:cNvSpPr>
          <p:nvPr>
            <p:ph type="body" sz="quarter" idx="10"/>
          </p:nvPr>
        </p:nvSpPr>
        <p:spPr>
          <a:xfrm>
            <a:off x="304892" y="1390650"/>
            <a:ext cx="8049957" cy="2165350"/>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Tree>
    <p:extLst>
      <p:ext uri="{BB962C8B-B14F-4D97-AF65-F5344CB8AC3E}">
        <p14:creationId xmlns:p14="http://schemas.microsoft.com/office/powerpoint/2010/main" val="40841587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9_Standard Layout">
    <p:spTree>
      <p:nvGrpSpPr>
        <p:cNvPr id="1" name=""/>
        <p:cNvGrpSpPr/>
        <p:nvPr/>
      </p:nvGrpSpPr>
      <p:grpSpPr>
        <a:xfrm>
          <a:off x="0" y="0"/>
          <a:ext cx="0" cy="0"/>
          <a:chOff x="0" y="0"/>
          <a:chExt cx="0" cy="0"/>
        </a:xfrm>
      </p:grpSpPr>
      <p:pic>
        <p:nvPicPr>
          <p:cNvPr id="13" name="Picture 12" descr="A circuit board&#10;&#10;Description automatically generated">
            <a:extLst>
              <a:ext uri="{FF2B5EF4-FFF2-40B4-BE49-F238E27FC236}">
                <a16:creationId xmlns:a16="http://schemas.microsoft.com/office/drawing/2014/main" id="{785C0FCB-0C71-4E64-B805-411D14B487FE}"/>
              </a:ext>
            </a:extLst>
          </p:cNvPr>
          <p:cNvPicPr>
            <a:picLocks noChangeAspect="1"/>
          </p:cNvPicPr>
          <p:nvPr userDrawn="1"/>
        </p:nvPicPr>
        <p:blipFill rotWithShape="1">
          <a:blip r:embed="rId5" cstate="print">
            <a:alphaModFix/>
            <a:extLst>
              <a:ext uri="{28A0092B-C50C-407E-A947-70E740481C1C}">
                <a14:useLocalDpi xmlns:a14="http://schemas.microsoft.com/office/drawing/2010/main"/>
              </a:ext>
            </a:extLst>
          </a:blip>
          <a:srcRect/>
          <a:stretch/>
        </p:blipFill>
        <p:spPr>
          <a:xfrm>
            <a:off x="0" y="0"/>
            <a:ext cx="9144000" cy="5143500"/>
          </a:xfrm>
          <a:prstGeom prst="rect">
            <a:avLst/>
          </a:prstGeom>
        </p:spPr>
      </p:pic>
      <p:graphicFrame>
        <p:nvGraphicFramePr>
          <p:cNvPr id="2" name="Objet 1" hidden="1"/>
          <p:cNvGraphicFramePr>
            <a:graphicFrameLocks noChangeAspect="1"/>
          </p:cNvGraphicFramePr>
          <p:nvPr userDrawn="1">
            <p:custDataLst>
              <p:tags r:id="rId2"/>
            </p:custData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5164" name="think-cell Slide" r:id="rId6" imgW="360" imgH="360" progId="TCLayout.ActiveDocument.1">
                  <p:embed/>
                </p:oleObj>
              </mc:Choice>
              <mc:Fallback>
                <p:oleObj name="think-cell Slide" r:id="rId6" imgW="360" imgH="360" progId="TCLayout.ActiveDocument.1">
                  <p:embed/>
                  <p:pic>
                    <p:nvPicPr>
                      <p:cNvPr id="2" name="Objet 1" hidden="1"/>
                      <p:cNvPicPr/>
                      <p:nvPr/>
                    </p:nvPicPr>
                    <p:blipFill>
                      <a:blip r:embed="rId7"/>
                      <a:stretch>
                        <a:fillRect/>
                      </a:stretch>
                    </p:blipFill>
                    <p:spPr>
                      <a:xfrm>
                        <a:off x="1592" y="1589"/>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A6BAAE1-BE16-4913-97AE-78C99E907225}"/>
              </a:ext>
            </a:extLst>
          </p:cNvPr>
          <p:cNvSpPr/>
          <p:nvPr userDrawn="1">
            <p:custDataLst>
              <p:tags r:id="rId3"/>
            </p:custDataLst>
          </p:nvPr>
        </p:nvSpPr>
        <p:spPr>
          <a:xfrm>
            <a:off x="0" y="0"/>
            <a:ext cx="119062"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Arial" panose="020B0604020202020204" pitchFamily="34" charset="0"/>
              <a:ea typeface="+mj-ea"/>
              <a:cs typeface="+mj-cs"/>
              <a:sym typeface="Arial" panose="020B0604020202020204" pitchFamily="34" charset="0"/>
            </a:endParaRPr>
          </a:p>
        </p:txBody>
      </p:sp>
      <p:sp>
        <p:nvSpPr>
          <p:cNvPr id="49" name="object 3">
            <a:extLst>
              <a:ext uri="{FF2B5EF4-FFF2-40B4-BE49-F238E27FC236}">
                <a16:creationId xmlns:a16="http://schemas.microsoft.com/office/drawing/2014/main" id="{25CD1890-32F1-428E-A164-BCA7D7379946}"/>
              </a:ext>
            </a:extLst>
          </p:cNvPr>
          <p:cNvSpPr/>
          <p:nvPr userDrawn="1"/>
        </p:nvSpPr>
        <p:spPr>
          <a:xfrm>
            <a:off x="0" y="0"/>
            <a:ext cx="9144000" cy="5149859"/>
          </a:xfrm>
          <a:custGeom>
            <a:avLst/>
            <a:gdLst/>
            <a:ahLst/>
            <a:cxnLst/>
            <a:rect l="l" t="t" r="r" b="b"/>
            <a:pathLst>
              <a:path w="9144000" h="5143500">
                <a:moveTo>
                  <a:pt x="0" y="5143500"/>
                </a:moveTo>
                <a:lnTo>
                  <a:pt x="9144000" y="5143500"/>
                </a:lnTo>
                <a:lnTo>
                  <a:pt x="9144000" y="0"/>
                </a:lnTo>
                <a:lnTo>
                  <a:pt x="0" y="0"/>
                </a:lnTo>
                <a:lnTo>
                  <a:pt x="0" y="5143500"/>
                </a:lnTo>
                <a:close/>
              </a:path>
            </a:pathLst>
          </a:custGeom>
          <a:gradFill>
            <a:gsLst>
              <a:gs pos="22000">
                <a:schemeClr val="tx1">
                  <a:alpha val="60000"/>
                </a:schemeClr>
              </a:gs>
              <a:gs pos="62000">
                <a:schemeClr val="accent1">
                  <a:lumMod val="45000"/>
                  <a:lumOff val="55000"/>
                  <a:alpha val="67000"/>
                </a:schemeClr>
              </a:gs>
              <a:gs pos="100000">
                <a:schemeClr val="accent1">
                  <a:lumMod val="30000"/>
                  <a:lumOff val="70000"/>
                </a:schemeClr>
              </a:gs>
            </a:gsLst>
            <a:lin ang="5400000" scaled="1"/>
          </a:gradFill>
        </p:spPr>
        <p:txBody>
          <a:bodyPr wrap="square" lIns="0" tIns="0" rIns="0" bIns="0" rtlCol="0"/>
          <a:lstStyle/>
          <a:p>
            <a:endParaRPr sz="1350" dirty="0"/>
          </a:p>
        </p:txBody>
      </p:sp>
      <p:pic>
        <p:nvPicPr>
          <p:cNvPr id="50" name="Picture 49">
            <a:extLst>
              <a:ext uri="{FF2B5EF4-FFF2-40B4-BE49-F238E27FC236}">
                <a16:creationId xmlns:a16="http://schemas.microsoft.com/office/drawing/2014/main" id="{A2DE2203-73EE-4121-8B25-4C4BF5807EB1}"/>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664734" y="4702323"/>
            <a:ext cx="1031462" cy="214227"/>
          </a:xfrm>
          <a:prstGeom prst="rect">
            <a:avLst/>
          </a:prstGeom>
        </p:spPr>
      </p:pic>
      <p:sp>
        <p:nvSpPr>
          <p:cNvPr id="51" name="Slide Number Placeholder 2">
            <a:extLst>
              <a:ext uri="{FF2B5EF4-FFF2-40B4-BE49-F238E27FC236}">
                <a16:creationId xmlns:a16="http://schemas.microsoft.com/office/drawing/2014/main" id="{1FD03043-0AE4-454E-9F61-5D151A072A89}"/>
              </a:ext>
            </a:extLst>
          </p:cNvPr>
          <p:cNvSpPr txBox="1">
            <a:spLocks/>
          </p:cNvSpPr>
          <p:nvPr userDrawn="1"/>
        </p:nvSpPr>
        <p:spPr>
          <a:xfrm>
            <a:off x="1739940" y="4859006"/>
            <a:ext cx="525553" cy="923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70"/>
            <a:r>
              <a:rPr lang="en-US" sz="600" dirty="0">
                <a:solidFill>
                  <a:srgbClr val="3DCD58"/>
                </a:solidFill>
                <a:latin typeface="Arial" panose="020B0604020202020204" pitchFamily="34" charset="0"/>
                <a:cs typeface="Arial" panose="020B0604020202020204" pitchFamily="34" charset="0"/>
              </a:rPr>
              <a:t>Page </a:t>
            </a:r>
            <a:fld id="{5A9C12DC-491F-9444-86A2-13AC5C62A2FC}" type="slidenum">
              <a:rPr lang="en-US" sz="600">
                <a:solidFill>
                  <a:srgbClr val="3DCD58"/>
                </a:solidFill>
                <a:latin typeface="Arial" panose="020B0604020202020204" pitchFamily="34" charset="0"/>
                <a:cs typeface="Arial" panose="020B0604020202020204" pitchFamily="34" charset="0"/>
              </a:rPr>
              <a:pPr algn="ctr" defTabSz="457070"/>
              <a:t>‹#›</a:t>
            </a:fld>
            <a:endParaRPr lang="en-US" sz="600" dirty="0">
              <a:solidFill>
                <a:srgbClr val="3DCD58"/>
              </a:solidFill>
              <a:latin typeface="Arial" panose="020B0604020202020204" pitchFamily="34" charset="0"/>
              <a:cs typeface="Arial" panose="020B0604020202020204" pitchFamily="34" charset="0"/>
            </a:endParaRPr>
          </a:p>
        </p:txBody>
      </p:sp>
      <p:sp>
        <p:nvSpPr>
          <p:cNvPr id="52" name="Footer Placeholder 3">
            <a:extLst>
              <a:ext uri="{FF2B5EF4-FFF2-40B4-BE49-F238E27FC236}">
                <a16:creationId xmlns:a16="http://schemas.microsoft.com/office/drawing/2014/main" id="{6ED994D1-F1CF-41A3-8A29-EB927E1E1E2C}"/>
              </a:ext>
            </a:extLst>
          </p:cNvPr>
          <p:cNvSpPr txBox="1">
            <a:spLocks/>
          </p:cNvSpPr>
          <p:nvPr userDrawn="1"/>
        </p:nvSpPr>
        <p:spPr>
          <a:xfrm>
            <a:off x="253539" y="4857156"/>
            <a:ext cx="3384470" cy="941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70"/>
            <a:r>
              <a:rPr lang="en-US" sz="600" dirty="0">
                <a:solidFill>
                  <a:srgbClr val="626469"/>
                </a:solidFill>
                <a:latin typeface="Arial" panose="020B0604020202020204" pitchFamily="34" charset="0"/>
                <a:cs typeface="Arial" panose="020B0604020202020204" pitchFamily="34" charset="0"/>
              </a:rPr>
              <a:t>Confidential Property of Schneider Electric | </a:t>
            </a:r>
          </a:p>
        </p:txBody>
      </p:sp>
      <p:sp>
        <p:nvSpPr>
          <p:cNvPr id="89" name="Holder 2">
            <a:extLst>
              <a:ext uri="{FF2B5EF4-FFF2-40B4-BE49-F238E27FC236}">
                <a16:creationId xmlns:a16="http://schemas.microsoft.com/office/drawing/2014/main" id="{578F1C43-C033-4920-826E-488BDE382160}"/>
              </a:ext>
            </a:extLst>
          </p:cNvPr>
          <p:cNvSpPr>
            <a:spLocks noGrp="1"/>
          </p:cNvSpPr>
          <p:nvPr>
            <p:ph type="title"/>
          </p:nvPr>
        </p:nvSpPr>
        <p:spPr>
          <a:xfrm>
            <a:off x="304893" y="352005"/>
            <a:ext cx="8049957" cy="357791"/>
          </a:xfrm>
          <a:prstGeom prst="rect">
            <a:avLst/>
          </a:prstGeom>
        </p:spPr>
        <p:txBody>
          <a:bodyPr lIns="0" tIns="0" rIns="0" bIns="0"/>
          <a:lstStyle>
            <a:lvl1pPr algn="l">
              <a:defRPr sz="3000" b="0" i="0">
                <a:solidFill>
                  <a:srgbClr val="3CC957"/>
                </a:solidFill>
                <a:latin typeface="Arial" panose="020B0604020202020204" pitchFamily="34" charset="0"/>
                <a:cs typeface="Arial" panose="020B0604020202020204" pitchFamily="34" charset="0"/>
              </a:defRPr>
            </a:lvl1pPr>
          </a:lstStyle>
          <a:p>
            <a:endParaRPr/>
          </a:p>
        </p:txBody>
      </p:sp>
      <p:sp>
        <p:nvSpPr>
          <p:cNvPr id="91" name="Text Placeholder 90">
            <a:extLst>
              <a:ext uri="{FF2B5EF4-FFF2-40B4-BE49-F238E27FC236}">
                <a16:creationId xmlns:a16="http://schemas.microsoft.com/office/drawing/2014/main" id="{EC6A9235-43C6-4B7B-8E6D-F47A6C725A10}"/>
              </a:ext>
            </a:extLst>
          </p:cNvPr>
          <p:cNvSpPr>
            <a:spLocks noGrp="1"/>
          </p:cNvSpPr>
          <p:nvPr>
            <p:ph type="body" sz="quarter" idx="10"/>
          </p:nvPr>
        </p:nvSpPr>
        <p:spPr>
          <a:xfrm>
            <a:off x="304892" y="1390650"/>
            <a:ext cx="8049957" cy="2165350"/>
          </a:xfrm>
          <a:prstGeom prst="rect">
            <a:avLst/>
          </a:prstGeom>
        </p:spPr>
        <p:txBody>
          <a:bodyPr/>
          <a:lstStyle>
            <a:lvl1pPr>
              <a:defRPr sz="2400" b="0" i="0">
                <a:solidFill>
                  <a:schemeClr val="bg1"/>
                </a:solidFill>
                <a:latin typeface="Arial" panose="020B0604020202020204" pitchFamily="34" charset="0"/>
                <a:cs typeface="Arial" panose="020B0604020202020204" pitchFamily="34" charset="0"/>
              </a:defRPr>
            </a:lvl1pPr>
            <a:lvl2pPr>
              <a:defRPr sz="2000" b="0" i="0">
                <a:solidFill>
                  <a:schemeClr val="bg1"/>
                </a:solidFill>
                <a:latin typeface="Arial" panose="020B0604020202020204" pitchFamily="34" charset="0"/>
                <a:cs typeface="Arial" panose="020B0604020202020204" pitchFamily="34" charset="0"/>
              </a:defRPr>
            </a:lvl2pPr>
            <a:lvl3pPr>
              <a:defRPr sz="1800" b="0" i="0">
                <a:solidFill>
                  <a:schemeClr val="bg1"/>
                </a:solidFill>
                <a:latin typeface="Arial" panose="020B0604020202020204" pitchFamily="34" charset="0"/>
                <a:cs typeface="Arial" panose="020B0604020202020204" pitchFamily="34" charset="0"/>
              </a:defRPr>
            </a:lvl3pPr>
            <a:lvl4pPr>
              <a:defRPr sz="1600" b="0" i="0">
                <a:solidFill>
                  <a:schemeClr val="bg1"/>
                </a:solidFill>
                <a:latin typeface="Arial" panose="020B0604020202020204" pitchFamily="34" charset="0"/>
                <a:cs typeface="Arial" panose="020B0604020202020204" pitchFamily="34" charset="0"/>
              </a:defRPr>
            </a:lvl4pPr>
            <a:lvl5pPr>
              <a:defRPr sz="1600" b="0" i="0">
                <a:solidFill>
                  <a:schemeClr val="bg1"/>
                </a:solidFill>
                <a:latin typeface="Arial" panose="020B0604020202020204" pitchFamily="34" charset="0"/>
                <a:cs typeface="Arial" panose="020B0604020202020204" pitchFamily="34" charset="0"/>
              </a:defRPr>
            </a:lvl5p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Tree>
    <p:extLst>
      <p:ext uri="{BB962C8B-B14F-4D97-AF65-F5344CB8AC3E}">
        <p14:creationId xmlns:p14="http://schemas.microsoft.com/office/powerpoint/2010/main" val="22147822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0_Standard Layout">
    <p:spTree>
      <p:nvGrpSpPr>
        <p:cNvPr id="1" name=""/>
        <p:cNvGrpSpPr/>
        <p:nvPr/>
      </p:nvGrpSpPr>
      <p:grpSpPr>
        <a:xfrm>
          <a:off x="0" y="0"/>
          <a:ext cx="0" cy="0"/>
          <a:chOff x="0" y="0"/>
          <a:chExt cx="0" cy="0"/>
        </a:xfrm>
      </p:grpSpPr>
      <p:pic>
        <p:nvPicPr>
          <p:cNvPr id="11" name="Picture 10" descr="A large body of water with a city in the background&#10;&#10;Description automatically generated">
            <a:extLst>
              <a:ext uri="{FF2B5EF4-FFF2-40B4-BE49-F238E27FC236}">
                <a16:creationId xmlns:a16="http://schemas.microsoft.com/office/drawing/2014/main" id="{B4EBAD26-E407-4BB3-B2EE-6377274C1563}"/>
              </a:ext>
            </a:extLst>
          </p:cNvPr>
          <p:cNvPicPr>
            <a:picLocks noChangeAspect="1"/>
          </p:cNvPicPr>
          <p:nvPr userDrawn="1"/>
        </p:nvPicPr>
        <p:blipFill rotWithShape="1">
          <a:blip r:embed="rId5" cstate="print">
            <a:alphaModFix/>
            <a:extLst>
              <a:ext uri="{28A0092B-C50C-407E-A947-70E740481C1C}">
                <a14:useLocalDpi xmlns:a14="http://schemas.microsoft.com/office/drawing/2010/main"/>
              </a:ext>
            </a:extLst>
          </a:blip>
          <a:srcRect/>
          <a:stretch/>
        </p:blipFill>
        <p:spPr>
          <a:xfrm>
            <a:off x="-1" y="-5052"/>
            <a:ext cx="9144001" cy="5143500"/>
          </a:xfrm>
          <a:prstGeom prst="rect">
            <a:avLst/>
          </a:prstGeom>
        </p:spPr>
      </p:pic>
      <p:graphicFrame>
        <p:nvGraphicFramePr>
          <p:cNvPr id="2" name="Objet 1" hidden="1"/>
          <p:cNvGraphicFramePr>
            <a:graphicFrameLocks noChangeAspect="1"/>
          </p:cNvGraphicFramePr>
          <p:nvPr userDrawn="1">
            <p:custDataLst>
              <p:tags r:id="rId2"/>
            </p:custData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6188" name="think-cell Slide" r:id="rId6" imgW="360" imgH="360" progId="TCLayout.ActiveDocument.1">
                  <p:embed/>
                </p:oleObj>
              </mc:Choice>
              <mc:Fallback>
                <p:oleObj name="think-cell Slide" r:id="rId6" imgW="360" imgH="360" progId="TCLayout.ActiveDocument.1">
                  <p:embed/>
                  <p:pic>
                    <p:nvPicPr>
                      <p:cNvPr id="2" name="Objet 1" hidden="1"/>
                      <p:cNvPicPr/>
                      <p:nvPr/>
                    </p:nvPicPr>
                    <p:blipFill>
                      <a:blip r:embed="rId7"/>
                      <a:stretch>
                        <a:fillRect/>
                      </a:stretch>
                    </p:blipFill>
                    <p:spPr>
                      <a:xfrm>
                        <a:off x="1592" y="1589"/>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A6BAAE1-BE16-4913-97AE-78C99E907225}"/>
              </a:ext>
            </a:extLst>
          </p:cNvPr>
          <p:cNvSpPr/>
          <p:nvPr userDrawn="1">
            <p:custDataLst>
              <p:tags r:id="rId3"/>
            </p:custDataLst>
          </p:nvPr>
        </p:nvSpPr>
        <p:spPr>
          <a:xfrm>
            <a:off x="0" y="0"/>
            <a:ext cx="119062"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Arial" panose="020B0604020202020204" pitchFamily="34" charset="0"/>
              <a:ea typeface="+mj-ea"/>
              <a:cs typeface="+mj-cs"/>
              <a:sym typeface="Arial" panose="020B0604020202020204" pitchFamily="34" charset="0"/>
            </a:endParaRPr>
          </a:p>
        </p:txBody>
      </p:sp>
      <p:sp>
        <p:nvSpPr>
          <p:cNvPr id="49" name="object 3">
            <a:extLst>
              <a:ext uri="{FF2B5EF4-FFF2-40B4-BE49-F238E27FC236}">
                <a16:creationId xmlns:a16="http://schemas.microsoft.com/office/drawing/2014/main" id="{25CD1890-32F1-428E-A164-BCA7D7379946}"/>
              </a:ext>
            </a:extLst>
          </p:cNvPr>
          <p:cNvSpPr/>
          <p:nvPr userDrawn="1"/>
        </p:nvSpPr>
        <p:spPr>
          <a:xfrm>
            <a:off x="-1" y="-11411"/>
            <a:ext cx="9144000" cy="5149859"/>
          </a:xfrm>
          <a:custGeom>
            <a:avLst/>
            <a:gdLst/>
            <a:ahLst/>
            <a:cxnLst/>
            <a:rect l="l" t="t" r="r" b="b"/>
            <a:pathLst>
              <a:path w="9144000" h="5143500">
                <a:moveTo>
                  <a:pt x="0" y="5143500"/>
                </a:moveTo>
                <a:lnTo>
                  <a:pt x="9144000" y="5143500"/>
                </a:lnTo>
                <a:lnTo>
                  <a:pt x="9144000" y="0"/>
                </a:lnTo>
                <a:lnTo>
                  <a:pt x="0" y="0"/>
                </a:lnTo>
                <a:lnTo>
                  <a:pt x="0" y="5143500"/>
                </a:lnTo>
                <a:close/>
              </a:path>
            </a:pathLst>
          </a:custGeom>
          <a:gradFill>
            <a:gsLst>
              <a:gs pos="22000">
                <a:schemeClr val="tx1">
                  <a:alpha val="60000"/>
                </a:schemeClr>
              </a:gs>
              <a:gs pos="62000">
                <a:schemeClr val="accent1">
                  <a:lumMod val="45000"/>
                  <a:lumOff val="55000"/>
                  <a:alpha val="67000"/>
                </a:schemeClr>
              </a:gs>
              <a:gs pos="100000">
                <a:schemeClr val="accent1">
                  <a:lumMod val="30000"/>
                  <a:lumOff val="70000"/>
                </a:schemeClr>
              </a:gs>
            </a:gsLst>
            <a:lin ang="5400000" scaled="1"/>
          </a:gradFill>
        </p:spPr>
        <p:txBody>
          <a:bodyPr wrap="square" lIns="0" tIns="0" rIns="0" bIns="0" rtlCol="0"/>
          <a:lstStyle/>
          <a:p>
            <a:endParaRPr sz="1350" dirty="0"/>
          </a:p>
        </p:txBody>
      </p:sp>
      <p:pic>
        <p:nvPicPr>
          <p:cNvPr id="50" name="Picture 49">
            <a:extLst>
              <a:ext uri="{FF2B5EF4-FFF2-40B4-BE49-F238E27FC236}">
                <a16:creationId xmlns:a16="http://schemas.microsoft.com/office/drawing/2014/main" id="{A2DE2203-73EE-4121-8B25-4C4BF5807EB1}"/>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664734" y="4702323"/>
            <a:ext cx="1031462" cy="214227"/>
          </a:xfrm>
          <a:prstGeom prst="rect">
            <a:avLst/>
          </a:prstGeom>
        </p:spPr>
      </p:pic>
      <p:sp>
        <p:nvSpPr>
          <p:cNvPr id="51" name="Slide Number Placeholder 2">
            <a:extLst>
              <a:ext uri="{FF2B5EF4-FFF2-40B4-BE49-F238E27FC236}">
                <a16:creationId xmlns:a16="http://schemas.microsoft.com/office/drawing/2014/main" id="{1FD03043-0AE4-454E-9F61-5D151A072A89}"/>
              </a:ext>
            </a:extLst>
          </p:cNvPr>
          <p:cNvSpPr txBox="1">
            <a:spLocks/>
          </p:cNvSpPr>
          <p:nvPr userDrawn="1"/>
        </p:nvSpPr>
        <p:spPr>
          <a:xfrm>
            <a:off x="1739940" y="4859006"/>
            <a:ext cx="525553" cy="923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70"/>
            <a:r>
              <a:rPr lang="en-US" sz="600" dirty="0">
                <a:solidFill>
                  <a:srgbClr val="3DCD58"/>
                </a:solidFill>
                <a:latin typeface="Arial" panose="020B0604020202020204" pitchFamily="34" charset="0"/>
                <a:cs typeface="Arial" panose="020B0604020202020204" pitchFamily="34" charset="0"/>
              </a:rPr>
              <a:t>Page </a:t>
            </a:r>
            <a:fld id="{5A9C12DC-491F-9444-86A2-13AC5C62A2FC}" type="slidenum">
              <a:rPr lang="en-US" sz="600">
                <a:solidFill>
                  <a:srgbClr val="3DCD58"/>
                </a:solidFill>
                <a:latin typeface="Arial" panose="020B0604020202020204" pitchFamily="34" charset="0"/>
                <a:cs typeface="Arial" panose="020B0604020202020204" pitchFamily="34" charset="0"/>
              </a:rPr>
              <a:pPr algn="ctr" defTabSz="457070"/>
              <a:t>‹#›</a:t>
            </a:fld>
            <a:endParaRPr lang="en-US" sz="600" dirty="0">
              <a:solidFill>
                <a:srgbClr val="3DCD58"/>
              </a:solidFill>
              <a:latin typeface="Arial" panose="020B0604020202020204" pitchFamily="34" charset="0"/>
              <a:cs typeface="Arial" panose="020B0604020202020204" pitchFamily="34" charset="0"/>
            </a:endParaRPr>
          </a:p>
        </p:txBody>
      </p:sp>
      <p:sp>
        <p:nvSpPr>
          <p:cNvPr id="52" name="Footer Placeholder 3">
            <a:extLst>
              <a:ext uri="{FF2B5EF4-FFF2-40B4-BE49-F238E27FC236}">
                <a16:creationId xmlns:a16="http://schemas.microsoft.com/office/drawing/2014/main" id="{6ED994D1-F1CF-41A3-8A29-EB927E1E1E2C}"/>
              </a:ext>
            </a:extLst>
          </p:cNvPr>
          <p:cNvSpPr txBox="1">
            <a:spLocks/>
          </p:cNvSpPr>
          <p:nvPr userDrawn="1"/>
        </p:nvSpPr>
        <p:spPr>
          <a:xfrm>
            <a:off x="253539" y="4857156"/>
            <a:ext cx="3384470" cy="941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70"/>
            <a:r>
              <a:rPr lang="en-US" sz="600" dirty="0">
                <a:solidFill>
                  <a:srgbClr val="626469"/>
                </a:solidFill>
                <a:latin typeface="Arial" panose="020B0604020202020204" pitchFamily="34" charset="0"/>
                <a:cs typeface="Arial" panose="020B0604020202020204" pitchFamily="34" charset="0"/>
              </a:rPr>
              <a:t>Confidential Property of Schneider Electric | </a:t>
            </a:r>
          </a:p>
        </p:txBody>
      </p:sp>
      <p:sp>
        <p:nvSpPr>
          <p:cNvPr id="89" name="Holder 2">
            <a:extLst>
              <a:ext uri="{FF2B5EF4-FFF2-40B4-BE49-F238E27FC236}">
                <a16:creationId xmlns:a16="http://schemas.microsoft.com/office/drawing/2014/main" id="{578F1C43-C033-4920-826E-488BDE382160}"/>
              </a:ext>
            </a:extLst>
          </p:cNvPr>
          <p:cNvSpPr>
            <a:spLocks noGrp="1"/>
          </p:cNvSpPr>
          <p:nvPr>
            <p:ph type="title"/>
          </p:nvPr>
        </p:nvSpPr>
        <p:spPr>
          <a:xfrm>
            <a:off x="304893" y="352005"/>
            <a:ext cx="8049957" cy="357791"/>
          </a:xfrm>
          <a:prstGeom prst="rect">
            <a:avLst/>
          </a:prstGeom>
        </p:spPr>
        <p:txBody>
          <a:bodyPr lIns="0" tIns="0" rIns="0" bIns="0"/>
          <a:lstStyle>
            <a:lvl1pPr algn="l">
              <a:defRPr sz="3000" b="0" i="0">
                <a:solidFill>
                  <a:srgbClr val="3CC957"/>
                </a:solidFill>
                <a:latin typeface="Arial" panose="020B0604020202020204" pitchFamily="34" charset="0"/>
                <a:cs typeface="Arial" panose="020B0604020202020204" pitchFamily="34" charset="0"/>
              </a:defRPr>
            </a:lvl1pPr>
          </a:lstStyle>
          <a:p>
            <a:endParaRPr/>
          </a:p>
        </p:txBody>
      </p:sp>
      <p:sp>
        <p:nvSpPr>
          <p:cNvPr id="91" name="Text Placeholder 90">
            <a:extLst>
              <a:ext uri="{FF2B5EF4-FFF2-40B4-BE49-F238E27FC236}">
                <a16:creationId xmlns:a16="http://schemas.microsoft.com/office/drawing/2014/main" id="{EC6A9235-43C6-4B7B-8E6D-F47A6C725A10}"/>
              </a:ext>
            </a:extLst>
          </p:cNvPr>
          <p:cNvSpPr>
            <a:spLocks noGrp="1"/>
          </p:cNvSpPr>
          <p:nvPr>
            <p:ph type="body" sz="quarter" idx="10"/>
          </p:nvPr>
        </p:nvSpPr>
        <p:spPr>
          <a:xfrm>
            <a:off x="304892" y="1390650"/>
            <a:ext cx="8049957" cy="2165350"/>
          </a:xfrm>
          <a:prstGeom prst="rect">
            <a:avLst/>
          </a:prstGeom>
        </p:spPr>
        <p:txBody>
          <a:bodyPr/>
          <a:lstStyle>
            <a:lvl1pPr>
              <a:defRPr sz="2400" b="0" i="0">
                <a:solidFill>
                  <a:schemeClr val="bg1"/>
                </a:solidFill>
                <a:latin typeface="Arial" panose="020B0604020202020204" pitchFamily="34" charset="0"/>
                <a:cs typeface="Arial" panose="020B0604020202020204" pitchFamily="34" charset="0"/>
              </a:defRPr>
            </a:lvl1pPr>
            <a:lvl2pPr>
              <a:defRPr sz="2000" b="0" i="0">
                <a:solidFill>
                  <a:schemeClr val="bg1"/>
                </a:solidFill>
                <a:latin typeface="Arial" panose="020B0604020202020204" pitchFamily="34" charset="0"/>
                <a:cs typeface="Arial" panose="020B0604020202020204" pitchFamily="34" charset="0"/>
              </a:defRPr>
            </a:lvl2pPr>
            <a:lvl3pPr>
              <a:defRPr sz="1800" b="0" i="0">
                <a:solidFill>
                  <a:schemeClr val="bg1"/>
                </a:solidFill>
                <a:latin typeface="Arial" panose="020B0604020202020204" pitchFamily="34" charset="0"/>
                <a:cs typeface="Arial" panose="020B0604020202020204" pitchFamily="34" charset="0"/>
              </a:defRPr>
            </a:lvl3pPr>
            <a:lvl4pPr>
              <a:defRPr sz="1600" b="0" i="0">
                <a:solidFill>
                  <a:schemeClr val="bg1"/>
                </a:solidFill>
                <a:latin typeface="Arial" panose="020B0604020202020204" pitchFamily="34" charset="0"/>
                <a:cs typeface="Arial" panose="020B0604020202020204" pitchFamily="34" charset="0"/>
              </a:defRPr>
            </a:lvl4pPr>
            <a:lvl5pPr>
              <a:defRPr sz="1600" b="0" i="0">
                <a:solidFill>
                  <a:schemeClr val="bg1"/>
                </a:solidFill>
                <a:latin typeface="Arial" panose="020B0604020202020204" pitchFamily="34" charset="0"/>
                <a:cs typeface="Arial" panose="020B0604020202020204" pitchFamily="34" charset="0"/>
              </a:defRPr>
            </a:lvl5p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Tree>
    <p:extLst>
      <p:ext uri="{BB962C8B-B14F-4D97-AF65-F5344CB8AC3E}">
        <p14:creationId xmlns:p14="http://schemas.microsoft.com/office/powerpoint/2010/main" val="41046372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w/ Image 3">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613273" y="-2"/>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a:t>Insert Your Content Here</a:t>
            </a:r>
          </a:p>
        </p:txBody>
      </p:sp>
      <p:sp>
        <p:nvSpPr>
          <p:cNvPr id="15" name="Rectangle 14"/>
          <p:cNvSpPr/>
          <p:nvPr userDrawn="1"/>
        </p:nvSpPr>
        <p:spPr>
          <a:xfrm rot="5400000">
            <a:off x="-286951" y="243272"/>
            <a:ext cx="5143500" cy="465695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p:nvPr>
        </p:nvSpPr>
        <p:spPr>
          <a:xfrm>
            <a:off x="-43677" y="-2"/>
            <a:ext cx="5030014"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10" name="Picture 9"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Tree>
    <p:extLst>
      <p:ext uri="{BB962C8B-B14F-4D97-AF65-F5344CB8AC3E}">
        <p14:creationId xmlns:p14="http://schemas.microsoft.com/office/powerpoint/2010/main" val="19894344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2955822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56" y="230188"/>
            <a:ext cx="8633531" cy="307777"/>
          </a:xfrm>
        </p:spPr>
        <p:txBody>
          <a:bodyPr>
            <a:spAutoFit/>
          </a:bodyPr>
          <a:lstStyle>
            <a:lvl1pPr>
              <a:defRPr sz="2000"/>
            </a:lvl1pPr>
          </a:lstStyle>
          <a:p>
            <a:r>
              <a:rPr lang="en-US"/>
              <a:t>Click To Edit Master Title Style</a:t>
            </a:r>
          </a:p>
        </p:txBody>
      </p:sp>
      <p:sp>
        <p:nvSpPr>
          <p:cNvPr id="20" name="Text Placeholder 11"/>
          <p:cNvSpPr>
            <a:spLocks noGrp="1"/>
          </p:cNvSpPr>
          <p:nvPr>
            <p:ph type="body" sz="quarter" idx="13" hasCustomPrompt="1"/>
          </p:nvPr>
        </p:nvSpPr>
        <p:spPr>
          <a:xfrm>
            <a:off x="252413" y="4066302"/>
            <a:ext cx="558006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a:t>Optional caption goes here</a:t>
            </a:r>
          </a:p>
        </p:txBody>
      </p:sp>
      <p:sp>
        <p:nvSpPr>
          <p:cNvPr id="23" name="Text Placeholder 2"/>
          <p:cNvSpPr>
            <a:spLocks noGrp="1"/>
          </p:cNvSpPr>
          <p:nvPr>
            <p:ph type="body" idx="15"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quarter" idx="17"/>
          </p:nvPr>
        </p:nvSpPr>
        <p:spPr>
          <a:xfrm>
            <a:off x="252412" y="1203326"/>
            <a:ext cx="5580062"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5940219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dirty="0"/>
              <a:t>Click icon to add picture</a:t>
            </a:r>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72" indent="0" algn="ctr">
              <a:buNone/>
              <a:defRPr>
                <a:solidFill>
                  <a:schemeClr val="tx1">
                    <a:tint val="75000"/>
                  </a:schemeClr>
                </a:solidFill>
              </a:defRPr>
            </a:lvl2pPr>
            <a:lvl3pPr marL="914345" indent="0" algn="ctr">
              <a:buNone/>
              <a:defRPr>
                <a:solidFill>
                  <a:schemeClr val="tx1">
                    <a:tint val="75000"/>
                  </a:schemeClr>
                </a:solidFill>
              </a:defRPr>
            </a:lvl3pPr>
            <a:lvl4pPr marL="1371518" indent="0" algn="ctr">
              <a:buNone/>
              <a:defRPr>
                <a:solidFill>
                  <a:schemeClr val="tx1">
                    <a:tint val="75000"/>
                  </a:schemeClr>
                </a:solidFill>
              </a:defRPr>
            </a:lvl4pPr>
            <a:lvl5pPr marL="1828691" indent="0" algn="ctr">
              <a:buNone/>
              <a:defRPr>
                <a:solidFill>
                  <a:schemeClr val="tx1">
                    <a:tint val="75000"/>
                  </a:schemeClr>
                </a:solidFill>
              </a:defRPr>
            </a:lvl5pPr>
            <a:lvl6pPr marL="2285862" indent="0" algn="ctr">
              <a:buNone/>
              <a:defRPr>
                <a:solidFill>
                  <a:schemeClr val="tx1">
                    <a:tint val="75000"/>
                  </a:schemeClr>
                </a:solidFill>
              </a:defRPr>
            </a:lvl6pPr>
            <a:lvl7pPr marL="2743034" indent="0" algn="ctr">
              <a:buNone/>
              <a:defRPr>
                <a:solidFill>
                  <a:schemeClr val="tx1">
                    <a:tint val="75000"/>
                  </a:schemeClr>
                </a:solidFill>
              </a:defRPr>
            </a:lvl7pPr>
            <a:lvl8pPr marL="3200207" indent="0" algn="ctr">
              <a:buNone/>
              <a:defRPr>
                <a:solidFill>
                  <a:schemeClr val="tx1">
                    <a:tint val="75000"/>
                  </a:schemeClr>
                </a:solidFill>
              </a:defRPr>
            </a:lvl8pPr>
            <a:lvl9pPr marL="3657380" indent="0" algn="ctr">
              <a:buNone/>
              <a:defRPr>
                <a:solidFill>
                  <a:schemeClr val="tx1">
                    <a:tint val="75000"/>
                  </a:schemeClr>
                </a:solidFill>
              </a:defRPr>
            </a:lvl9pPr>
          </a:lstStyle>
          <a:p>
            <a:r>
              <a:rPr lang="en-US"/>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
        <p:nvSpPr>
          <p:cNvPr id="14" name="Footer Placeholder 4"/>
          <p:cNvSpPr>
            <a:spLocks noGrp="1"/>
          </p:cNvSpPr>
          <p:nvPr>
            <p:ph type="ftr" sz="quarter" idx="3"/>
          </p:nvPr>
        </p:nvSpPr>
        <p:spPr>
          <a:xfrm>
            <a:off x="252416" y="4857156"/>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3573630"/>
            <a:ext cx="9144000" cy="761890"/>
          </a:xfrm>
          <a:prstGeom prst="rect">
            <a:avLst/>
          </a:prstGeom>
          <a:solidFill>
            <a:schemeClr val="tx2">
              <a:alpha val="80000"/>
            </a:schemeClr>
          </a:solidFill>
        </p:spPr>
        <p:txBody>
          <a:bodyPr lIns="91437" tIns="45718" rIns="91437" bIns="45718"/>
          <a:lstStyle>
            <a:lvl1pPr marL="178295"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err="1"/>
              <a:t>Presented</a:t>
            </a:r>
            <a:r>
              <a:rPr lang="fr-FR"/>
              <a:t> by: </a:t>
            </a:r>
          </a:p>
          <a:p>
            <a:pPr lvl="0"/>
            <a:r>
              <a:rPr lang="fr-FR"/>
              <a:t>Date: </a:t>
            </a:r>
          </a:p>
          <a:p>
            <a:pPr lvl="0"/>
            <a:endParaRPr lang="fr-FR"/>
          </a:p>
          <a:p>
            <a:pPr lvl="0"/>
            <a:endParaRPr lang="fr-FR"/>
          </a:p>
          <a:p>
            <a:pPr lvl="0"/>
            <a:endParaRPr lang="fr-FR"/>
          </a:p>
          <a:p>
            <a:pPr lvl="0"/>
            <a:endParaRPr lang="fr-FR"/>
          </a:p>
          <a:p>
            <a:pPr lvl="0"/>
            <a:endParaRPr lang="fr-FR"/>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sz="1800" dirty="0"/>
          </a:p>
        </p:txBody>
      </p:sp>
    </p:spTree>
    <p:extLst>
      <p:ext uri="{BB962C8B-B14F-4D97-AF65-F5344CB8AC3E}">
        <p14:creationId xmlns:p14="http://schemas.microsoft.com/office/powerpoint/2010/main" val="30099386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a:t>Click To Edit Section Title</a:t>
            </a:r>
          </a:p>
        </p:txBody>
      </p:sp>
      <p:sp>
        <p:nvSpPr>
          <p:cNvPr id="8" name="Text Placeholder 9"/>
          <p:cNvSpPr>
            <a:spLocks noGrp="1"/>
          </p:cNvSpPr>
          <p:nvPr>
            <p:ph type="body" sz="quarter" idx="11" hasCustomPrompt="1"/>
          </p:nvPr>
        </p:nvSpPr>
        <p:spPr>
          <a:xfrm>
            <a:off x="0" y="2900387"/>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Click To Edit Optional Subtitle</a:t>
            </a:r>
          </a:p>
        </p:txBody>
      </p:sp>
      <p:sp>
        <p:nvSpPr>
          <p:cNvPr id="9"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4108064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0" y="2900387"/>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Click To Edit Optional Subtitle</a:t>
            </a:r>
          </a:p>
        </p:txBody>
      </p:sp>
      <p:sp>
        <p:nvSpPr>
          <p:cNvPr id="10"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20821249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1981309"/>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a:t>Click To Edit Section Title</a:t>
            </a:r>
          </a:p>
        </p:txBody>
      </p:sp>
      <p:sp>
        <p:nvSpPr>
          <p:cNvPr id="4" name="Text Placeholder 9"/>
          <p:cNvSpPr>
            <a:spLocks noGrp="1"/>
          </p:cNvSpPr>
          <p:nvPr>
            <p:ph type="body" sz="quarter" idx="11" hasCustomPrompt="1"/>
          </p:nvPr>
        </p:nvSpPr>
        <p:spPr>
          <a:xfrm>
            <a:off x="0" y="1608246"/>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a:t>Click To Edit Optional Subtitle</a:t>
            </a:r>
          </a:p>
        </p:txBody>
      </p:sp>
      <p:sp>
        <p:nvSpPr>
          <p:cNvPr id="12"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White_RGB.png"/>
          <p:cNvPicPr>
            <a:picLocks noChangeAspect="1"/>
          </p:cNvPicPr>
          <p:nvPr userDrawn="1"/>
        </p:nvPicPr>
        <p:blipFill>
          <a:blip r:embed="rId2" cstate="print"/>
          <a:stretch>
            <a:fillRect/>
          </a:stretch>
        </p:blipFill>
        <p:spPr>
          <a:xfrm>
            <a:off x="7075054" y="4508526"/>
            <a:ext cx="2018707" cy="556586"/>
          </a:xfrm>
          <a:prstGeom prst="rect">
            <a:avLst/>
          </a:prstGeom>
        </p:spPr>
      </p:pic>
    </p:spTree>
    <p:extLst>
      <p:ext uri="{BB962C8B-B14F-4D97-AF65-F5344CB8AC3E}">
        <p14:creationId xmlns:p14="http://schemas.microsoft.com/office/powerpoint/2010/main" val="35075808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1" y="-1"/>
            <a:ext cx="4578351"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02" indent="-265106">
              <a:buFont typeface="Arial"/>
              <a:buChar char="•"/>
              <a:defRPr sz="1800">
                <a:solidFill>
                  <a:schemeClr val="accent1"/>
                </a:solidFill>
              </a:defRPr>
            </a:lvl2pPr>
            <a:lvl3pPr marL="708008" indent="-228594">
              <a:buFont typeface="Lucida Grande"/>
              <a:buChar char="–"/>
              <a:defRPr sz="1600">
                <a:solidFill>
                  <a:schemeClr val="accent1"/>
                </a:solidFill>
              </a:defRPr>
            </a:lvl3pPr>
            <a:lvl4pPr marL="976289" indent="-228594">
              <a:buFont typeface="Lucida Grande"/>
              <a:buChar char="–"/>
              <a:defRPr sz="1400">
                <a:solidFill>
                  <a:schemeClr val="accent1"/>
                </a:solidFill>
              </a:defRPr>
            </a:lvl4pPr>
            <a:lvl5pPr marL="1258856" indent="-231770" defTabSz="314318">
              <a:buFont typeface="Lucida Grande"/>
              <a:buChar char="–"/>
              <a:defRPr sz="1400">
                <a:solidFill>
                  <a:schemeClr val="accent1"/>
                </a:solidFill>
              </a:defRPr>
            </a:lvl5pPr>
          </a:lstStyle>
          <a:p>
            <a:pPr lvl="0"/>
            <a:r>
              <a:rPr lang="en-US"/>
              <a:t>Insert Your Content Here</a:t>
            </a:r>
          </a:p>
        </p:txBody>
      </p:sp>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6" name="Content Placeholder 12"/>
          <p:cNvSpPr>
            <a:spLocks noGrp="1"/>
          </p:cNvSpPr>
          <p:nvPr>
            <p:ph sz="quarter" idx="1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902" indent="-265106">
              <a:buFont typeface="Arial"/>
              <a:buChar char="•"/>
              <a:defRPr sz="2000">
                <a:solidFill>
                  <a:schemeClr val="bg1"/>
                </a:solidFill>
              </a:defRPr>
            </a:lvl2pPr>
            <a:lvl3pPr marL="708008" indent="-228594">
              <a:buFont typeface="Lucida Grande"/>
              <a:buChar char="–"/>
              <a:defRPr sz="1800">
                <a:solidFill>
                  <a:schemeClr val="bg1"/>
                </a:solidFill>
              </a:defRPr>
            </a:lvl3pPr>
            <a:lvl4pPr marL="976289" indent="-228594">
              <a:buFont typeface="Lucida Grande"/>
              <a:buChar char="–"/>
              <a:defRPr sz="1600">
                <a:solidFill>
                  <a:schemeClr val="bg1"/>
                </a:solidFill>
              </a:defRPr>
            </a:lvl4pPr>
            <a:lvl5pPr marL="1258856" indent="-231770" defTabSz="314318">
              <a:buFont typeface="Lucida Grande"/>
              <a:buChar cha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2581712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6" name="Content Placeholder 12"/>
          <p:cNvSpPr>
            <a:spLocks noGrp="1"/>
          </p:cNvSpPr>
          <p:nvPr>
            <p:ph sz="quarter" idx="11" hasCustomPrompt="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baseline="0">
                <a:solidFill>
                  <a:schemeClr val="bg1"/>
                </a:solidFill>
              </a:defRPr>
            </a:lvl1pPr>
            <a:lvl2pPr marL="442902" indent="-265106">
              <a:buFont typeface="Arial"/>
              <a:buChar char="•"/>
              <a:defRPr sz="2000">
                <a:solidFill>
                  <a:schemeClr val="bg1"/>
                </a:solidFill>
              </a:defRPr>
            </a:lvl2pPr>
            <a:lvl3pPr marL="708008" indent="-228594">
              <a:buFont typeface="Lucida Grande"/>
              <a:buChar char="–"/>
              <a:defRPr sz="1800">
                <a:solidFill>
                  <a:schemeClr val="bg1"/>
                </a:solidFill>
              </a:defRPr>
            </a:lvl3pPr>
            <a:lvl4pPr marL="976289" indent="-228594">
              <a:buFont typeface="Lucida Grande"/>
              <a:buChar char="–"/>
              <a:defRPr sz="1600">
                <a:solidFill>
                  <a:schemeClr val="bg1"/>
                </a:solidFill>
              </a:defRPr>
            </a:lvl4pPr>
            <a:lvl5pPr marL="1258856" indent="-231770" defTabSz="314318">
              <a:buFont typeface="Lucida Grande"/>
              <a:buChar char="–"/>
              <a:defRPr sz="1600">
                <a:solidFill>
                  <a:schemeClr val="bg1"/>
                </a:solidFill>
              </a:defRPr>
            </a:lvl5pPr>
          </a:lstStyle>
          <a:p>
            <a:pPr lvl="0"/>
            <a:r>
              <a:rPr lang="en-US"/>
              <a:t>Agenda (edit text)</a:t>
            </a:r>
          </a:p>
        </p:txBody>
      </p:sp>
      <p:sp>
        <p:nvSpPr>
          <p:cNvPr id="6"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
        <p:nvSpPr>
          <p:cNvPr id="10" name="Rechteck 7"/>
          <p:cNvSpPr/>
          <p:nvPr userDrawn="1"/>
        </p:nvSpPr>
        <p:spPr>
          <a:xfrm>
            <a:off x="5032059"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11" name="Rechteck 8"/>
          <p:cNvSpPr/>
          <p:nvPr userDrawn="1"/>
        </p:nvSpPr>
        <p:spPr>
          <a:xfrm>
            <a:off x="5616268"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dirty="0">
              <a:solidFill>
                <a:schemeClr val="accent1"/>
              </a:solidFill>
              <a:latin typeface="+mn-lt"/>
              <a:cs typeface="Arial" pitchFamily="34" charset="0"/>
            </a:endParaRPr>
          </a:p>
        </p:txBody>
      </p:sp>
      <p:sp>
        <p:nvSpPr>
          <p:cNvPr id="12" name="Rechteck 10"/>
          <p:cNvSpPr/>
          <p:nvPr userDrawn="1"/>
        </p:nvSpPr>
        <p:spPr>
          <a:xfrm>
            <a:off x="5028791"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13" name="Rechteck 11"/>
          <p:cNvSpPr/>
          <p:nvPr userDrawn="1"/>
        </p:nvSpPr>
        <p:spPr>
          <a:xfrm>
            <a:off x="5624172"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01" algn="l"/>
              </a:tabLst>
            </a:pPr>
            <a:endParaRPr lang="en-US" sz="1300" b="1" dirty="0">
              <a:solidFill>
                <a:schemeClr val="accent1"/>
              </a:solidFill>
              <a:latin typeface="+mn-lt"/>
              <a:cs typeface="Arial" pitchFamily="34" charset="0"/>
            </a:endParaRPr>
          </a:p>
        </p:txBody>
      </p:sp>
      <p:sp>
        <p:nvSpPr>
          <p:cNvPr id="31" name="Rechteck 10"/>
          <p:cNvSpPr/>
          <p:nvPr userDrawn="1"/>
        </p:nvSpPr>
        <p:spPr>
          <a:xfrm>
            <a:off x="5028791"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32" name="Rechteck 11"/>
          <p:cNvSpPr/>
          <p:nvPr userDrawn="1"/>
        </p:nvSpPr>
        <p:spPr>
          <a:xfrm>
            <a:off x="5624172"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01" algn="l"/>
              </a:tabLst>
            </a:pPr>
            <a:endParaRPr lang="en-US" sz="1300" b="1" dirty="0">
              <a:solidFill>
                <a:schemeClr val="accent1"/>
              </a:solidFill>
              <a:latin typeface="+mn-lt"/>
              <a:cs typeface="Arial" pitchFamily="34" charset="0"/>
            </a:endParaRPr>
          </a:p>
        </p:txBody>
      </p:sp>
      <p:sp>
        <p:nvSpPr>
          <p:cNvPr id="45" name="Rechteck 10"/>
          <p:cNvSpPr/>
          <p:nvPr userDrawn="1"/>
        </p:nvSpPr>
        <p:spPr>
          <a:xfrm>
            <a:off x="5028791"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6" name="Rechteck 11"/>
          <p:cNvSpPr/>
          <p:nvPr userDrawn="1"/>
        </p:nvSpPr>
        <p:spPr>
          <a:xfrm>
            <a:off x="5624172"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01" algn="l"/>
              </a:tabLst>
            </a:pPr>
            <a:endParaRPr lang="en-US" sz="1300" b="1" dirty="0">
              <a:solidFill>
                <a:schemeClr val="accent1"/>
              </a:solidFill>
              <a:latin typeface="+mn-lt"/>
              <a:cs typeface="Arial" pitchFamily="34" charset="0"/>
            </a:endParaRPr>
          </a:p>
        </p:txBody>
      </p:sp>
      <p:sp>
        <p:nvSpPr>
          <p:cNvPr id="47" name="Rechteck 10"/>
          <p:cNvSpPr/>
          <p:nvPr userDrawn="1"/>
        </p:nvSpPr>
        <p:spPr>
          <a:xfrm>
            <a:off x="5028791"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48" name="Rechteck 11"/>
          <p:cNvSpPr/>
          <p:nvPr userDrawn="1"/>
        </p:nvSpPr>
        <p:spPr>
          <a:xfrm>
            <a:off x="5624172"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01" algn="l"/>
              </a:tabLst>
            </a:pPr>
            <a:endParaRPr lang="en-US" sz="1300" b="1" dirty="0">
              <a:solidFill>
                <a:schemeClr val="accent1"/>
              </a:solidFill>
              <a:latin typeface="+mn-lt"/>
              <a:cs typeface="Arial" pitchFamily="34" charset="0"/>
            </a:endParaRPr>
          </a:p>
        </p:txBody>
      </p:sp>
      <p:sp>
        <p:nvSpPr>
          <p:cNvPr id="49" name="Rechteck 10"/>
          <p:cNvSpPr/>
          <p:nvPr userDrawn="1"/>
        </p:nvSpPr>
        <p:spPr>
          <a:xfrm>
            <a:off x="5028791"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0" name="Rechteck 11"/>
          <p:cNvSpPr/>
          <p:nvPr userDrawn="1"/>
        </p:nvSpPr>
        <p:spPr>
          <a:xfrm>
            <a:off x="5624172"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01" algn="l"/>
              </a:tabLst>
            </a:pPr>
            <a:endParaRPr lang="en-US" sz="1300" b="1" dirty="0">
              <a:solidFill>
                <a:schemeClr val="accent1"/>
              </a:solidFill>
              <a:latin typeface="+mn-lt"/>
              <a:cs typeface="Arial" pitchFamily="34" charset="0"/>
            </a:endParaRPr>
          </a:p>
        </p:txBody>
      </p:sp>
      <p:sp>
        <p:nvSpPr>
          <p:cNvPr id="51" name="Rechteck 10"/>
          <p:cNvSpPr/>
          <p:nvPr userDrawn="1"/>
        </p:nvSpPr>
        <p:spPr>
          <a:xfrm>
            <a:off x="5028791" y="33956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2" name="Rechteck 11"/>
          <p:cNvSpPr/>
          <p:nvPr userDrawn="1"/>
        </p:nvSpPr>
        <p:spPr>
          <a:xfrm>
            <a:off x="5624172" y="33966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01" algn="l"/>
              </a:tabLst>
            </a:pPr>
            <a:endParaRPr lang="en-US" sz="1300" b="1" dirty="0">
              <a:solidFill>
                <a:schemeClr val="accent1"/>
              </a:solidFill>
              <a:latin typeface="+mn-lt"/>
              <a:cs typeface="Arial" pitchFamily="34" charset="0"/>
            </a:endParaRPr>
          </a:p>
        </p:txBody>
      </p:sp>
      <p:sp>
        <p:nvSpPr>
          <p:cNvPr id="55" name="Rechteck 10"/>
          <p:cNvSpPr/>
          <p:nvPr userDrawn="1"/>
        </p:nvSpPr>
        <p:spPr>
          <a:xfrm>
            <a:off x="5028791" y="391957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rgbClr val="626469"/>
              </a:solidFill>
              <a:latin typeface="+mn-lt"/>
              <a:ea typeface="Arial Unicode MS" pitchFamily="34" charset="-128"/>
              <a:cs typeface="Arial" pitchFamily="34" charset="0"/>
            </a:endParaRPr>
          </a:p>
        </p:txBody>
      </p:sp>
      <p:sp>
        <p:nvSpPr>
          <p:cNvPr id="56" name="Rechteck 11"/>
          <p:cNvSpPr/>
          <p:nvPr userDrawn="1"/>
        </p:nvSpPr>
        <p:spPr>
          <a:xfrm>
            <a:off x="5624172" y="3920561"/>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01" algn="l"/>
              </a:tabLst>
            </a:pPr>
            <a:endParaRPr lang="en-US" sz="1300" b="1" dirty="0">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5004101" y="382138"/>
            <a:ext cx="509596" cy="210641"/>
          </a:xfrm>
          <a:prstGeom prst="rect">
            <a:avLst/>
          </a:prstGeom>
        </p:spPr>
        <p:txBody>
          <a:bodyPr anchor="ctr"/>
          <a:lstStyle>
            <a:lvl1pPr algn="ctr">
              <a:buNone/>
              <a:defRPr sz="1300" b="1">
                <a:solidFill>
                  <a:schemeClr val="accent1"/>
                </a:solidFill>
              </a:defRPr>
            </a:lvl1pPr>
          </a:lstStyle>
          <a:p>
            <a:r>
              <a:rPr lang="en-US"/>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26" name="Text Placeholder 4"/>
          <p:cNvSpPr>
            <a:spLocks noGrp="1"/>
          </p:cNvSpPr>
          <p:nvPr userDrawn="1">
            <p:ph type="body" sz="quarter" idx="15" hasCustomPrompt="1"/>
          </p:nvPr>
        </p:nvSpPr>
        <p:spPr>
          <a:xfrm>
            <a:off x="5006373" y="875738"/>
            <a:ext cx="509596" cy="210641"/>
          </a:xfrm>
          <a:prstGeom prst="rect">
            <a:avLst/>
          </a:prstGeom>
        </p:spPr>
        <p:txBody>
          <a:bodyPr anchor="ctr"/>
          <a:lstStyle>
            <a:lvl1pPr algn="ctr">
              <a:buNone/>
              <a:defRPr sz="1300" b="1">
                <a:solidFill>
                  <a:schemeClr val="accent1"/>
                </a:solidFill>
              </a:defRPr>
            </a:lvl1pPr>
          </a:lstStyle>
          <a:p>
            <a:r>
              <a:rPr lang="en-US"/>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27" name="Text Placeholder 4"/>
          <p:cNvSpPr>
            <a:spLocks noGrp="1"/>
          </p:cNvSpPr>
          <p:nvPr userDrawn="1">
            <p:ph type="body" sz="quarter" idx="16" hasCustomPrompt="1"/>
          </p:nvPr>
        </p:nvSpPr>
        <p:spPr>
          <a:xfrm>
            <a:off x="4994997" y="1410282"/>
            <a:ext cx="509596" cy="210641"/>
          </a:xfrm>
          <a:prstGeom prst="rect">
            <a:avLst/>
          </a:prstGeom>
        </p:spPr>
        <p:txBody>
          <a:bodyPr anchor="ctr"/>
          <a:lstStyle>
            <a:lvl1pPr algn="ctr">
              <a:buNone/>
              <a:defRPr sz="1300" b="1">
                <a:solidFill>
                  <a:schemeClr val="accent1"/>
                </a:solidFill>
              </a:defRPr>
            </a:lvl1pPr>
          </a:lstStyle>
          <a:p>
            <a:r>
              <a:rPr lang="en-US"/>
              <a:t>3</a:t>
            </a:r>
          </a:p>
        </p:txBody>
      </p:sp>
      <p:sp>
        <p:nvSpPr>
          <p:cNvPr id="28" name="Text Placeholder 4"/>
          <p:cNvSpPr>
            <a:spLocks noGrp="1"/>
          </p:cNvSpPr>
          <p:nvPr userDrawn="1">
            <p:ph type="body" sz="quarter" idx="17" hasCustomPrompt="1"/>
          </p:nvPr>
        </p:nvSpPr>
        <p:spPr>
          <a:xfrm>
            <a:off x="5620528" y="1423930"/>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29" name="Text Placeholder 4"/>
          <p:cNvSpPr>
            <a:spLocks noGrp="1"/>
          </p:cNvSpPr>
          <p:nvPr userDrawn="1">
            <p:ph type="body" sz="quarter" idx="18" hasCustomPrompt="1"/>
          </p:nvPr>
        </p:nvSpPr>
        <p:spPr>
          <a:xfrm>
            <a:off x="4992725" y="1926634"/>
            <a:ext cx="509596" cy="210641"/>
          </a:xfrm>
          <a:prstGeom prst="rect">
            <a:avLst/>
          </a:prstGeom>
        </p:spPr>
        <p:txBody>
          <a:bodyPr anchor="ctr"/>
          <a:lstStyle>
            <a:lvl1pPr algn="ctr">
              <a:buNone/>
              <a:defRPr sz="1300" b="1">
                <a:solidFill>
                  <a:schemeClr val="accent1"/>
                </a:solidFill>
              </a:defRPr>
            </a:lvl1pPr>
          </a:lstStyle>
          <a:p>
            <a:r>
              <a:rPr lang="en-US"/>
              <a:t>4</a:t>
            </a:r>
          </a:p>
        </p:txBody>
      </p:sp>
      <p:sp>
        <p:nvSpPr>
          <p:cNvPr id="30" name="Text Placeholder 4"/>
          <p:cNvSpPr>
            <a:spLocks noGrp="1"/>
          </p:cNvSpPr>
          <p:nvPr userDrawn="1">
            <p:ph type="body" sz="quarter" idx="19" hasCustomPrompt="1"/>
          </p:nvPr>
        </p:nvSpPr>
        <p:spPr>
          <a:xfrm>
            <a:off x="5618256" y="1940282"/>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3" name="Text Placeholder 4"/>
          <p:cNvSpPr>
            <a:spLocks noGrp="1"/>
          </p:cNvSpPr>
          <p:nvPr userDrawn="1">
            <p:ph type="body" sz="quarter" idx="20" hasCustomPrompt="1"/>
          </p:nvPr>
        </p:nvSpPr>
        <p:spPr>
          <a:xfrm>
            <a:off x="4994997" y="2420234"/>
            <a:ext cx="509596" cy="210641"/>
          </a:xfrm>
          <a:prstGeom prst="rect">
            <a:avLst/>
          </a:prstGeom>
        </p:spPr>
        <p:txBody>
          <a:bodyPr anchor="ctr"/>
          <a:lstStyle>
            <a:lvl1pPr algn="ctr">
              <a:buNone/>
              <a:defRPr sz="1300" b="1">
                <a:solidFill>
                  <a:schemeClr val="accent1"/>
                </a:solidFill>
              </a:defRPr>
            </a:lvl1pPr>
          </a:lstStyle>
          <a:p>
            <a:r>
              <a:rPr lang="en-US"/>
              <a:t>5</a:t>
            </a:r>
          </a:p>
        </p:txBody>
      </p:sp>
      <p:sp>
        <p:nvSpPr>
          <p:cNvPr id="34" name="Text Placeholder 4"/>
          <p:cNvSpPr>
            <a:spLocks noGrp="1"/>
          </p:cNvSpPr>
          <p:nvPr userDrawn="1">
            <p:ph type="body" sz="quarter" idx="21" hasCustomPrompt="1"/>
          </p:nvPr>
        </p:nvSpPr>
        <p:spPr>
          <a:xfrm>
            <a:off x="5620528" y="2433881"/>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5" name="Text Placeholder 4"/>
          <p:cNvSpPr>
            <a:spLocks noGrp="1"/>
          </p:cNvSpPr>
          <p:nvPr userDrawn="1">
            <p:ph type="body" sz="quarter" idx="22" hasCustomPrompt="1"/>
          </p:nvPr>
        </p:nvSpPr>
        <p:spPr>
          <a:xfrm>
            <a:off x="4997268" y="2954778"/>
            <a:ext cx="509596" cy="210641"/>
          </a:xfrm>
          <a:prstGeom prst="rect">
            <a:avLst/>
          </a:prstGeom>
        </p:spPr>
        <p:txBody>
          <a:bodyPr anchor="ctr"/>
          <a:lstStyle>
            <a:lvl1pPr algn="ctr">
              <a:buNone/>
              <a:defRPr sz="1300" b="1">
                <a:solidFill>
                  <a:schemeClr val="accent1"/>
                </a:solidFill>
              </a:defRPr>
            </a:lvl1pPr>
          </a:lstStyle>
          <a:p>
            <a:r>
              <a:rPr lang="en-US"/>
              <a:t>6</a:t>
            </a:r>
          </a:p>
        </p:txBody>
      </p:sp>
      <p:sp>
        <p:nvSpPr>
          <p:cNvPr id="36" name="Text Placeholder 4"/>
          <p:cNvSpPr>
            <a:spLocks noGrp="1"/>
          </p:cNvSpPr>
          <p:nvPr userDrawn="1">
            <p:ph type="body" sz="quarter" idx="23" hasCustomPrompt="1"/>
          </p:nvPr>
        </p:nvSpPr>
        <p:spPr>
          <a:xfrm>
            <a:off x="5609152" y="2968426"/>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7" name="Text Placeholder 4"/>
          <p:cNvSpPr>
            <a:spLocks noGrp="1"/>
          </p:cNvSpPr>
          <p:nvPr userDrawn="1">
            <p:ph type="body" sz="quarter" idx="24" hasCustomPrompt="1"/>
          </p:nvPr>
        </p:nvSpPr>
        <p:spPr>
          <a:xfrm>
            <a:off x="4983621" y="3487050"/>
            <a:ext cx="509596" cy="210641"/>
          </a:xfrm>
          <a:prstGeom prst="rect">
            <a:avLst/>
          </a:prstGeom>
        </p:spPr>
        <p:txBody>
          <a:bodyPr anchor="ctr"/>
          <a:lstStyle>
            <a:lvl1pPr algn="ctr">
              <a:buNone/>
              <a:defRPr sz="1300" b="1">
                <a:solidFill>
                  <a:schemeClr val="accent1"/>
                </a:solidFill>
              </a:defRPr>
            </a:lvl1pPr>
          </a:lstStyle>
          <a:p>
            <a:r>
              <a:rPr lang="en-US"/>
              <a:t>7</a:t>
            </a:r>
          </a:p>
        </p:txBody>
      </p:sp>
      <p:sp>
        <p:nvSpPr>
          <p:cNvPr id="38" name="Text Placeholder 4"/>
          <p:cNvSpPr>
            <a:spLocks noGrp="1"/>
          </p:cNvSpPr>
          <p:nvPr userDrawn="1">
            <p:ph type="body" sz="quarter" idx="25" hasCustomPrompt="1"/>
          </p:nvPr>
        </p:nvSpPr>
        <p:spPr>
          <a:xfrm>
            <a:off x="5622800" y="3500698"/>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9" name="Text Placeholder 4"/>
          <p:cNvSpPr>
            <a:spLocks noGrp="1"/>
          </p:cNvSpPr>
          <p:nvPr userDrawn="1">
            <p:ph type="body" sz="quarter" idx="26" hasCustomPrompt="1"/>
          </p:nvPr>
        </p:nvSpPr>
        <p:spPr>
          <a:xfrm>
            <a:off x="4985892" y="4021594"/>
            <a:ext cx="509596" cy="210641"/>
          </a:xfrm>
          <a:prstGeom prst="rect">
            <a:avLst/>
          </a:prstGeom>
        </p:spPr>
        <p:txBody>
          <a:bodyPr anchor="ctr"/>
          <a:lstStyle>
            <a:lvl1pPr algn="ctr">
              <a:buNone/>
              <a:defRPr sz="1300" b="1">
                <a:solidFill>
                  <a:schemeClr val="accent1"/>
                </a:solidFill>
              </a:defRPr>
            </a:lvl1pPr>
          </a:lstStyle>
          <a:p>
            <a:r>
              <a:rPr lang="en-US"/>
              <a:t>8</a:t>
            </a:r>
          </a:p>
        </p:txBody>
      </p:sp>
      <p:sp>
        <p:nvSpPr>
          <p:cNvPr id="40" name="Text Placeholder 4"/>
          <p:cNvSpPr>
            <a:spLocks noGrp="1"/>
          </p:cNvSpPr>
          <p:nvPr userDrawn="1">
            <p:ph type="body" sz="quarter" idx="27" hasCustomPrompt="1"/>
          </p:nvPr>
        </p:nvSpPr>
        <p:spPr>
          <a:xfrm>
            <a:off x="5611424" y="4035242"/>
            <a:ext cx="3145878" cy="208365"/>
          </a:xfrm>
          <a:prstGeom prst="rect">
            <a:avLst/>
          </a:prstGeom>
        </p:spPr>
        <p:txBody>
          <a:bodyPr anchor="ctr"/>
          <a:lstStyle>
            <a:lvl1pPr>
              <a:buNone/>
              <a:defRPr sz="1300" b="1">
                <a:solidFill>
                  <a:schemeClr val="accent1"/>
                </a:solidFill>
              </a:defRPr>
            </a:lvl1pPr>
          </a:lstStyle>
          <a:p>
            <a:r>
              <a:rPr lang="en-US"/>
              <a:t>Edit text</a:t>
            </a:r>
          </a:p>
        </p:txBody>
      </p:sp>
    </p:spTree>
    <p:extLst>
      <p:ext uri="{BB962C8B-B14F-4D97-AF65-F5344CB8AC3E}">
        <p14:creationId xmlns:p14="http://schemas.microsoft.com/office/powerpoint/2010/main" val="24928958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4" y="1"/>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902" indent="-265106">
              <a:buFont typeface="Arial"/>
              <a:buChar char="•"/>
              <a:defRPr sz="1800">
                <a:solidFill>
                  <a:schemeClr val="accent1"/>
                </a:solidFill>
              </a:defRPr>
            </a:lvl2pPr>
            <a:lvl3pPr marL="708008" indent="-228594">
              <a:buFont typeface="Lucida Grande"/>
              <a:buChar char="–"/>
              <a:defRPr sz="1600">
                <a:solidFill>
                  <a:schemeClr val="accent1"/>
                </a:solidFill>
              </a:defRPr>
            </a:lvl3pPr>
            <a:lvl4pPr marL="976289" indent="-228594">
              <a:buFont typeface="Lucida Grande"/>
              <a:buChar char="–"/>
              <a:defRPr sz="1400">
                <a:solidFill>
                  <a:schemeClr val="accent1"/>
                </a:solidFill>
              </a:defRPr>
            </a:lvl4pPr>
            <a:lvl5pPr marL="1258856" indent="-231770" defTabSz="314318">
              <a:buFont typeface="Lucida Grande"/>
              <a:buChar char="–"/>
              <a:defRPr sz="1400">
                <a:solidFill>
                  <a:schemeClr val="accent1"/>
                </a:solidFill>
              </a:defRPr>
            </a:lvl5pPr>
          </a:lstStyle>
          <a:p>
            <a:pPr lvl="0"/>
            <a:r>
              <a:rPr lang="en-US"/>
              <a:t>Insert Your Content Here</a:t>
            </a:r>
          </a:p>
        </p:txBody>
      </p:sp>
      <p:sp>
        <p:nvSpPr>
          <p:cNvPr id="3" name="Content Placeholder 12"/>
          <p:cNvSpPr>
            <a:spLocks noGrp="1"/>
          </p:cNvSpPr>
          <p:nvPr>
            <p:ph sz="quarter" idx="11"/>
          </p:nvPr>
        </p:nvSpPr>
        <p:spPr>
          <a:xfrm>
            <a:off x="252414" y="982953"/>
            <a:ext cx="3749962" cy="3418927"/>
          </a:xfrm>
          <a:prstGeom prst="rect">
            <a:avLst/>
          </a:prstGeom>
          <a:noFill/>
        </p:spPr>
        <p:txBody>
          <a:bodyPr vert="horz" wrap="square" lIns="0" tIns="0" rIns="0" bIns="0">
            <a:noAutofit/>
          </a:bodyPr>
          <a:lstStyle>
            <a:lvl1pPr marL="236532" indent="-236532">
              <a:buClr>
                <a:schemeClr val="tx2"/>
              </a:buClr>
              <a:buFont typeface="Arial" panose="020B0604020202020204" pitchFamily="34" charset="0"/>
              <a:buNone/>
              <a:defRPr sz="1800">
                <a:solidFill>
                  <a:schemeClr val="accent1"/>
                </a:solidFill>
              </a:defRPr>
            </a:lvl1pPr>
            <a:lvl2pPr marL="457189" indent="-220658">
              <a:buClr>
                <a:schemeClr val="tx2"/>
              </a:buClr>
              <a:buFont typeface="Arial" panose="020B0604020202020204" pitchFamily="34" charset="0"/>
              <a:buChar char="•"/>
              <a:defRPr sz="1600">
                <a:solidFill>
                  <a:schemeClr val="accent1"/>
                </a:solidFill>
              </a:defRPr>
            </a:lvl2pPr>
            <a:lvl3pPr marL="630222" indent="-173034">
              <a:buClr>
                <a:schemeClr val="tx2"/>
              </a:buClr>
              <a:buFont typeface="Arial" panose="020B0604020202020204" pitchFamily="34" charset="0"/>
              <a:buChar char="•"/>
              <a:defRPr sz="1400">
                <a:solidFill>
                  <a:schemeClr val="accent1"/>
                </a:solidFill>
              </a:defRPr>
            </a:lvl3pPr>
            <a:lvl4pPr marL="803255" indent="-173034">
              <a:buClr>
                <a:schemeClr val="tx2"/>
              </a:buClr>
              <a:buFont typeface="Arial" panose="020B0604020202020204" pitchFamily="34" charset="0"/>
              <a:buChar char="•"/>
              <a:defRPr sz="1400">
                <a:solidFill>
                  <a:schemeClr val="accent1"/>
                </a:solidFill>
              </a:defRPr>
            </a:lvl4pPr>
            <a:lvl5pPr marL="977876" indent="-174621" defTabSz="314318">
              <a:buClr>
                <a:schemeClr val="tx2"/>
              </a:buClr>
              <a:buFont typeface="Arial" panose="020B0604020202020204" pitchFamily="34" charset="0"/>
              <a:buChar cha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p:cNvSpPr>
            <a:spLocks noGrp="1"/>
          </p:cNvSpPr>
          <p:nvPr>
            <p:ph type="title" hasCustomPrompt="1"/>
          </p:nvPr>
        </p:nvSpPr>
        <p:spPr>
          <a:xfrm>
            <a:off x="252414" y="348334"/>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a:t>Click To Edit Section Title</a:t>
            </a:r>
          </a:p>
        </p:txBody>
      </p:sp>
      <p:sp>
        <p:nvSpPr>
          <p:cNvPr id="23" name="Rectangle 22"/>
          <p:cNvSpPr/>
          <p:nvPr userDrawn="1"/>
        </p:nvSpPr>
        <p:spPr>
          <a:xfrm rot="5400000">
            <a:off x="1854992" y="2385219"/>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a:t> </a:t>
            </a:r>
          </a:p>
        </p:txBody>
      </p:sp>
      <p:sp>
        <p:nvSpPr>
          <p:cNvPr id="15"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10" name="Picture 9"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7574281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7" y="2175154"/>
            <a:ext cx="8633531" cy="369332"/>
          </a:xfrm>
          <a:prstGeom prst="rect">
            <a:avLst/>
          </a:prstGeom>
        </p:spPr>
        <p:txBody>
          <a:bodyPr lIns="0" tIns="0" rIns="0" bIns="0" anchor="ctr" anchorCtr="0">
            <a:noAutofit/>
          </a:bodyPr>
          <a:lstStyle>
            <a:lvl1pPr algn="l">
              <a:defRPr sz="2400" baseline="0">
                <a:solidFill>
                  <a:schemeClr val="tx2"/>
                </a:solidFill>
              </a:defRPr>
            </a:lvl1pPr>
          </a:lstStyle>
          <a:p>
            <a:r>
              <a:rPr lang="en-US"/>
              <a:t>Click To Edit Section Title</a:t>
            </a:r>
          </a:p>
        </p:txBody>
      </p:sp>
      <p:sp>
        <p:nvSpPr>
          <p:cNvPr id="8" name="Text Placeholder 9"/>
          <p:cNvSpPr>
            <a:spLocks noGrp="1"/>
          </p:cNvSpPr>
          <p:nvPr>
            <p:ph type="body" sz="quarter" idx="11" hasCustomPrompt="1"/>
          </p:nvPr>
        </p:nvSpPr>
        <p:spPr>
          <a:xfrm>
            <a:off x="258057" y="2634498"/>
            <a:ext cx="8633531" cy="215444"/>
          </a:xfrm>
          <a:prstGeom prst="rect">
            <a:avLst/>
          </a:prstGeom>
        </p:spPr>
        <p:txBody>
          <a:bodyPr lIns="0" tIns="0" rIns="0" bIns="0" anchor="ctr" anchorCtr="0">
            <a:noAutofit/>
          </a:bodyPr>
          <a:lstStyle>
            <a:lvl1pPr marL="0" indent="0">
              <a:buNone/>
              <a:defRPr sz="1400" baseline="0">
                <a:solidFill>
                  <a:schemeClr val="accent1"/>
                </a:solidFill>
              </a:defRPr>
            </a:lvl1pPr>
          </a:lstStyle>
          <a:p>
            <a:pPr lvl="0"/>
            <a:r>
              <a:rPr lang="en-US"/>
              <a:t>Click To Edit Optional Subtitle</a:t>
            </a:r>
          </a:p>
        </p:txBody>
      </p:sp>
      <p:sp>
        <p:nvSpPr>
          <p:cNvPr id="13"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18013516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w/ Image 4">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a:t>Insert Your Content Here</a:t>
            </a:r>
          </a:p>
        </p:txBody>
      </p:sp>
      <p:sp>
        <p:nvSpPr>
          <p:cNvPr id="3" name="Content Placeholder 12"/>
          <p:cNvSpPr>
            <a:spLocks noGrp="1"/>
          </p:cNvSpPr>
          <p:nvPr>
            <p:ph sz="quarter" idx="11"/>
          </p:nvPr>
        </p:nvSpPr>
        <p:spPr>
          <a:xfrm>
            <a:off x="252413" y="982952"/>
            <a:ext cx="3749962" cy="1452705"/>
          </a:xfrm>
          <a:prstGeom prst="rect">
            <a:avLst/>
          </a:prstGeom>
          <a:noFill/>
        </p:spPr>
        <p:txBody>
          <a:bodyPr vert="horz" wrap="square" lIns="0" tIns="0" rIns="0" bIns="0">
            <a:spAutoFit/>
          </a:bodyPr>
          <a:lstStyle>
            <a:lvl1pPr marL="236538" indent="-236538">
              <a:buClr>
                <a:schemeClr val="tx2"/>
              </a:buClr>
              <a:buFont typeface="Arial" panose="020B0604020202020204" pitchFamily="34" charset="0"/>
              <a:buChar char="•"/>
              <a:defRPr sz="2000">
                <a:solidFill>
                  <a:schemeClr val="accent1"/>
                </a:solidFill>
              </a:defRPr>
            </a:lvl1pPr>
            <a:lvl2pPr marL="457200" indent="-220663">
              <a:buClr>
                <a:schemeClr val="tx2"/>
              </a:buClr>
              <a:buFont typeface="Arial" panose="020B0604020202020204" pitchFamily="34" charset="0"/>
              <a:buChar char="•"/>
              <a:defRPr sz="1800">
                <a:solidFill>
                  <a:schemeClr val="accent1"/>
                </a:solidFill>
              </a:defRPr>
            </a:lvl2pPr>
            <a:lvl3pPr marL="630238" indent="-173038">
              <a:buClr>
                <a:schemeClr val="tx2"/>
              </a:buClr>
              <a:buFont typeface="Arial" panose="020B0604020202020204" pitchFamily="34" charset="0"/>
              <a:buChar char="•"/>
              <a:defRPr sz="16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1" name="Picture 10"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5185780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14" y="2955455"/>
            <a:ext cx="8647111" cy="307777"/>
          </a:xfrm>
          <a:prstGeom prst="rect">
            <a:avLst/>
          </a:prstGeom>
        </p:spPr>
        <p:txBody>
          <a:bodyPr lIns="0" tIns="0" rIns="0" bIns="0">
            <a:noAutofit/>
          </a:bodyPr>
          <a:lstStyle>
            <a:lvl1pPr marL="0" indent="0" algn="ctr">
              <a:buNone/>
              <a:defRPr sz="2000">
                <a:solidFill>
                  <a:schemeClr val="accent2"/>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4"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a:t>CLICK TO EDIT QUOTE OR CALLOUT</a:t>
            </a:r>
          </a:p>
        </p:txBody>
      </p:sp>
    </p:spTree>
    <p:extLst>
      <p:ext uri="{BB962C8B-B14F-4D97-AF65-F5344CB8AC3E}">
        <p14:creationId xmlns:p14="http://schemas.microsoft.com/office/powerpoint/2010/main" val="9136619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4" y="1713559"/>
            <a:ext cx="8647112" cy="1231106"/>
          </a:xfrm>
          <a:prstGeom prst="rect">
            <a:avLst/>
          </a:prstGeom>
        </p:spPr>
        <p:txBody>
          <a:bodyPr lIns="0" tIns="0" rIns="0" bIns="0" anchor="t">
            <a:noAutofit/>
          </a:bodyPr>
          <a:lstStyle>
            <a:lvl1pPr marL="0" indent="0" algn="ctr">
              <a:buFont typeface="Arial"/>
              <a:buNone/>
              <a:defRPr sz="4000">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252414" y="2955455"/>
            <a:ext cx="8647111" cy="307777"/>
          </a:xfrm>
          <a:prstGeom prst="rect">
            <a:avLst/>
          </a:prstGeom>
        </p:spPr>
        <p:txBody>
          <a:bodyPr lIns="0" tIns="0" rIns="0" bIns="0">
            <a:noAutofit/>
          </a:bodyPr>
          <a:lstStyle>
            <a:lvl1pPr marL="0" indent="0" algn="ctr">
              <a:buNone/>
              <a:defRPr sz="2000">
                <a:solidFill>
                  <a:schemeClr val="accent2"/>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rgbClr val="00B0F0"/>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19806727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4" y="1713559"/>
            <a:ext cx="8647112" cy="1231106"/>
          </a:xfrm>
          <a:prstGeom prst="rect">
            <a:avLst/>
          </a:prstGeom>
        </p:spPr>
        <p:txBody>
          <a:bodyPr wrap="square" lIns="0" tIns="0" rIns="0" bIns="0" anchor="t">
            <a:noAutofit/>
          </a:bodyPr>
          <a:lstStyle>
            <a:lvl1pPr marL="0" indent="0" algn="ctr">
              <a:buFont typeface="Arial"/>
              <a:buNone/>
              <a:defRPr sz="4000">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252414" y="2955455"/>
            <a:ext cx="8647111" cy="307777"/>
          </a:xfrm>
          <a:prstGeom prst="rect">
            <a:avLst/>
          </a:prstGeom>
        </p:spPr>
        <p:txBody>
          <a:bodyPr wrap="square" lIns="0" tIns="0" rIns="0" bIns="0">
            <a:noAutofit/>
          </a:bodyPr>
          <a:lstStyle>
            <a:lvl1pPr marL="0" indent="0" algn="ctr">
              <a:buNone/>
              <a:defRPr sz="2000">
                <a:solidFill>
                  <a:schemeClr val="accent2"/>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Optional Subtitle</a:t>
            </a:r>
          </a:p>
        </p:txBody>
      </p:sp>
      <p:sp>
        <p:nvSpPr>
          <p:cNvPr id="9"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18116955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4"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a:t>CLICK TO EDIT QUOTE OR CALLOUT</a:t>
            </a:r>
          </a:p>
        </p:txBody>
      </p:sp>
      <p:sp>
        <p:nvSpPr>
          <p:cNvPr id="10" name="Subtitle 2"/>
          <p:cNvSpPr>
            <a:spLocks noGrp="1"/>
          </p:cNvSpPr>
          <p:nvPr>
            <p:ph type="subTitle" idx="1" hasCustomPrompt="1"/>
          </p:nvPr>
        </p:nvSpPr>
        <p:spPr>
          <a:xfrm>
            <a:off x="252414" y="2955455"/>
            <a:ext cx="8647111" cy="307777"/>
          </a:xfrm>
          <a:prstGeom prst="rect">
            <a:avLst/>
          </a:prstGeom>
        </p:spPr>
        <p:txBody>
          <a:bodyPr lIns="0" tIns="0" rIns="0" bIns="0">
            <a:noAutofit/>
          </a:bodyPr>
          <a:lstStyle>
            <a:lvl1pPr marL="0" indent="0" algn="ctr">
              <a:buNone/>
              <a:defRPr sz="2000">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Optional Subtitle</a:t>
            </a:r>
          </a:p>
        </p:txBody>
      </p:sp>
      <p:sp>
        <p:nvSpPr>
          <p:cNvPr id="14"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11" name="Picture 10" descr="schneider_LIO_White_RGB.png"/>
          <p:cNvPicPr>
            <a:picLocks noChangeAspect="1"/>
          </p:cNvPicPr>
          <p:nvPr userDrawn="1"/>
        </p:nvPicPr>
        <p:blipFill>
          <a:blip r:embed="rId2" cstate="print"/>
          <a:stretch>
            <a:fillRect/>
          </a:stretch>
        </p:blipFill>
        <p:spPr>
          <a:xfrm>
            <a:off x="7075054" y="4508526"/>
            <a:ext cx="2018707" cy="556586"/>
          </a:xfrm>
          <a:prstGeom prst="rect">
            <a:avLst/>
          </a:prstGeom>
        </p:spPr>
      </p:pic>
    </p:spTree>
    <p:extLst>
      <p:ext uri="{BB962C8B-B14F-4D97-AF65-F5344CB8AC3E}">
        <p14:creationId xmlns:p14="http://schemas.microsoft.com/office/powerpoint/2010/main" val="402540670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891" y="4857157"/>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15" y="4857156"/>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7" name="Picture 6" descr="schneider_LIO_White_RGB.png"/>
          <p:cNvPicPr>
            <a:picLocks noChangeAspect="1"/>
          </p:cNvPicPr>
          <p:nvPr userDrawn="1"/>
        </p:nvPicPr>
        <p:blipFill>
          <a:blip r:embed="rId2" cstate="print"/>
          <a:stretch>
            <a:fillRect/>
          </a:stretch>
        </p:blipFill>
        <p:spPr>
          <a:xfrm>
            <a:off x="7105949" y="4510060"/>
            <a:ext cx="1907005" cy="525789"/>
          </a:xfrm>
          <a:prstGeom prst="rect">
            <a:avLst/>
          </a:prstGeom>
        </p:spPr>
      </p:pic>
      <p:sp>
        <p:nvSpPr>
          <p:cNvPr id="12"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966" tIns="0" rIns="0" bIns="0" anchor="ctr" anchorCtr="0"/>
          <a:lstStyle>
            <a:lvl1pPr algn="l">
              <a:defRPr sz="2400" baseline="0">
                <a:solidFill>
                  <a:srgbClr val="FFFFFF"/>
                </a:solidFill>
              </a:defRPr>
            </a:lvl1pPr>
          </a:lstStyle>
          <a:p>
            <a:r>
              <a:rPr lang="en-US"/>
              <a:t>Click To Edit Section Title</a:t>
            </a:r>
          </a:p>
        </p:txBody>
      </p:sp>
      <p:sp>
        <p:nvSpPr>
          <p:cNvPr id="13" name="Text Placeholder 9"/>
          <p:cNvSpPr>
            <a:spLocks noGrp="1"/>
          </p:cNvSpPr>
          <p:nvPr>
            <p:ph type="body" sz="quarter" idx="11" hasCustomPrompt="1"/>
          </p:nvPr>
        </p:nvSpPr>
        <p:spPr>
          <a:xfrm>
            <a:off x="0" y="2900388"/>
            <a:ext cx="9144000" cy="373063"/>
          </a:xfrm>
          <a:prstGeom prst="rect">
            <a:avLst/>
          </a:prstGeom>
          <a:solidFill>
            <a:schemeClr val="tx2"/>
          </a:solidFill>
        </p:spPr>
        <p:txBody>
          <a:bodyPr lIns="251966" tIns="0" rIns="0" bIns="0" anchor="ctr" anchorCtr="0"/>
          <a:lstStyle>
            <a:lvl1pPr marL="0" indent="0">
              <a:buNone/>
              <a:defRPr sz="1200" baseline="0">
                <a:solidFill>
                  <a:schemeClr val="bg1"/>
                </a:solidFill>
              </a:defRPr>
            </a:lvl1pPr>
          </a:lstStyle>
          <a:p>
            <a:pPr lvl="0"/>
            <a:r>
              <a:rPr lang="en-US"/>
              <a:t>Click To Edit Optional Subtitle</a:t>
            </a:r>
          </a:p>
        </p:txBody>
      </p:sp>
      <p:sp>
        <p:nvSpPr>
          <p:cNvPr id="10"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4846255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24" y="1958662"/>
            <a:ext cx="3559382" cy="981372"/>
          </a:xfrm>
          <a:prstGeom prst="rect">
            <a:avLst/>
          </a:prstGeom>
        </p:spPr>
      </p:pic>
    </p:spTree>
    <p:extLst>
      <p:ext uri="{BB962C8B-B14F-4D97-AF65-F5344CB8AC3E}">
        <p14:creationId xmlns:p14="http://schemas.microsoft.com/office/powerpoint/2010/main" val="10620943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Standard Layout">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7212" name="think-cell Slide" r:id="rId5" imgW="360" imgH="360" progId="TCLayout.ActiveDocument.1">
                  <p:embed/>
                </p:oleObj>
              </mc:Choice>
              <mc:Fallback>
                <p:oleObj name="think-cell Slide" r:id="rId5" imgW="360" imgH="360" progId="TCLayout.ActiveDocument.1">
                  <p:embed/>
                  <p:pic>
                    <p:nvPicPr>
                      <p:cNvPr id="2" name="Objet 1" hidden="1"/>
                      <p:cNvPicPr/>
                      <p:nvPr/>
                    </p:nvPicPr>
                    <p:blipFill>
                      <a:blip r:embed="rId6"/>
                      <a:stretch>
                        <a:fillRect/>
                      </a:stretch>
                    </p:blipFill>
                    <p:spPr>
                      <a:xfrm>
                        <a:off x="1592" y="1589"/>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A6BAAE1-BE16-4913-97AE-78C99E907225}"/>
              </a:ext>
            </a:extLst>
          </p:cNvPr>
          <p:cNvSpPr/>
          <p:nvPr userDrawn="1">
            <p:custDataLst>
              <p:tags r:id="rId3"/>
            </p:custDataLst>
          </p:nvPr>
        </p:nvSpPr>
        <p:spPr>
          <a:xfrm>
            <a:off x="0" y="1"/>
            <a:ext cx="119062"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Arial" panose="020B0604020202020204" pitchFamily="34" charset="0"/>
              <a:ea typeface="+mj-ea"/>
              <a:cs typeface="+mj-cs"/>
              <a:sym typeface="Arial" panose="020B0604020202020204" pitchFamily="34" charset="0"/>
            </a:endParaRPr>
          </a:p>
        </p:txBody>
      </p:sp>
      <p:pic>
        <p:nvPicPr>
          <p:cNvPr id="48" name="Picture 47">
            <a:extLst>
              <a:ext uri="{FF2B5EF4-FFF2-40B4-BE49-F238E27FC236}">
                <a16:creationId xmlns:a16="http://schemas.microsoft.com/office/drawing/2014/main" id="{50B9BE38-B23E-4651-AAA0-DEFCC83B237E}"/>
              </a:ext>
            </a:extLst>
          </p:cNvPr>
          <p:cNvPicPr>
            <a:picLocks noChangeAspect="1"/>
          </p:cNvPicPr>
          <p:nvPr userDrawn="1"/>
        </p:nvPicPr>
        <p:blipFill rotWithShape="1">
          <a:blip r:embed="rId7" cstate="email">
            <a:extLst>
              <a:ext uri="{28A0092B-C50C-407E-A947-70E740481C1C}">
                <a14:useLocalDpi xmlns:a14="http://schemas.microsoft.com/office/drawing/2010/main" val="0"/>
              </a:ext>
            </a:extLst>
          </a:blip>
          <a:srcRect r="-1125" b="9838"/>
          <a:stretch/>
        </p:blipFill>
        <p:spPr>
          <a:xfrm>
            <a:off x="-1863" y="0"/>
            <a:ext cx="9241676" cy="5149859"/>
          </a:xfrm>
          <a:prstGeom prst="rect">
            <a:avLst/>
          </a:prstGeom>
        </p:spPr>
      </p:pic>
      <p:sp>
        <p:nvSpPr>
          <p:cNvPr id="49" name="object 3">
            <a:extLst>
              <a:ext uri="{FF2B5EF4-FFF2-40B4-BE49-F238E27FC236}">
                <a16:creationId xmlns:a16="http://schemas.microsoft.com/office/drawing/2014/main" id="{25CD1890-32F1-428E-A164-BCA7D7379946}"/>
              </a:ext>
            </a:extLst>
          </p:cNvPr>
          <p:cNvSpPr/>
          <p:nvPr userDrawn="1"/>
        </p:nvSpPr>
        <p:spPr>
          <a:xfrm>
            <a:off x="-7174" y="1"/>
            <a:ext cx="9151175" cy="5149859"/>
          </a:xfrm>
          <a:custGeom>
            <a:avLst/>
            <a:gdLst/>
            <a:ahLst/>
            <a:cxnLst/>
            <a:rect l="l" t="t" r="r" b="b"/>
            <a:pathLst>
              <a:path w="9144000" h="5143500">
                <a:moveTo>
                  <a:pt x="0" y="5143500"/>
                </a:moveTo>
                <a:lnTo>
                  <a:pt x="9144000" y="5143500"/>
                </a:lnTo>
                <a:lnTo>
                  <a:pt x="9144000" y="0"/>
                </a:lnTo>
                <a:lnTo>
                  <a:pt x="0" y="0"/>
                </a:lnTo>
                <a:lnTo>
                  <a:pt x="0" y="5143500"/>
                </a:lnTo>
                <a:close/>
              </a:path>
            </a:pathLst>
          </a:custGeom>
          <a:solidFill>
            <a:srgbClr val="000000">
              <a:alpha val="69804"/>
            </a:srgbClr>
          </a:solidFill>
        </p:spPr>
        <p:txBody>
          <a:bodyPr wrap="square" lIns="0" tIns="0" rIns="0" bIns="0" rtlCol="0"/>
          <a:lstStyle/>
          <a:p>
            <a:endParaRPr sz="1350" dirty="0"/>
          </a:p>
        </p:txBody>
      </p:sp>
      <p:pic>
        <p:nvPicPr>
          <p:cNvPr id="50" name="Picture 49">
            <a:extLst>
              <a:ext uri="{FF2B5EF4-FFF2-40B4-BE49-F238E27FC236}">
                <a16:creationId xmlns:a16="http://schemas.microsoft.com/office/drawing/2014/main" id="{A2DE2203-73EE-4121-8B25-4C4BF5807EB1}"/>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664734" y="4702324"/>
            <a:ext cx="1031462" cy="214227"/>
          </a:xfrm>
          <a:prstGeom prst="rect">
            <a:avLst/>
          </a:prstGeom>
        </p:spPr>
      </p:pic>
      <p:sp>
        <p:nvSpPr>
          <p:cNvPr id="51" name="Slide Number Placeholder 2">
            <a:extLst>
              <a:ext uri="{FF2B5EF4-FFF2-40B4-BE49-F238E27FC236}">
                <a16:creationId xmlns:a16="http://schemas.microsoft.com/office/drawing/2014/main" id="{1FD03043-0AE4-454E-9F61-5D151A072A89}"/>
              </a:ext>
            </a:extLst>
          </p:cNvPr>
          <p:cNvSpPr txBox="1">
            <a:spLocks/>
          </p:cNvSpPr>
          <p:nvPr userDrawn="1"/>
        </p:nvSpPr>
        <p:spPr>
          <a:xfrm>
            <a:off x="1739941" y="4859007"/>
            <a:ext cx="525553" cy="923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58"/>
            <a:r>
              <a:rPr lang="en-US" sz="600" dirty="0">
                <a:solidFill>
                  <a:srgbClr val="3DCD58"/>
                </a:solidFill>
                <a:latin typeface="Arial" panose="020B0604020202020204" pitchFamily="34" charset="0"/>
                <a:cs typeface="Arial" panose="020B0604020202020204" pitchFamily="34" charset="0"/>
              </a:rPr>
              <a:t>Page </a:t>
            </a:r>
            <a:fld id="{5A9C12DC-491F-9444-86A2-13AC5C62A2FC}" type="slidenum">
              <a:rPr lang="en-US" sz="600">
                <a:solidFill>
                  <a:srgbClr val="3DCD58"/>
                </a:solidFill>
                <a:latin typeface="Arial" panose="020B0604020202020204" pitchFamily="34" charset="0"/>
                <a:cs typeface="Arial" panose="020B0604020202020204" pitchFamily="34" charset="0"/>
              </a:rPr>
              <a:pPr algn="ctr" defTabSz="457058"/>
              <a:t>‹#›</a:t>
            </a:fld>
            <a:endParaRPr lang="en-US" sz="600" dirty="0">
              <a:solidFill>
                <a:srgbClr val="3DCD58"/>
              </a:solidFill>
              <a:latin typeface="Arial" panose="020B0604020202020204" pitchFamily="34" charset="0"/>
              <a:cs typeface="Arial" panose="020B0604020202020204" pitchFamily="34" charset="0"/>
            </a:endParaRPr>
          </a:p>
        </p:txBody>
      </p:sp>
      <p:sp>
        <p:nvSpPr>
          <p:cNvPr id="52" name="Footer Placeholder 3">
            <a:extLst>
              <a:ext uri="{FF2B5EF4-FFF2-40B4-BE49-F238E27FC236}">
                <a16:creationId xmlns:a16="http://schemas.microsoft.com/office/drawing/2014/main" id="{6ED994D1-F1CF-41A3-8A29-EB927E1E1E2C}"/>
              </a:ext>
            </a:extLst>
          </p:cNvPr>
          <p:cNvSpPr txBox="1">
            <a:spLocks/>
          </p:cNvSpPr>
          <p:nvPr userDrawn="1"/>
        </p:nvSpPr>
        <p:spPr>
          <a:xfrm>
            <a:off x="253540" y="4857157"/>
            <a:ext cx="3384470" cy="941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58"/>
            <a:r>
              <a:rPr lang="en-US" sz="600" dirty="0">
                <a:solidFill>
                  <a:srgbClr val="626469"/>
                </a:solidFill>
                <a:latin typeface="Arial" panose="020B0604020202020204" pitchFamily="34" charset="0"/>
                <a:cs typeface="Arial" panose="020B0604020202020204" pitchFamily="34" charset="0"/>
              </a:rPr>
              <a:t>Confidential Property of Schneider Electric | </a:t>
            </a:r>
          </a:p>
        </p:txBody>
      </p:sp>
      <p:sp>
        <p:nvSpPr>
          <p:cNvPr id="89" name="Holder 2">
            <a:extLst>
              <a:ext uri="{FF2B5EF4-FFF2-40B4-BE49-F238E27FC236}">
                <a16:creationId xmlns:a16="http://schemas.microsoft.com/office/drawing/2014/main" id="{578F1C43-C033-4920-826E-488BDE382160}"/>
              </a:ext>
            </a:extLst>
          </p:cNvPr>
          <p:cNvSpPr>
            <a:spLocks noGrp="1"/>
          </p:cNvSpPr>
          <p:nvPr>
            <p:ph type="title"/>
          </p:nvPr>
        </p:nvSpPr>
        <p:spPr>
          <a:xfrm>
            <a:off x="304894" y="352006"/>
            <a:ext cx="8049957" cy="357791"/>
          </a:xfrm>
          <a:prstGeom prst="rect">
            <a:avLst/>
          </a:prstGeom>
        </p:spPr>
        <p:txBody>
          <a:bodyPr lIns="0" tIns="0" rIns="0" bIns="0"/>
          <a:lstStyle>
            <a:lvl1pPr algn="l">
              <a:defRPr sz="2300" b="1" i="0">
                <a:solidFill>
                  <a:srgbClr val="3CC957"/>
                </a:solidFill>
                <a:latin typeface="Arial"/>
                <a:cs typeface="Arial"/>
              </a:defRPr>
            </a:lvl1pPr>
          </a:lstStyle>
          <a:p>
            <a:endParaRPr/>
          </a:p>
        </p:txBody>
      </p:sp>
      <p:sp>
        <p:nvSpPr>
          <p:cNvPr id="91" name="Text Placeholder 90">
            <a:extLst>
              <a:ext uri="{FF2B5EF4-FFF2-40B4-BE49-F238E27FC236}">
                <a16:creationId xmlns:a16="http://schemas.microsoft.com/office/drawing/2014/main" id="{EC6A9235-43C6-4B7B-8E6D-F47A6C725A10}"/>
              </a:ext>
            </a:extLst>
          </p:cNvPr>
          <p:cNvSpPr>
            <a:spLocks noGrp="1"/>
          </p:cNvSpPr>
          <p:nvPr>
            <p:ph type="body" sz="quarter" idx="10"/>
          </p:nvPr>
        </p:nvSpPr>
        <p:spPr>
          <a:xfrm>
            <a:off x="304892" y="1390650"/>
            <a:ext cx="8049957" cy="2165350"/>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Tree>
    <p:extLst>
      <p:ext uri="{BB962C8B-B14F-4D97-AF65-F5344CB8AC3E}">
        <p14:creationId xmlns:p14="http://schemas.microsoft.com/office/powerpoint/2010/main" val="196008018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7_Standard Layout">
    <p:spTree>
      <p:nvGrpSpPr>
        <p:cNvPr id="1" name=""/>
        <p:cNvGrpSpPr/>
        <p:nvPr/>
      </p:nvGrpSpPr>
      <p:grpSpPr>
        <a:xfrm>
          <a:off x="0" y="0"/>
          <a:ext cx="0" cy="0"/>
          <a:chOff x="0" y="0"/>
          <a:chExt cx="0" cy="0"/>
        </a:xfrm>
      </p:grpSpPr>
      <p:pic>
        <p:nvPicPr>
          <p:cNvPr id="11" name="Picture Placeholder 35">
            <a:extLst>
              <a:ext uri="{FF2B5EF4-FFF2-40B4-BE49-F238E27FC236}">
                <a16:creationId xmlns:a16="http://schemas.microsoft.com/office/drawing/2014/main" id="{F8157526-379A-483C-8AC4-4D511509C8ED}"/>
              </a:ext>
            </a:extLst>
          </p:cNvPr>
          <p:cNvPicPr>
            <a:picLocks noChangeAspect="1"/>
          </p:cNvPicPr>
          <p:nvPr userDrawn="1"/>
        </p:nvPicPr>
        <p:blipFill rotWithShape="1">
          <a:blip r:embed="rId5" cstate="email">
            <a:extLst>
              <a:ext uri="{28A0092B-C50C-407E-A947-70E740481C1C}">
                <a14:useLocalDpi xmlns:a14="http://schemas.microsoft.com/office/drawing/2010/main" val="0"/>
              </a:ext>
            </a:extLst>
          </a:blip>
          <a:srcRect t="20038" r="16687" b="9763"/>
          <a:stretch/>
        </p:blipFill>
        <p:spPr>
          <a:xfrm flipH="1">
            <a:off x="-1" y="0"/>
            <a:ext cx="9168453" cy="5149859"/>
          </a:xfrm>
          <a:prstGeom prst="rect">
            <a:avLst/>
          </a:prstGeom>
          <a:solidFill>
            <a:schemeClr val="tx2">
              <a:alpha val="80000"/>
            </a:schemeClr>
          </a:solidFill>
          <a:ln>
            <a:noFill/>
          </a:ln>
        </p:spPr>
      </p:pic>
      <p:graphicFrame>
        <p:nvGraphicFramePr>
          <p:cNvPr id="2" name="Objet 1" hidden="1"/>
          <p:cNvGraphicFramePr>
            <a:graphicFrameLocks noChangeAspect="1"/>
          </p:cNvGraphicFramePr>
          <p:nvPr userDrawn="1">
            <p:custDataLst>
              <p:tags r:id="rId2"/>
            </p:custData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8236" name="think-cell Slide" r:id="rId6" imgW="360" imgH="360" progId="TCLayout.ActiveDocument.1">
                  <p:embed/>
                </p:oleObj>
              </mc:Choice>
              <mc:Fallback>
                <p:oleObj name="think-cell Slide" r:id="rId6" imgW="360" imgH="360" progId="TCLayout.ActiveDocument.1">
                  <p:embed/>
                  <p:pic>
                    <p:nvPicPr>
                      <p:cNvPr id="2" name="Objet 1" hidden="1"/>
                      <p:cNvPicPr/>
                      <p:nvPr/>
                    </p:nvPicPr>
                    <p:blipFill>
                      <a:blip r:embed="rId7"/>
                      <a:stretch>
                        <a:fillRect/>
                      </a:stretch>
                    </p:blipFill>
                    <p:spPr>
                      <a:xfrm>
                        <a:off x="1592" y="1589"/>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A6BAAE1-BE16-4913-97AE-78C99E907225}"/>
              </a:ext>
            </a:extLst>
          </p:cNvPr>
          <p:cNvSpPr/>
          <p:nvPr userDrawn="1">
            <p:custDataLst>
              <p:tags r:id="rId3"/>
            </p:custDataLst>
          </p:nvPr>
        </p:nvSpPr>
        <p:spPr>
          <a:xfrm>
            <a:off x="0" y="1"/>
            <a:ext cx="119062"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Arial" panose="020B0604020202020204" pitchFamily="34" charset="0"/>
              <a:ea typeface="+mj-ea"/>
              <a:cs typeface="+mj-cs"/>
              <a:sym typeface="Arial" panose="020B0604020202020204" pitchFamily="34" charset="0"/>
            </a:endParaRPr>
          </a:p>
        </p:txBody>
      </p:sp>
      <p:sp>
        <p:nvSpPr>
          <p:cNvPr id="49" name="object 3">
            <a:extLst>
              <a:ext uri="{FF2B5EF4-FFF2-40B4-BE49-F238E27FC236}">
                <a16:creationId xmlns:a16="http://schemas.microsoft.com/office/drawing/2014/main" id="{25CD1890-32F1-428E-A164-BCA7D7379946}"/>
              </a:ext>
            </a:extLst>
          </p:cNvPr>
          <p:cNvSpPr/>
          <p:nvPr userDrawn="1"/>
        </p:nvSpPr>
        <p:spPr>
          <a:xfrm>
            <a:off x="1" y="1"/>
            <a:ext cx="9168452" cy="5149859"/>
          </a:xfrm>
          <a:custGeom>
            <a:avLst/>
            <a:gdLst/>
            <a:ahLst/>
            <a:cxnLst/>
            <a:rect l="l" t="t" r="r" b="b"/>
            <a:pathLst>
              <a:path w="9144000" h="5143500">
                <a:moveTo>
                  <a:pt x="0" y="5143500"/>
                </a:moveTo>
                <a:lnTo>
                  <a:pt x="9144000" y="5143500"/>
                </a:lnTo>
                <a:lnTo>
                  <a:pt x="9144000" y="0"/>
                </a:lnTo>
                <a:lnTo>
                  <a:pt x="0" y="0"/>
                </a:lnTo>
                <a:lnTo>
                  <a:pt x="0" y="5143500"/>
                </a:lnTo>
                <a:close/>
              </a:path>
            </a:pathLst>
          </a:custGeom>
          <a:solidFill>
            <a:srgbClr val="000000">
              <a:alpha val="69804"/>
            </a:srgbClr>
          </a:solidFill>
        </p:spPr>
        <p:txBody>
          <a:bodyPr wrap="square" lIns="0" tIns="0" rIns="0" bIns="0" rtlCol="0"/>
          <a:lstStyle/>
          <a:p>
            <a:endParaRPr sz="1350" dirty="0"/>
          </a:p>
        </p:txBody>
      </p:sp>
      <p:pic>
        <p:nvPicPr>
          <p:cNvPr id="50" name="Picture 49">
            <a:extLst>
              <a:ext uri="{FF2B5EF4-FFF2-40B4-BE49-F238E27FC236}">
                <a16:creationId xmlns:a16="http://schemas.microsoft.com/office/drawing/2014/main" id="{A2DE2203-73EE-4121-8B25-4C4BF5807EB1}"/>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664734" y="4702324"/>
            <a:ext cx="1031462" cy="214227"/>
          </a:xfrm>
          <a:prstGeom prst="rect">
            <a:avLst/>
          </a:prstGeom>
        </p:spPr>
      </p:pic>
      <p:sp>
        <p:nvSpPr>
          <p:cNvPr id="51" name="Slide Number Placeholder 2">
            <a:extLst>
              <a:ext uri="{FF2B5EF4-FFF2-40B4-BE49-F238E27FC236}">
                <a16:creationId xmlns:a16="http://schemas.microsoft.com/office/drawing/2014/main" id="{1FD03043-0AE4-454E-9F61-5D151A072A89}"/>
              </a:ext>
            </a:extLst>
          </p:cNvPr>
          <p:cNvSpPr txBox="1">
            <a:spLocks/>
          </p:cNvSpPr>
          <p:nvPr userDrawn="1"/>
        </p:nvSpPr>
        <p:spPr>
          <a:xfrm>
            <a:off x="1739941" y="4859007"/>
            <a:ext cx="525553" cy="923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58"/>
            <a:r>
              <a:rPr lang="en-US" sz="600" dirty="0">
                <a:solidFill>
                  <a:srgbClr val="3DCD58"/>
                </a:solidFill>
                <a:latin typeface="Arial" panose="020B0604020202020204" pitchFamily="34" charset="0"/>
                <a:cs typeface="Arial" panose="020B0604020202020204" pitchFamily="34" charset="0"/>
              </a:rPr>
              <a:t>Page </a:t>
            </a:r>
            <a:fld id="{5A9C12DC-491F-9444-86A2-13AC5C62A2FC}" type="slidenum">
              <a:rPr lang="en-US" sz="600">
                <a:solidFill>
                  <a:srgbClr val="3DCD58"/>
                </a:solidFill>
                <a:latin typeface="Arial" panose="020B0604020202020204" pitchFamily="34" charset="0"/>
                <a:cs typeface="Arial" panose="020B0604020202020204" pitchFamily="34" charset="0"/>
              </a:rPr>
              <a:pPr algn="ctr" defTabSz="457058"/>
              <a:t>‹#›</a:t>
            </a:fld>
            <a:endParaRPr lang="en-US" sz="600" dirty="0">
              <a:solidFill>
                <a:srgbClr val="3DCD58"/>
              </a:solidFill>
              <a:latin typeface="Arial" panose="020B0604020202020204" pitchFamily="34" charset="0"/>
              <a:cs typeface="Arial" panose="020B0604020202020204" pitchFamily="34" charset="0"/>
            </a:endParaRPr>
          </a:p>
        </p:txBody>
      </p:sp>
      <p:sp>
        <p:nvSpPr>
          <p:cNvPr id="52" name="Footer Placeholder 3">
            <a:extLst>
              <a:ext uri="{FF2B5EF4-FFF2-40B4-BE49-F238E27FC236}">
                <a16:creationId xmlns:a16="http://schemas.microsoft.com/office/drawing/2014/main" id="{6ED994D1-F1CF-41A3-8A29-EB927E1E1E2C}"/>
              </a:ext>
            </a:extLst>
          </p:cNvPr>
          <p:cNvSpPr txBox="1">
            <a:spLocks/>
          </p:cNvSpPr>
          <p:nvPr userDrawn="1"/>
        </p:nvSpPr>
        <p:spPr>
          <a:xfrm>
            <a:off x="253540" y="4857157"/>
            <a:ext cx="3384470" cy="941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58"/>
            <a:r>
              <a:rPr lang="en-US" sz="600" dirty="0">
                <a:solidFill>
                  <a:srgbClr val="626469"/>
                </a:solidFill>
                <a:latin typeface="Arial" panose="020B0604020202020204" pitchFamily="34" charset="0"/>
                <a:cs typeface="Arial" panose="020B0604020202020204" pitchFamily="34" charset="0"/>
              </a:rPr>
              <a:t>Confidential Property of Schneider Electric | </a:t>
            </a:r>
          </a:p>
        </p:txBody>
      </p:sp>
      <p:sp>
        <p:nvSpPr>
          <p:cNvPr id="89" name="Holder 2">
            <a:extLst>
              <a:ext uri="{FF2B5EF4-FFF2-40B4-BE49-F238E27FC236}">
                <a16:creationId xmlns:a16="http://schemas.microsoft.com/office/drawing/2014/main" id="{578F1C43-C033-4920-826E-488BDE382160}"/>
              </a:ext>
            </a:extLst>
          </p:cNvPr>
          <p:cNvSpPr>
            <a:spLocks noGrp="1"/>
          </p:cNvSpPr>
          <p:nvPr>
            <p:ph type="title"/>
          </p:nvPr>
        </p:nvSpPr>
        <p:spPr>
          <a:xfrm>
            <a:off x="304894" y="352006"/>
            <a:ext cx="8049957" cy="357791"/>
          </a:xfrm>
          <a:prstGeom prst="rect">
            <a:avLst/>
          </a:prstGeom>
        </p:spPr>
        <p:txBody>
          <a:bodyPr lIns="0" tIns="0" rIns="0" bIns="0"/>
          <a:lstStyle>
            <a:lvl1pPr algn="l">
              <a:defRPr sz="2300" b="1" i="0">
                <a:solidFill>
                  <a:srgbClr val="3CC957"/>
                </a:solidFill>
                <a:latin typeface="Arial"/>
                <a:cs typeface="Arial"/>
              </a:defRPr>
            </a:lvl1pPr>
          </a:lstStyle>
          <a:p>
            <a:endParaRPr/>
          </a:p>
        </p:txBody>
      </p:sp>
      <p:sp>
        <p:nvSpPr>
          <p:cNvPr id="91" name="Text Placeholder 90">
            <a:extLst>
              <a:ext uri="{FF2B5EF4-FFF2-40B4-BE49-F238E27FC236}">
                <a16:creationId xmlns:a16="http://schemas.microsoft.com/office/drawing/2014/main" id="{EC6A9235-43C6-4B7B-8E6D-F47A6C725A10}"/>
              </a:ext>
            </a:extLst>
          </p:cNvPr>
          <p:cNvSpPr>
            <a:spLocks noGrp="1"/>
          </p:cNvSpPr>
          <p:nvPr>
            <p:ph type="body" sz="quarter" idx="10"/>
          </p:nvPr>
        </p:nvSpPr>
        <p:spPr>
          <a:xfrm>
            <a:off x="304892" y="1390650"/>
            <a:ext cx="8049957" cy="2165350"/>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Tree>
    <p:extLst>
      <p:ext uri="{BB962C8B-B14F-4D97-AF65-F5344CB8AC3E}">
        <p14:creationId xmlns:p14="http://schemas.microsoft.com/office/powerpoint/2010/main" val="14631169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8_Standard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589049D-1938-407C-974C-EEAFBE9EF083}"/>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 y="1"/>
            <a:ext cx="9168452" cy="5157254"/>
          </a:xfrm>
          <a:prstGeom prst="rect">
            <a:avLst/>
          </a:prstGeom>
        </p:spPr>
      </p:pic>
      <p:graphicFrame>
        <p:nvGraphicFramePr>
          <p:cNvPr id="2" name="Objet 1" hidden="1"/>
          <p:cNvGraphicFramePr>
            <a:graphicFrameLocks noChangeAspect="1"/>
          </p:cNvGraphicFramePr>
          <p:nvPr userDrawn="1">
            <p:custDataLst>
              <p:tags r:id="rId2"/>
            </p:custData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9260" name="think-cell Slide" r:id="rId6" imgW="360" imgH="360" progId="TCLayout.ActiveDocument.1">
                  <p:embed/>
                </p:oleObj>
              </mc:Choice>
              <mc:Fallback>
                <p:oleObj name="think-cell Slide" r:id="rId6" imgW="360" imgH="360" progId="TCLayout.ActiveDocument.1">
                  <p:embed/>
                  <p:pic>
                    <p:nvPicPr>
                      <p:cNvPr id="2" name="Objet 1" hidden="1"/>
                      <p:cNvPicPr/>
                      <p:nvPr/>
                    </p:nvPicPr>
                    <p:blipFill>
                      <a:blip r:embed="rId7"/>
                      <a:stretch>
                        <a:fillRect/>
                      </a:stretch>
                    </p:blipFill>
                    <p:spPr>
                      <a:xfrm>
                        <a:off x="1592" y="1589"/>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A6BAAE1-BE16-4913-97AE-78C99E907225}"/>
              </a:ext>
            </a:extLst>
          </p:cNvPr>
          <p:cNvSpPr/>
          <p:nvPr userDrawn="1">
            <p:custDataLst>
              <p:tags r:id="rId3"/>
            </p:custDataLst>
          </p:nvPr>
        </p:nvSpPr>
        <p:spPr>
          <a:xfrm>
            <a:off x="0" y="1"/>
            <a:ext cx="119062"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Arial" panose="020B0604020202020204" pitchFamily="34" charset="0"/>
              <a:ea typeface="+mj-ea"/>
              <a:cs typeface="+mj-cs"/>
              <a:sym typeface="Arial" panose="020B0604020202020204" pitchFamily="34" charset="0"/>
            </a:endParaRPr>
          </a:p>
        </p:txBody>
      </p:sp>
      <p:sp>
        <p:nvSpPr>
          <p:cNvPr id="49" name="object 3">
            <a:extLst>
              <a:ext uri="{FF2B5EF4-FFF2-40B4-BE49-F238E27FC236}">
                <a16:creationId xmlns:a16="http://schemas.microsoft.com/office/drawing/2014/main" id="{25CD1890-32F1-428E-A164-BCA7D7379946}"/>
              </a:ext>
            </a:extLst>
          </p:cNvPr>
          <p:cNvSpPr/>
          <p:nvPr userDrawn="1"/>
        </p:nvSpPr>
        <p:spPr>
          <a:xfrm>
            <a:off x="-12226" y="7396"/>
            <a:ext cx="9168452" cy="5149859"/>
          </a:xfrm>
          <a:custGeom>
            <a:avLst/>
            <a:gdLst/>
            <a:ahLst/>
            <a:cxnLst/>
            <a:rect l="l" t="t" r="r" b="b"/>
            <a:pathLst>
              <a:path w="9144000" h="5143500">
                <a:moveTo>
                  <a:pt x="0" y="5143500"/>
                </a:moveTo>
                <a:lnTo>
                  <a:pt x="9144000" y="5143500"/>
                </a:lnTo>
                <a:lnTo>
                  <a:pt x="9144000" y="0"/>
                </a:lnTo>
                <a:lnTo>
                  <a:pt x="0" y="0"/>
                </a:lnTo>
                <a:lnTo>
                  <a:pt x="0" y="5143500"/>
                </a:lnTo>
                <a:close/>
              </a:path>
            </a:pathLst>
          </a:custGeom>
          <a:solidFill>
            <a:srgbClr val="000000">
              <a:alpha val="69804"/>
            </a:srgbClr>
          </a:solidFill>
        </p:spPr>
        <p:txBody>
          <a:bodyPr wrap="square" lIns="0" tIns="0" rIns="0" bIns="0" rtlCol="0"/>
          <a:lstStyle/>
          <a:p>
            <a:endParaRPr sz="1350" dirty="0"/>
          </a:p>
        </p:txBody>
      </p:sp>
      <p:pic>
        <p:nvPicPr>
          <p:cNvPr id="50" name="Picture 49">
            <a:extLst>
              <a:ext uri="{FF2B5EF4-FFF2-40B4-BE49-F238E27FC236}">
                <a16:creationId xmlns:a16="http://schemas.microsoft.com/office/drawing/2014/main" id="{A2DE2203-73EE-4121-8B25-4C4BF5807EB1}"/>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664734" y="4702324"/>
            <a:ext cx="1031462" cy="214227"/>
          </a:xfrm>
          <a:prstGeom prst="rect">
            <a:avLst/>
          </a:prstGeom>
        </p:spPr>
      </p:pic>
      <p:sp>
        <p:nvSpPr>
          <p:cNvPr id="51" name="Slide Number Placeholder 2">
            <a:extLst>
              <a:ext uri="{FF2B5EF4-FFF2-40B4-BE49-F238E27FC236}">
                <a16:creationId xmlns:a16="http://schemas.microsoft.com/office/drawing/2014/main" id="{1FD03043-0AE4-454E-9F61-5D151A072A89}"/>
              </a:ext>
            </a:extLst>
          </p:cNvPr>
          <p:cNvSpPr txBox="1">
            <a:spLocks/>
          </p:cNvSpPr>
          <p:nvPr userDrawn="1"/>
        </p:nvSpPr>
        <p:spPr>
          <a:xfrm>
            <a:off x="1739941" y="4859007"/>
            <a:ext cx="525553" cy="923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58"/>
            <a:r>
              <a:rPr lang="en-US" sz="600" dirty="0">
                <a:solidFill>
                  <a:srgbClr val="3DCD58"/>
                </a:solidFill>
                <a:latin typeface="Arial" panose="020B0604020202020204" pitchFamily="34" charset="0"/>
                <a:cs typeface="Arial" panose="020B0604020202020204" pitchFamily="34" charset="0"/>
              </a:rPr>
              <a:t>Page </a:t>
            </a:r>
            <a:fld id="{5A9C12DC-491F-9444-86A2-13AC5C62A2FC}" type="slidenum">
              <a:rPr lang="en-US" sz="600">
                <a:solidFill>
                  <a:srgbClr val="3DCD58"/>
                </a:solidFill>
                <a:latin typeface="Arial" panose="020B0604020202020204" pitchFamily="34" charset="0"/>
                <a:cs typeface="Arial" panose="020B0604020202020204" pitchFamily="34" charset="0"/>
              </a:rPr>
              <a:pPr algn="ctr" defTabSz="457058"/>
              <a:t>‹#›</a:t>
            </a:fld>
            <a:endParaRPr lang="en-US" sz="600" dirty="0">
              <a:solidFill>
                <a:srgbClr val="3DCD58"/>
              </a:solidFill>
              <a:latin typeface="Arial" panose="020B0604020202020204" pitchFamily="34" charset="0"/>
              <a:cs typeface="Arial" panose="020B0604020202020204" pitchFamily="34" charset="0"/>
            </a:endParaRPr>
          </a:p>
        </p:txBody>
      </p:sp>
      <p:sp>
        <p:nvSpPr>
          <p:cNvPr id="52" name="Footer Placeholder 3">
            <a:extLst>
              <a:ext uri="{FF2B5EF4-FFF2-40B4-BE49-F238E27FC236}">
                <a16:creationId xmlns:a16="http://schemas.microsoft.com/office/drawing/2014/main" id="{6ED994D1-F1CF-41A3-8A29-EB927E1E1E2C}"/>
              </a:ext>
            </a:extLst>
          </p:cNvPr>
          <p:cNvSpPr txBox="1">
            <a:spLocks/>
          </p:cNvSpPr>
          <p:nvPr userDrawn="1"/>
        </p:nvSpPr>
        <p:spPr>
          <a:xfrm>
            <a:off x="253540" y="4857157"/>
            <a:ext cx="3384470" cy="941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58"/>
            <a:r>
              <a:rPr lang="en-US" sz="600" dirty="0">
                <a:solidFill>
                  <a:srgbClr val="626469"/>
                </a:solidFill>
                <a:latin typeface="Arial" panose="020B0604020202020204" pitchFamily="34" charset="0"/>
                <a:cs typeface="Arial" panose="020B0604020202020204" pitchFamily="34" charset="0"/>
              </a:rPr>
              <a:t>Confidential Property of Schneider Electric | </a:t>
            </a:r>
          </a:p>
        </p:txBody>
      </p:sp>
      <p:sp>
        <p:nvSpPr>
          <p:cNvPr id="89" name="Holder 2">
            <a:extLst>
              <a:ext uri="{FF2B5EF4-FFF2-40B4-BE49-F238E27FC236}">
                <a16:creationId xmlns:a16="http://schemas.microsoft.com/office/drawing/2014/main" id="{578F1C43-C033-4920-826E-488BDE382160}"/>
              </a:ext>
            </a:extLst>
          </p:cNvPr>
          <p:cNvSpPr>
            <a:spLocks noGrp="1"/>
          </p:cNvSpPr>
          <p:nvPr>
            <p:ph type="title"/>
          </p:nvPr>
        </p:nvSpPr>
        <p:spPr>
          <a:xfrm>
            <a:off x="304894" y="352006"/>
            <a:ext cx="8049957" cy="357791"/>
          </a:xfrm>
          <a:prstGeom prst="rect">
            <a:avLst/>
          </a:prstGeom>
        </p:spPr>
        <p:txBody>
          <a:bodyPr lIns="0" tIns="0" rIns="0" bIns="0"/>
          <a:lstStyle>
            <a:lvl1pPr algn="l">
              <a:defRPr sz="3000" b="0" i="0">
                <a:solidFill>
                  <a:srgbClr val="3CC957"/>
                </a:solidFill>
                <a:latin typeface="Arial" panose="020B0604020202020204" pitchFamily="34" charset="0"/>
                <a:cs typeface="Arial" panose="020B0604020202020204" pitchFamily="34" charset="0"/>
              </a:defRPr>
            </a:lvl1pPr>
          </a:lstStyle>
          <a:p>
            <a:endParaRPr/>
          </a:p>
        </p:txBody>
      </p:sp>
      <p:sp>
        <p:nvSpPr>
          <p:cNvPr id="91" name="Text Placeholder 90">
            <a:extLst>
              <a:ext uri="{FF2B5EF4-FFF2-40B4-BE49-F238E27FC236}">
                <a16:creationId xmlns:a16="http://schemas.microsoft.com/office/drawing/2014/main" id="{EC6A9235-43C6-4B7B-8E6D-F47A6C725A10}"/>
              </a:ext>
            </a:extLst>
          </p:cNvPr>
          <p:cNvSpPr>
            <a:spLocks noGrp="1"/>
          </p:cNvSpPr>
          <p:nvPr>
            <p:ph type="body" sz="quarter" idx="10"/>
          </p:nvPr>
        </p:nvSpPr>
        <p:spPr>
          <a:xfrm>
            <a:off x="304892" y="1390650"/>
            <a:ext cx="8049957" cy="2165350"/>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Tree>
    <p:extLst>
      <p:ext uri="{BB962C8B-B14F-4D97-AF65-F5344CB8AC3E}">
        <p14:creationId xmlns:p14="http://schemas.microsoft.com/office/powerpoint/2010/main" val="6899845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9_Standard Layout">
    <p:spTree>
      <p:nvGrpSpPr>
        <p:cNvPr id="1" name=""/>
        <p:cNvGrpSpPr/>
        <p:nvPr/>
      </p:nvGrpSpPr>
      <p:grpSpPr>
        <a:xfrm>
          <a:off x="0" y="0"/>
          <a:ext cx="0" cy="0"/>
          <a:chOff x="0" y="0"/>
          <a:chExt cx="0" cy="0"/>
        </a:xfrm>
      </p:grpSpPr>
      <p:pic>
        <p:nvPicPr>
          <p:cNvPr id="13" name="Picture 12" descr="A circuit board&#10;&#10;Description automatically generated">
            <a:extLst>
              <a:ext uri="{FF2B5EF4-FFF2-40B4-BE49-F238E27FC236}">
                <a16:creationId xmlns:a16="http://schemas.microsoft.com/office/drawing/2014/main" id="{785C0FCB-0C71-4E64-B805-411D14B487FE}"/>
              </a:ext>
            </a:extLst>
          </p:cNvPr>
          <p:cNvPicPr>
            <a:picLocks noChangeAspect="1"/>
          </p:cNvPicPr>
          <p:nvPr userDrawn="1"/>
        </p:nvPicPr>
        <p:blipFill rotWithShape="1">
          <a:blip r:embed="rId5" cstate="print">
            <a:alphaModFix/>
            <a:extLst>
              <a:ext uri="{28A0092B-C50C-407E-A947-70E740481C1C}">
                <a14:useLocalDpi xmlns:a14="http://schemas.microsoft.com/office/drawing/2010/main"/>
              </a:ext>
            </a:extLst>
          </a:blip>
          <a:srcRect/>
          <a:stretch/>
        </p:blipFill>
        <p:spPr>
          <a:xfrm>
            <a:off x="0" y="0"/>
            <a:ext cx="9144000" cy="5143500"/>
          </a:xfrm>
          <a:prstGeom prst="rect">
            <a:avLst/>
          </a:prstGeom>
        </p:spPr>
      </p:pic>
      <p:graphicFrame>
        <p:nvGraphicFramePr>
          <p:cNvPr id="2" name="Objet 1" hidden="1"/>
          <p:cNvGraphicFramePr>
            <a:graphicFrameLocks noChangeAspect="1"/>
          </p:cNvGraphicFramePr>
          <p:nvPr userDrawn="1">
            <p:custDataLst>
              <p:tags r:id="rId2"/>
            </p:custData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10284" name="think-cell Slide" r:id="rId6" imgW="360" imgH="360" progId="TCLayout.ActiveDocument.1">
                  <p:embed/>
                </p:oleObj>
              </mc:Choice>
              <mc:Fallback>
                <p:oleObj name="think-cell Slide" r:id="rId6" imgW="360" imgH="360" progId="TCLayout.ActiveDocument.1">
                  <p:embed/>
                  <p:pic>
                    <p:nvPicPr>
                      <p:cNvPr id="2" name="Objet 1" hidden="1"/>
                      <p:cNvPicPr/>
                      <p:nvPr/>
                    </p:nvPicPr>
                    <p:blipFill>
                      <a:blip r:embed="rId7"/>
                      <a:stretch>
                        <a:fillRect/>
                      </a:stretch>
                    </p:blipFill>
                    <p:spPr>
                      <a:xfrm>
                        <a:off x="1592" y="1589"/>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A6BAAE1-BE16-4913-97AE-78C99E907225}"/>
              </a:ext>
            </a:extLst>
          </p:cNvPr>
          <p:cNvSpPr/>
          <p:nvPr userDrawn="1">
            <p:custDataLst>
              <p:tags r:id="rId3"/>
            </p:custDataLst>
          </p:nvPr>
        </p:nvSpPr>
        <p:spPr>
          <a:xfrm>
            <a:off x="0" y="1"/>
            <a:ext cx="119062"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Arial" panose="020B0604020202020204" pitchFamily="34" charset="0"/>
              <a:ea typeface="+mj-ea"/>
              <a:cs typeface="+mj-cs"/>
              <a:sym typeface="Arial" panose="020B0604020202020204" pitchFamily="34" charset="0"/>
            </a:endParaRPr>
          </a:p>
        </p:txBody>
      </p:sp>
      <p:sp>
        <p:nvSpPr>
          <p:cNvPr id="49" name="object 3">
            <a:extLst>
              <a:ext uri="{FF2B5EF4-FFF2-40B4-BE49-F238E27FC236}">
                <a16:creationId xmlns:a16="http://schemas.microsoft.com/office/drawing/2014/main" id="{25CD1890-32F1-428E-A164-BCA7D7379946}"/>
              </a:ext>
            </a:extLst>
          </p:cNvPr>
          <p:cNvSpPr/>
          <p:nvPr userDrawn="1"/>
        </p:nvSpPr>
        <p:spPr>
          <a:xfrm>
            <a:off x="0" y="1"/>
            <a:ext cx="9144000" cy="5149859"/>
          </a:xfrm>
          <a:custGeom>
            <a:avLst/>
            <a:gdLst/>
            <a:ahLst/>
            <a:cxnLst/>
            <a:rect l="l" t="t" r="r" b="b"/>
            <a:pathLst>
              <a:path w="9144000" h="5143500">
                <a:moveTo>
                  <a:pt x="0" y="5143500"/>
                </a:moveTo>
                <a:lnTo>
                  <a:pt x="9144000" y="5143500"/>
                </a:lnTo>
                <a:lnTo>
                  <a:pt x="9144000" y="0"/>
                </a:lnTo>
                <a:lnTo>
                  <a:pt x="0" y="0"/>
                </a:lnTo>
                <a:lnTo>
                  <a:pt x="0" y="5143500"/>
                </a:lnTo>
                <a:close/>
              </a:path>
            </a:pathLst>
          </a:custGeom>
          <a:gradFill>
            <a:gsLst>
              <a:gs pos="22000">
                <a:schemeClr val="tx1">
                  <a:alpha val="60000"/>
                </a:schemeClr>
              </a:gs>
              <a:gs pos="62000">
                <a:schemeClr val="accent1">
                  <a:lumMod val="45000"/>
                  <a:lumOff val="55000"/>
                  <a:alpha val="67000"/>
                </a:schemeClr>
              </a:gs>
              <a:gs pos="100000">
                <a:schemeClr val="accent1">
                  <a:lumMod val="30000"/>
                  <a:lumOff val="70000"/>
                </a:schemeClr>
              </a:gs>
            </a:gsLst>
            <a:lin ang="5400000" scaled="1"/>
          </a:gradFill>
        </p:spPr>
        <p:txBody>
          <a:bodyPr wrap="square" lIns="0" tIns="0" rIns="0" bIns="0" rtlCol="0"/>
          <a:lstStyle/>
          <a:p>
            <a:endParaRPr sz="1350" dirty="0"/>
          </a:p>
        </p:txBody>
      </p:sp>
      <p:pic>
        <p:nvPicPr>
          <p:cNvPr id="50" name="Picture 49">
            <a:extLst>
              <a:ext uri="{FF2B5EF4-FFF2-40B4-BE49-F238E27FC236}">
                <a16:creationId xmlns:a16="http://schemas.microsoft.com/office/drawing/2014/main" id="{A2DE2203-73EE-4121-8B25-4C4BF5807EB1}"/>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664734" y="4702324"/>
            <a:ext cx="1031462" cy="214227"/>
          </a:xfrm>
          <a:prstGeom prst="rect">
            <a:avLst/>
          </a:prstGeom>
        </p:spPr>
      </p:pic>
      <p:sp>
        <p:nvSpPr>
          <p:cNvPr id="51" name="Slide Number Placeholder 2">
            <a:extLst>
              <a:ext uri="{FF2B5EF4-FFF2-40B4-BE49-F238E27FC236}">
                <a16:creationId xmlns:a16="http://schemas.microsoft.com/office/drawing/2014/main" id="{1FD03043-0AE4-454E-9F61-5D151A072A89}"/>
              </a:ext>
            </a:extLst>
          </p:cNvPr>
          <p:cNvSpPr txBox="1">
            <a:spLocks/>
          </p:cNvSpPr>
          <p:nvPr userDrawn="1"/>
        </p:nvSpPr>
        <p:spPr>
          <a:xfrm>
            <a:off x="1739941" y="4859007"/>
            <a:ext cx="525553" cy="923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58"/>
            <a:r>
              <a:rPr lang="en-US" sz="600" dirty="0">
                <a:solidFill>
                  <a:srgbClr val="3DCD58"/>
                </a:solidFill>
                <a:latin typeface="Arial" panose="020B0604020202020204" pitchFamily="34" charset="0"/>
                <a:cs typeface="Arial" panose="020B0604020202020204" pitchFamily="34" charset="0"/>
              </a:rPr>
              <a:t>Page </a:t>
            </a:r>
            <a:fld id="{5A9C12DC-491F-9444-86A2-13AC5C62A2FC}" type="slidenum">
              <a:rPr lang="en-US" sz="600">
                <a:solidFill>
                  <a:srgbClr val="3DCD58"/>
                </a:solidFill>
                <a:latin typeface="Arial" panose="020B0604020202020204" pitchFamily="34" charset="0"/>
                <a:cs typeface="Arial" panose="020B0604020202020204" pitchFamily="34" charset="0"/>
              </a:rPr>
              <a:pPr algn="ctr" defTabSz="457058"/>
              <a:t>‹#›</a:t>
            </a:fld>
            <a:endParaRPr lang="en-US" sz="600" dirty="0">
              <a:solidFill>
                <a:srgbClr val="3DCD58"/>
              </a:solidFill>
              <a:latin typeface="Arial" panose="020B0604020202020204" pitchFamily="34" charset="0"/>
              <a:cs typeface="Arial" panose="020B0604020202020204" pitchFamily="34" charset="0"/>
            </a:endParaRPr>
          </a:p>
        </p:txBody>
      </p:sp>
      <p:sp>
        <p:nvSpPr>
          <p:cNvPr id="52" name="Footer Placeholder 3">
            <a:extLst>
              <a:ext uri="{FF2B5EF4-FFF2-40B4-BE49-F238E27FC236}">
                <a16:creationId xmlns:a16="http://schemas.microsoft.com/office/drawing/2014/main" id="{6ED994D1-F1CF-41A3-8A29-EB927E1E1E2C}"/>
              </a:ext>
            </a:extLst>
          </p:cNvPr>
          <p:cNvSpPr txBox="1">
            <a:spLocks/>
          </p:cNvSpPr>
          <p:nvPr userDrawn="1"/>
        </p:nvSpPr>
        <p:spPr>
          <a:xfrm>
            <a:off x="253540" y="4857157"/>
            <a:ext cx="3384470" cy="941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58"/>
            <a:r>
              <a:rPr lang="en-US" sz="600" dirty="0">
                <a:solidFill>
                  <a:srgbClr val="626469"/>
                </a:solidFill>
                <a:latin typeface="Arial" panose="020B0604020202020204" pitchFamily="34" charset="0"/>
                <a:cs typeface="Arial" panose="020B0604020202020204" pitchFamily="34" charset="0"/>
              </a:rPr>
              <a:t>Confidential Property of Schneider Electric | </a:t>
            </a:r>
          </a:p>
        </p:txBody>
      </p:sp>
      <p:sp>
        <p:nvSpPr>
          <p:cNvPr id="89" name="Holder 2">
            <a:extLst>
              <a:ext uri="{FF2B5EF4-FFF2-40B4-BE49-F238E27FC236}">
                <a16:creationId xmlns:a16="http://schemas.microsoft.com/office/drawing/2014/main" id="{578F1C43-C033-4920-826E-488BDE382160}"/>
              </a:ext>
            </a:extLst>
          </p:cNvPr>
          <p:cNvSpPr>
            <a:spLocks noGrp="1"/>
          </p:cNvSpPr>
          <p:nvPr>
            <p:ph type="title"/>
          </p:nvPr>
        </p:nvSpPr>
        <p:spPr>
          <a:xfrm>
            <a:off x="304894" y="352006"/>
            <a:ext cx="8049957" cy="357791"/>
          </a:xfrm>
          <a:prstGeom prst="rect">
            <a:avLst/>
          </a:prstGeom>
        </p:spPr>
        <p:txBody>
          <a:bodyPr lIns="0" tIns="0" rIns="0" bIns="0"/>
          <a:lstStyle>
            <a:lvl1pPr algn="l">
              <a:defRPr sz="3000" b="0" i="0">
                <a:solidFill>
                  <a:srgbClr val="3CC957"/>
                </a:solidFill>
                <a:latin typeface="Arial" panose="020B0604020202020204" pitchFamily="34" charset="0"/>
                <a:cs typeface="Arial" panose="020B0604020202020204" pitchFamily="34" charset="0"/>
              </a:defRPr>
            </a:lvl1pPr>
          </a:lstStyle>
          <a:p>
            <a:endParaRPr/>
          </a:p>
        </p:txBody>
      </p:sp>
      <p:sp>
        <p:nvSpPr>
          <p:cNvPr id="91" name="Text Placeholder 90">
            <a:extLst>
              <a:ext uri="{FF2B5EF4-FFF2-40B4-BE49-F238E27FC236}">
                <a16:creationId xmlns:a16="http://schemas.microsoft.com/office/drawing/2014/main" id="{EC6A9235-43C6-4B7B-8E6D-F47A6C725A10}"/>
              </a:ext>
            </a:extLst>
          </p:cNvPr>
          <p:cNvSpPr>
            <a:spLocks noGrp="1"/>
          </p:cNvSpPr>
          <p:nvPr>
            <p:ph type="body" sz="quarter" idx="10"/>
          </p:nvPr>
        </p:nvSpPr>
        <p:spPr>
          <a:xfrm>
            <a:off x="304892" y="1390650"/>
            <a:ext cx="8049957" cy="2165350"/>
          </a:xfrm>
          <a:prstGeom prst="rect">
            <a:avLst/>
          </a:prstGeom>
        </p:spPr>
        <p:txBody>
          <a:bodyPr/>
          <a:lstStyle>
            <a:lvl1pPr>
              <a:defRPr sz="2400" b="0" i="0">
                <a:solidFill>
                  <a:schemeClr val="bg1"/>
                </a:solidFill>
                <a:latin typeface="Arial" panose="020B0604020202020204" pitchFamily="34" charset="0"/>
                <a:cs typeface="Arial" panose="020B0604020202020204" pitchFamily="34" charset="0"/>
              </a:defRPr>
            </a:lvl1pPr>
            <a:lvl2pPr>
              <a:defRPr sz="2000" b="0" i="0">
                <a:solidFill>
                  <a:schemeClr val="bg1"/>
                </a:solidFill>
                <a:latin typeface="Arial" panose="020B0604020202020204" pitchFamily="34" charset="0"/>
                <a:cs typeface="Arial" panose="020B0604020202020204" pitchFamily="34" charset="0"/>
              </a:defRPr>
            </a:lvl2pPr>
            <a:lvl3pPr>
              <a:defRPr sz="1800" b="0" i="0">
                <a:solidFill>
                  <a:schemeClr val="bg1"/>
                </a:solidFill>
                <a:latin typeface="Arial" panose="020B0604020202020204" pitchFamily="34" charset="0"/>
                <a:cs typeface="Arial" panose="020B0604020202020204" pitchFamily="34" charset="0"/>
              </a:defRPr>
            </a:lvl3pPr>
            <a:lvl4pPr>
              <a:defRPr sz="1600" b="0" i="0">
                <a:solidFill>
                  <a:schemeClr val="bg1"/>
                </a:solidFill>
                <a:latin typeface="Arial" panose="020B0604020202020204" pitchFamily="34" charset="0"/>
                <a:cs typeface="Arial" panose="020B0604020202020204" pitchFamily="34" charset="0"/>
              </a:defRPr>
            </a:lvl4pPr>
            <a:lvl5pPr>
              <a:defRPr sz="1600" b="0" i="0">
                <a:solidFill>
                  <a:schemeClr val="bg1"/>
                </a:solidFill>
                <a:latin typeface="Arial" panose="020B0604020202020204" pitchFamily="34" charset="0"/>
                <a:cs typeface="Arial" panose="020B0604020202020204" pitchFamily="34" charset="0"/>
              </a:defRPr>
            </a:lvl5p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Tree>
    <p:extLst>
      <p:ext uri="{BB962C8B-B14F-4D97-AF65-F5344CB8AC3E}">
        <p14:creationId xmlns:p14="http://schemas.microsoft.com/office/powerpoint/2010/main" val="20736645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anchor="ctr" anchorCtr="0">
            <a:spAutoFit/>
          </a:bodyPr>
          <a:lstStyle>
            <a:lvl1pPr algn="l">
              <a:defRPr sz="2400" baseline="0">
                <a:solidFill>
                  <a:schemeClr val="tx2"/>
                </a:solidFill>
              </a:defRPr>
            </a:lvl1pPr>
          </a:lstStyle>
          <a:p>
            <a:r>
              <a:rPr lang="en-US"/>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anchor="ctr" anchorCtr="0">
            <a:spAutoFit/>
          </a:bodyPr>
          <a:lstStyle>
            <a:lvl1pPr marL="0" indent="0">
              <a:buNone/>
              <a:defRPr sz="1400" baseline="0">
                <a:solidFill>
                  <a:schemeClr val="accent1"/>
                </a:solidFill>
              </a:defRPr>
            </a:lvl1pPr>
          </a:lstStyle>
          <a:p>
            <a:pPr lvl="0"/>
            <a:r>
              <a:rPr lang="en-US"/>
              <a:t>Click To Edit Optional Subtitle</a:t>
            </a:r>
          </a:p>
        </p:txBody>
      </p:sp>
      <p:pic>
        <p:nvPicPr>
          <p:cNvPr id="9" name="Picture 8"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5548394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0_Standard Layout">
    <p:spTree>
      <p:nvGrpSpPr>
        <p:cNvPr id="1" name=""/>
        <p:cNvGrpSpPr/>
        <p:nvPr/>
      </p:nvGrpSpPr>
      <p:grpSpPr>
        <a:xfrm>
          <a:off x="0" y="0"/>
          <a:ext cx="0" cy="0"/>
          <a:chOff x="0" y="0"/>
          <a:chExt cx="0" cy="0"/>
        </a:xfrm>
      </p:grpSpPr>
      <p:pic>
        <p:nvPicPr>
          <p:cNvPr id="11" name="Picture 10" descr="A large body of water with a city in the background&#10;&#10;Description automatically generated">
            <a:extLst>
              <a:ext uri="{FF2B5EF4-FFF2-40B4-BE49-F238E27FC236}">
                <a16:creationId xmlns:a16="http://schemas.microsoft.com/office/drawing/2014/main" id="{B4EBAD26-E407-4BB3-B2EE-6377274C1563}"/>
              </a:ext>
            </a:extLst>
          </p:cNvPr>
          <p:cNvPicPr>
            <a:picLocks noChangeAspect="1"/>
          </p:cNvPicPr>
          <p:nvPr userDrawn="1"/>
        </p:nvPicPr>
        <p:blipFill rotWithShape="1">
          <a:blip r:embed="rId5" cstate="print">
            <a:alphaModFix/>
            <a:extLst>
              <a:ext uri="{28A0092B-C50C-407E-A947-70E740481C1C}">
                <a14:useLocalDpi xmlns:a14="http://schemas.microsoft.com/office/drawing/2010/main"/>
              </a:ext>
            </a:extLst>
          </a:blip>
          <a:srcRect/>
          <a:stretch/>
        </p:blipFill>
        <p:spPr>
          <a:xfrm>
            <a:off x="-1" y="-5052"/>
            <a:ext cx="9144001" cy="5143500"/>
          </a:xfrm>
          <a:prstGeom prst="rect">
            <a:avLst/>
          </a:prstGeom>
        </p:spPr>
      </p:pic>
      <p:graphicFrame>
        <p:nvGraphicFramePr>
          <p:cNvPr id="2" name="Objet 1" hidden="1"/>
          <p:cNvGraphicFramePr>
            <a:graphicFrameLocks noChangeAspect="1"/>
          </p:cNvGraphicFramePr>
          <p:nvPr userDrawn="1">
            <p:custDataLst>
              <p:tags r:id="rId2"/>
            </p:custData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11308" name="think-cell Slide" r:id="rId6" imgW="360" imgH="360" progId="TCLayout.ActiveDocument.1">
                  <p:embed/>
                </p:oleObj>
              </mc:Choice>
              <mc:Fallback>
                <p:oleObj name="think-cell Slide" r:id="rId6" imgW="360" imgH="360" progId="TCLayout.ActiveDocument.1">
                  <p:embed/>
                  <p:pic>
                    <p:nvPicPr>
                      <p:cNvPr id="2" name="Objet 1" hidden="1"/>
                      <p:cNvPicPr/>
                      <p:nvPr/>
                    </p:nvPicPr>
                    <p:blipFill>
                      <a:blip r:embed="rId7"/>
                      <a:stretch>
                        <a:fillRect/>
                      </a:stretch>
                    </p:blipFill>
                    <p:spPr>
                      <a:xfrm>
                        <a:off x="1592" y="1589"/>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A6BAAE1-BE16-4913-97AE-78C99E907225}"/>
              </a:ext>
            </a:extLst>
          </p:cNvPr>
          <p:cNvSpPr/>
          <p:nvPr userDrawn="1">
            <p:custDataLst>
              <p:tags r:id="rId3"/>
            </p:custDataLst>
          </p:nvPr>
        </p:nvSpPr>
        <p:spPr>
          <a:xfrm>
            <a:off x="0" y="1"/>
            <a:ext cx="119062"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Arial" panose="020B0604020202020204" pitchFamily="34" charset="0"/>
              <a:ea typeface="+mj-ea"/>
              <a:cs typeface="+mj-cs"/>
              <a:sym typeface="Arial" panose="020B0604020202020204" pitchFamily="34" charset="0"/>
            </a:endParaRPr>
          </a:p>
        </p:txBody>
      </p:sp>
      <p:sp>
        <p:nvSpPr>
          <p:cNvPr id="49" name="object 3">
            <a:extLst>
              <a:ext uri="{FF2B5EF4-FFF2-40B4-BE49-F238E27FC236}">
                <a16:creationId xmlns:a16="http://schemas.microsoft.com/office/drawing/2014/main" id="{25CD1890-32F1-428E-A164-BCA7D7379946}"/>
              </a:ext>
            </a:extLst>
          </p:cNvPr>
          <p:cNvSpPr/>
          <p:nvPr userDrawn="1"/>
        </p:nvSpPr>
        <p:spPr>
          <a:xfrm>
            <a:off x="-1" y="-11410"/>
            <a:ext cx="9144000" cy="5149859"/>
          </a:xfrm>
          <a:custGeom>
            <a:avLst/>
            <a:gdLst/>
            <a:ahLst/>
            <a:cxnLst/>
            <a:rect l="l" t="t" r="r" b="b"/>
            <a:pathLst>
              <a:path w="9144000" h="5143500">
                <a:moveTo>
                  <a:pt x="0" y="5143500"/>
                </a:moveTo>
                <a:lnTo>
                  <a:pt x="9144000" y="5143500"/>
                </a:lnTo>
                <a:lnTo>
                  <a:pt x="9144000" y="0"/>
                </a:lnTo>
                <a:lnTo>
                  <a:pt x="0" y="0"/>
                </a:lnTo>
                <a:lnTo>
                  <a:pt x="0" y="5143500"/>
                </a:lnTo>
                <a:close/>
              </a:path>
            </a:pathLst>
          </a:custGeom>
          <a:gradFill>
            <a:gsLst>
              <a:gs pos="22000">
                <a:schemeClr val="tx1">
                  <a:alpha val="60000"/>
                </a:schemeClr>
              </a:gs>
              <a:gs pos="62000">
                <a:schemeClr val="accent1">
                  <a:lumMod val="45000"/>
                  <a:lumOff val="55000"/>
                  <a:alpha val="67000"/>
                </a:schemeClr>
              </a:gs>
              <a:gs pos="100000">
                <a:schemeClr val="accent1">
                  <a:lumMod val="30000"/>
                  <a:lumOff val="70000"/>
                </a:schemeClr>
              </a:gs>
            </a:gsLst>
            <a:lin ang="5400000" scaled="1"/>
          </a:gradFill>
        </p:spPr>
        <p:txBody>
          <a:bodyPr wrap="square" lIns="0" tIns="0" rIns="0" bIns="0" rtlCol="0"/>
          <a:lstStyle/>
          <a:p>
            <a:endParaRPr sz="1350" dirty="0"/>
          </a:p>
        </p:txBody>
      </p:sp>
      <p:pic>
        <p:nvPicPr>
          <p:cNvPr id="50" name="Picture 49">
            <a:extLst>
              <a:ext uri="{FF2B5EF4-FFF2-40B4-BE49-F238E27FC236}">
                <a16:creationId xmlns:a16="http://schemas.microsoft.com/office/drawing/2014/main" id="{A2DE2203-73EE-4121-8B25-4C4BF5807EB1}"/>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664734" y="4702324"/>
            <a:ext cx="1031462" cy="214227"/>
          </a:xfrm>
          <a:prstGeom prst="rect">
            <a:avLst/>
          </a:prstGeom>
        </p:spPr>
      </p:pic>
      <p:sp>
        <p:nvSpPr>
          <p:cNvPr id="51" name="Slide Number Placeholder 2">
            <a:extLst>
              <a:ext uri="{FF2B5EF4-FFF2-40B4-BE49-F238E27FC236}">
                <a16:creationId xmlns:a16="http://schemas.microsoft.com/office/drawing/2014/main" id="{1FD03043-0AE4-454E-9F61-5D151A072A89}"/>
              </a:ext>
            </a:extLst>
          </p:cNvPr>
          <p:cNvSpPr txBox="1">
            <a:spLocks/>
          </p:cNvSpPr>
          <p:nvPr userDrawn="1"/>
        </p:nvSpPr>
        <p:spPr>
          <a:xfrm>
            <a:off x="1739941" y="4859007"/>
            <a:ext cx="525553" cy="923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58"/>
            <a:r>
              <a:rPr lang="en-US" sz="600" dirty="0">
                <a:solidFill>
                  <a:srgbClr val="3DCD58"/>
                </a:solidFill>
                <a:latin typeface="Arial" panose="020B0604020202020204" pitchFamily="34" charset="0"/>
                <a:cs typeface="Arial" panose="020B0604020202020204" pitchFamily="34" charset="0"/>
              </a:rPr>
              <a:t>Page </a:t>
            </a:r>
            <a:fld id="{5A9C12DC-491F-9444-86A2-13AC5C62A2FC}" type="slidenum">
              <a:rPr lang="en-US" sz="600">
                <a:solidFill>
                  <a:srgbClr val="3DCD58"/>
                </a:solidFill>
                <a:latin typeface="Arial" panose="020B0604020202020204" pitchFamily="34" charset="0"/>
                <a:cs typeface="Arial" panose="020B0604020202020204" pitchFamily="34" charset="0"/>
              </a:rPr>
              <a:pPr algn="ctr" defTabSz="457058"/>
              <a:t>‹#›</a:t>
            </a:fld>
            <a:endParaRPr lang="en-US" sz="600" dirty="0">
              <a:solidFill>
                <a:srgbClr val="3DCD58"/>
              </a:solidFill>
              <a:latin typeface="Arial" panose="020B0604020202020204" pitchFamily="34" charset="0"/>
              <a:cs typeface="Arial" panose="020B0604020202020204" pitchFamily="34" charset="0"/>
            </a:endParaRPr>
          </a:p>
        </p:txBody>
      </p:sp>
      <p:sp>
        <p:nvSpPr>
          <p:cNvPr id="52" name="Footer Placeholder 3">
            <a:extLst>
              <a:ext uri="{FF2B5EF4-FFF2-40B4-BE49-F238E27FC236}">
                <a16:creationId xmlns:a16="http://schemas.microsoft.com/office/drawing/2014/main" id="{6ED994D1-F1CF-41A3-8A29-EB927E1E1E2C}"/>
              </a:ext>
            </a:extLst>
          </p:cNvPr>
          <p:cNvSpPr txBox="1">
            <a:spLocks/>
          </p:cNvSpPr>
          <p:nvPr userDrawn="1"/>
        </p:nvSpPr>
        <p:spPr>
          <a:xfrm>
            <a:off x="253540" y="4857157"/>
            <a:ext cx="3384470" cy="941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58"/>
            <a:r>
              <a:rPr lang="en-US" sz="600" dirty="0">
                <a:solidFill>
                  <a:srgbClr val="626469"/>
                </a:solidFill>
                <a:latin typeface="Arial" panose="020B0604020202020204" pitchFamily="34" charset="0"/>
                <a:cs typeface="Arial" panose="020B0604020202020204" pitchFamily="34" charset="0"/>
              </a:rPr>
              <a:t>Confidential Property of Schneider Electric | </a:t>
            </a:r>
          </a:p>
        </p:txBody>
      </p:sp>
      <p:sp>
        <p:nvSpPr>
          <p:cNvPr id="89" name="Holder 2">
            <a:extLst>
              <a:ext uri="{FF2B5EF4-FFF2-40B4-BE49-F238E27FC236}">
                <a16:creationId xmlns:a16="http://schemas.microsoft.com/office/drawing/2014/main" id="{578F1C43-C033-4920-826E-488BDE382160}"/>
              </a:ext>
            </a:extLst>
          </p:cNvPr>
          <p:cNvSpPr>
            <a:spLocks noGrp="1"/>
          </p:cNvSpPr>
          <p:nvPr>
            <p:ph type="title"/>
          </p:nvPr>
        </p:nvSpPr>
        <p:spPr>
          <a:xfrm>
            <a:off x="304894" y="352006"/>
            <a:ext cx="8049957" cy="357791"/>
          </a:xfrm>
          <a:prstGeom prst="rect">
            <a:avLst/>
          </a:prstGeom>
        </p:spPr>
        <p:txBody>
          <a:bodyPr lIns="0" tIns="0" rIns="0" bIns="0"/>
          <a:lstStyle>
            <a:lvl1pPr algn="l">
              <a:defRPr sz="3000" b="0" i="0">
                <a:solidFill>
                  <a:srgbClr val="3CC957"/>
                </a:solidFill>
                <a:latin typeface="Arial" panose="020B0604020202020204" pitchFamily="34" charset="0"/>
                <a:cs typeface="Arial" panose="020B0604020202020204" pitchFamily="34" charset="0"/>
              </a:defRPr>
            </a:lvl1pPr>
          </a:lstStyle>
          <a:p>
            <a:endParaRPr/>
          </a:p>
        </p:txBody>
      </p:sp>
      <p:sp>
        <p:nvSpPr>
          <p:cNvPr id="91" name="Text Placeholder 90">
            <a:extLst>
              <a:ext uri="{FF2B5EF4-FFF2-40B4-BE49-F238E27FC236}">
                <a16:creationId xmlns:a16="http://schemas.microsoft.com/office/drawing/2014/main" id="{EC6A9235-43C6-4B7B-8E6D-F47A6C725A10}"/>
              </a:ext>
            </a:extLst>
          </p:cNvPr>
          <p:cNvSpPr>
            <a:spLocks noGrp="1"/>
          </p:cNvSpPr>
          <p:nvPr>
            <p:ph type="body" sz="quarter" idx="10"/>
          </p:nvPr>
        </p:nvSpPr>
        <p:spPr>
          <a:xfrm>
            <a:off x="304892" y="1390650"/>
            <a:ext cx="8049957" cy="2165350"/>
          </a:xfrm>
          <a:prstGeom prst="rect">
            <a:avLst/>
          </a:prstGeom>
        </p:spPr>
        <p:txBody>
          <a:bodyPr/>
          <a:lstStyle>
            <a:lvl1pPr>
              <a:defRPr sz="2400" b="0" i="0">
                <a:solidFill>
                  <a:schemeClr val="bg1"/>
                </a:solidFill>
                <a:latin typeface="Arial" panose="020B0604020202020204" pitchFamily="34" charset="0"/>
                <a:cs typeface="Arial" panose="020B0604020202020204" pitchFamily="34" charset="0"/>
              </a:defRPr>
            </a:lvl1pPr>
            <a:lvl2pPr>
              <a:defRPr sz="2000" b="0" i="0">
                <a:solidFill>
                  <a:schemeClr val="bg1"/>
                </a:solidFill>
                <a:latin typeface="Arial" panose="020B0604020202020204" pitchFamily="34" charset="0"/>
                <a:cs typeface="Arial" panose="020B0604020202020204" pitchFamily="34" charset="0"/>
              </a:defRPr>
            </a:lvl2pPr>
            <a:lvl3pPr>
              <a:defRPr sz="1800" b="0" i="0">
                <a:solidFill>
                  <a:schemeClr val="bg1"/>
                </a:solidFill>
                <a:latin typeface="Arial" panose="020B0604020202020204" pitchFamily="34" charset="0"/>
                <a:cs typeface="Arial" panose="020B0604020202020204" pitchFamily="34" charset="0"/>
              </a:defRPr>
            </a:lvl3pPr>
            <a:lvl4pPr>
              <a:defRPr sz="1600" b="0" i="0">
                <a:solidFill>
                  <a:schemeClr val="bg1"/>
                </a:solidFill>
                <a:latin typeface="Arial" panose="020B0604020202020204" pitchFamily="34" charset="0"/>
                <a:cs typeface="Arial" panose="020B0604020202020204" pitchFamily="34" charset="0"/>
              </a:defRPr>
            </a:lvl4pPr>
            <a:lvl5pPr>
              <a:defRPr sz="1600" b="0" i="0">
                <a:solidFill>
                  <a:schemeClr val="bg1"/>
                </a:solidFill>
                <a:latin typeface="Arial" panose="020B0604020202020204" pitchFamily="34" charset="0"/>
                <a:cs typeface="Arial" panose="020B0604020202020204" pitchFamily="34" charset="0"/>
              </a:defRPr>
            </a:lvl5p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Tree>
    <p:extLst>
      <p:ext uri="{BB962C8B-B14F-4D97-AF65-F5344CB8AC3E}">
        <p14:creationId xmlns:p14="http://schemas.microsoft.com/office/powerpoint/2010/main" val="29104619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7"/>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5"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66354272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dirty="0"/>
              <a:t>Click icon to add picture</a:t>
            </a:r>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
        <p:nvSpPr>
          <p:cNvPr id="14" name="Footer Placeholder 4"/>
          <p:cNvSpPr>
            <a:spLocks noGrp="1"/>
          </p:cNvSpPr>
          <p:nvPr>
            <p:ph type="ftr" sz="quarter" idx="3"/>
          </p:nvPr>
        </p:nvSpPr>
        <p:spPr>
          <a:xfrm>
            <a:off x="252415"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err="1"/>
              <a:t>Presented</a:t>
            </a:r>
            <a:r>
              <a:rPr lang="fr-FR"/>
              <a:t> by: </a:t>
            </a:r>
          </a:p>
          <a:p>
            <a:pPr lvl="0"/>
            <a:r>
              <a:rPr lang="fr-FR"/>
              <a:t>Date: </a:t>
            </a:r>
          </a:p>
          <a:p>
            <a:pPr lvl="0"/>
            <a:endParaRPr lang="fr-FR"/>
          </a:p>
          <a:p>
            <a:pPr lvl="0"/>
            <a:endParaRPr lang="fr-FR"/>
          </a:p>
          <a:p>
            <a:pPr lvl="0"/>
            <a:endParaRPr lang="fr-FR"/>
          </a:p>
          <a:p>
            <a:pPr lvl="0"/>
            <a:endParaRPr lang="fr-FR"/>
          </a:p>
          <a:p>
            <a:pPr lvl="0"/>
            <a:endParaRPr lang="fr-FR"/>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dirty="0"/>
          </a:p>
        </p:txBody>
      </p:sp>
    </p:spTree>
    <p:extLst>
      <p:ext uri="{BB962C8B-B14F-4D97-AF65-F5344CB8AC3E}">
        <p14:creationId xmlns:p14="http://schemas.microsoft.com/office/powerpoint/2010/main" val="29579879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2650333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43988753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1981308"/>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a:t>Click To Edit Section Title</a:t>
            </a:r>
          </a:p>
        </p:txBody>
      </p:sp>
      <p:sp>
        <p:nvSpPr>
          <p:cNvPr id="4" name="Text Placeholder 9"/>
          <p:cNvSpPr>
            <a:spLocks noGrp="1"/>
          </p:cNvSpPr>
          <p:nvPr>
            <p:ph type="body" sz="quarter" idx="11" hasCustomPrompt="1"/>
          </p:nvPr>
        </p:nvSpPr>
        <p:spPr>
          <a:xfrm>
            <a:off x="0" y="1608245"/>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a:t>Click To Edit Optional Subtitle</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White_RGB.png"/>
          <p:cNvPicPr>
            <a:picLocks noChangeAspect="1"/>
          </p:cNvPicPr>
          <p:nvPr userDrawn="1"/>
        </p:nvPicPr>
        <p:blipFill>
          <a:blip r:embed="rId2" cstate="print"/>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775611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0" y="-2"/>
            <a:ext cx="4578351"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a:t>Insert Your Content Here</a:t>
            </a:r>
          </a:p>
        </p:txBody>
      </p:sp>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80599020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hasCustomPrompt="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baseline="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Agenda (edit text)</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10" name="Rechteck 7"/>
          <p:cNvSpPr/>
          <p:nvPr userDrawn="1"/>
        </p:nvSpPr>
        <p:spPr>
          <a:xfrm>
            <a:off x="5069699" y="269347"/>
            <a:ext cx="393829" cy="34934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11" name="Rechteck 8"/>
          <p:cNvSpPr/>
          <p:nvPr userDrawn="1"/>
        </p:nvSpPr>
        <p:spPr>
          <a:xfrm>
            <a:off x="5616268" y="269348"/>
            <a:ext cx="3200400" cy="34934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dirty="0">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4995398" y="342329"/>
            <a:ext cx="509596" cy="210641"/>
          </a:xfrm>
          <a:prstGeom prst="rect">
            <a:avLst/>
          </a:prstGeom>
        </p:spPr>
        <p:txBody>
          <a:bodyPr anchor="ctr"/>
          <a:lstStyle>
            <a:lvl1pPr algn="ctr">
              <a:buNone/>
              <a:defRPr sz="1300" b="1">
                <a:solidFill>
                  <a:schemeClr val="accent1"/>
                </a:solidFill>
              </a:defRPr>
            </a:lvl1pPr>
          </a:lstStyle>
          <a:p>
            <a:r>
              <a:rPr lang="en-US" dirty="0"/>
              <a:t>1</a:t>
            </a:r>
          </a:p>
        </p:txBody>
      </p:sp>
      <p:sp>
        <p:nvSpPr>
          <p:cNvPr id="23" name="Text Placeholder 4"/>
          <p:cNvSpPr>
            <a:spLocks noGrp="1"/>
          </p:cNvSpPr>
          <p:nvPr userDrawn="1">
            <p:ph type="body" sz="quarter" idx="12" hasCustomPrompt="1"/>
          </p:nvPr>
        </p:nvSpPr>
        <p:spPr>
          <a:xfrm>
            <a:off x="5609152" y="355977"/>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41" name="Rechteck 7">
            <a:extLst>
              <a:ext uri="{FF2B5EF4-FFF2-40B4-BE49-F238E27FC236}">
                <a16:creationId xmlns:a16="http://schemas.microsoft.com/office/drawing/2014/main" id="{CB90EC60-E9EC-4DE6-B85F-EC1FD17D8662}"/>
              </a:ext>
            </a:extLst>
          </p:cNvPr>
          <p:cNvSpPr/>
          <p:nvPr userDrawn="1"/>
        </p:nvSpPr>
        <p:spPr>
          <a:xfrm>
            <a:off x="5069699" y="705322"/>
            <a:ext cx="393829" cy="34934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42" name="Rechteck 8">
            <a:extLst>
              <a:ext uri="{FF2B5EF4-FFF2-40B4-BE49-F238E27FC236}">
                <a16:creationId xmlns:a16="http://schemas.microsoft.com/office/drawing/2014/main" id="{52342122-455C-4635-859F-C7064ED97E7D}"/>
              </a:ext>
            </a:extLst>
          </p:cNvPr>
          <p:cNvSpPr/>
          <p:nvPr userDrawn="1"/>
        </p:nvSpPr>
        <p:spPr>
          <a:xfrm>
            <a:off x="5616268" y="705323"/>
            <a:ext cx="3200400" cy="34934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dirty="0">
              <a:solidFill>
                <a:schemeClr val="accent1"/>
              </a:solidFill>
              <a:latin typeface="+mn-lt"/>
              <a:cs typeface="Arial" pitchFamily="34" charset="0"/>
            </a:endParaRPr>
          </a:p>
        </p:txBody>
      </p:sp>
      <p:sp>
        <p:nvSpPr>
          <p:cNvPr id="43" name="Text Placeholder 4">
            <a:extLst>
              <a:ext uri="{FF2B5EF4-FFF2-40B4-BE49-F238E27FC236}">
                <a16:creationId xmlns:a16="http://schemas.microsoft.com/office/drawing/2014/main" id="{F83D9216-8594-46F5-85B5-94FB6321A1F3}"/>
              </a:ext>
            </a:extLst>
          </p:cNvPr>
          <p:cNvSpPr>
            <a:spLocks noGrp="1"/>
          </p:cNvSpPr>
          <p:nvPr>
            <p:ph type="body" sz="quarter" idx="14" hasCustomPrompt="1"/>
          </p:nvPr>
        </p:nvSpPr>
        <p:spPr>
          <a:xfrm>
            <a:off x="4995398" y="778304"/>
            <a:ext cx="509596" cy="210641"/>
          </a:xfrm>
          <a:prstGeom prst="rect">
            <a:avLst/>
          </a:prstGeom>
        </p:spPr>
        <p:txBody>
          <a:bodyPr anchor="ctr"/>
          <a:lstStyle>
            <a:lvl1pPr algn="ctr">
              <a:buNone/>
              <a:defRPr sz="1300" b="1">
                <a:solidFill>
                  <a:schemeClr val="accent1"/>
                </a:solidFill>
              </a:defRPr>
            </a:lvl1pPr>
          </a:lstStyle>
          <a:p>
            <a:r>
              <a:rPr lang="en-US" dirty="0"/>
              <a:t>1</a:t>
            </a:r>
          </a:p>
        </p:txBody>
      </p:sp>
      <p:sp>
        <p:nvSpPr>
          <p:cNvPr id="44" name="Text Placeholder 4">
            <a:extLst>
              <a:ext uri="{FF2B5EF4-FFF2-40B4-BE49-F238E27FC236}">
                <a16:creationId xmlns:a16="http://schemas.microsoft.com/office/drawing/2014/main" id="{CCB0977F-D939-48FD-A554-5FC659D2A479}"/>
              </a:ext>
            </a:extLst>
          </p:cNvPr>
          <p:cNvSpPr>
            <a:spLocks noGrp="1"/>
          </p:cNvSpPr>
          <p:nvPr>
            <p:ph type="body" sz="quarter" idx="15" hasCustomPrompt="1"/>
          </p:nvPr>
        </p:nvSpPr>
        <p:spPr>
          <a:xfrm>
            <a:off x="5609152" y="791952"/>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53" name="Rechteck 7">
            <a:extLst>
              <a:ext uri="{FF2B5EF4-FFF2-40B4-BE49-F238E27FC236}">
                <a16:creationId xmlns:a16="http://schemas.microsoft.com/office/drawing/2014/main" id="{6078E902-9E65-4B73-8E95-401F6CB9BABA}"/>
              </a:ext>
            </a:extLst>
          </p:cNvPr>
          <p:cNvSpPr/>
          <p:nvPr userDrawn="1"/>
        </p:nvSpPr>
        <p:spPr>
          <a:xfrm>
            <a:off x="5069699" y="1158788"/>
            <a:ext cx="393829" cy="34934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54" name="Rechteck 8">
            <a:extLst>
              <a:ext uri="{FF2B5EF4-FFF2-40B4-BE49-F238E27FC236}">
                <a16:creationId xmlns:a16="http://schemas.microsoft.com/office/drawing/2014/main" id="{FAFAC64C-4AAF-4F81-B7D5-289A869E5250}"/>
              </a:ext>
            </a:extLst>
          </p:cNvPr>
          <p:cNvSpPr/>
          <p:nvPr userDrawn="1"/>
        </p:nvSpPr>
        <p:spPr>
          <a:xfrm>
            <a:off x="5616268" y="1158789"/>
            <a:ext cx="3200400" cy="34934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dirty="0">
              <a:solidFill>
                <a:schemeClr val="accent1"/>
              </a:solidFill>
              <a:latin typeface="+mn-lt"/>
              <a:cs typeface="Arial" pitchFamily="34" charset="0"/>
            </a:endParaRPr>
          </a:p>
        </p:txBody>
      </p:sp>
      <p:sp>
        <p:nvSpPr>
          <p:cNvPr id="57" name="Text Placeholder 4">
            <a:extLst>
              <a:ext uri="{FF2B5EF4-FFF2-40B4-BE49-F238E27FC236}">
                <a16:creationId xmlns:a16="http://schemas.microsoft.com/office/drawing/2014/main" id="{16CE8960-19E7-4AEA-A7C4-CD4EC9DA1436}"/>
              </a:ext>
            </a:extLst>
          </p:cNvPr>
          <p:cNvSpPr>
            <a:spLocks noGrp="1"/>
          </p:cNvSpPr>
          <p:nvPr>
            <p:ph type="body" sz="quarter" idx="16" hasCustomPrompt="1"/>
          </p:nvPr>
        </p:nvSpPr>
        <p:spPr>
          <a:xfrm>
            <a:off x="4995398" y="1231770"/>
            <a:ext cx="509596" cy="210641"/>
          </a:xfrm>
          <a:prstGeom prst="rect">
            <a:avLst/>
          </a:prstGeom>
        </p:spPr>
        <p:txBody>
          <a:bodyPr anchor="ctr"/>
          <a:lstStyle>
            <a:lvl1pPr algn="ctr">
              <a:buNone/>
              <a:defRPr sz="1300" b="1">
                <a:solidFill>
                  <a:schemeClr val="accent1"/>
                </a:solidFill>
              </a:defRPr>
            </a:lvl1pPr>
          </a:lstStyle>
          <a:p>
            <a:r>
              <a:rPr lang="en-US" dirty="0"/>
              <a:t>1</a:t>
            </a:r>
          </a:p>
        </p:txBody>
      </p:sp>
      <p:sp>
        <p:nvSpPr>
          <p:cNvPr id="58" name="Text Placeholder 4">
            <a:extLst>
              <a:ext uri="{FF2B5EF4-FFF2-40B4-BE49-F238E27FC236}">
                <a16:creationId xmlns:a16="http://schemas.microsoft.com/office/drawing/2014/main" id="{A8E6F38E-A94F-4615-8EE2-C97FBB81B5C0}"/>
              </a:ext>
            </a:extLst>
          </p:cNvPr>
          <p:cNvSpPr>
            <a:spLocks noGrp="1"/>
          </p:cNvSpPr>
          <p:nvPr>
            <p:ph type="body" sz="quarter" idx="17" hasCustomPrompt="1"/>
          </p:nvPr>
        </p:nvSpPr>
        <p:spPr>
          <a:xfrm>
            <a:off x="5609152" y="1245418"/>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71" name="Rechteck 7">
            <a:extLst>
              <a:ext uri="{FF2B5EF4-FFF2-40B4-BE49-F238E27FC236}">
                <a16:creationId xmlns:a16="http://schemas.microsoft.com/office/drawing/2014/main" id="{F87FE303-8BE7-4D9E-A605-6E9C834FA346}"/>
              </a:ext>
            </a:extLst>
          </p:cNvPr>
          <p:cNvSpPr/>
          <p:nvPr userDrawn="1"/>
        </p:nvSpPr>
        <p:spPr>
          <a:xfrm>
            <a:off x="5069699" y="1596626"/>
            <a:ext cx="393829" cy="34934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72" name="Rechteck 8">
            <a:extLst>
              <a:ext uri="{FF2B5EF4-FFF2-40B4-BE49-F238E27FC236}">
                <a16:creationId xmlns:a16="http://schemas.microsoft.com/office/drawing/2014/main" id="{3370D2BF-6E10-4294-B5B9-5A915331AB78}"/>
              </a:ext>
            </a:extLst>
          </p:cNvPr>
          <p:cNvSpPr/>
          <p:nvPr userDrawn="1"/>
        </p:nvSpPr>
        <p:spPr>
          <a:xfrm>
            <a:off x="5616268" y="1596627"/>
            <a:ext cx="3200400" cy="34934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dirty="0">
              <a:solidFill>
                <a:schemeClr val="accent1"/>
              </a:solidFill>
              <a:latin typeface="+mn-lt"/>
              <a:cs typeface="Arial" pitchFamily="34" charset="0"/>
            </a:endParaRPr>
          </a:p>
        </p:txBody>
      </p:sp>
      <p:sp>
        <p:nvSpPr>
          <p:cNvPr id="73" name="Text Placeholder 4">
            <a:extLst>
              <a:ext uri="{FF2B5EF4-FFF2-40B4-BE49-F238E27FC236}">
                <a16:creationId xmlns:a16="http://schemas.microsoft.com/office/drawing/2014/main" id="{E140AAFB-C7E1-4AB5-8AB6-47D68304355A}"/>
              </a:ext>
            </a:extLst>
          </p:cNvPr>
          <p:cNvSpPr>
            <a:spLocks noGrp="1"/>
          </p:cNvSpPr>
          <p:nvPr>
            <p:ph type="body" sz="quarter" idx="18" hasCustomPrompt="1"/>
          </p:nvPr>
        </p:nvSpPr>
        <p:spPr>
          <a:xfrm>
            <a:off x="4995398" y="1669608"/>
            <a:ext cx="509596" cy="210641"/>
          </a:xfrm>
          <a:prstGeom prst="rect">
            <a:avLst/>
          </a:prstGeom>
        </p:spPr>
        <p:txBody>
          <a:bodyPr anchor="ctr"/>
          <a:lstStyle>
            <a:lvl1pPr algn="ctr">
              <a:buNone/>
              <a:defRPr sz="1300" b="1">
                <a:solidFill>
                  <a:schemeClr val="accent1"/>
                </a:solidFill>
              </a:defRPr>
            </a:lvl1pPr>
          </a:lstStyle>
          <a:p>
            <a:r>
              <a:rPr lang="en-US" dirty="0"/>
              <a:t>1</a:t>
            </a:r>
          </a:p>
        </p:txBody>
      </p:sp>
      <p:sp>
        <p:nvSpPr>
          <p:cNvPr id="74" name="Text Placeholder 4">
            <a:extLst>
              <a:ext uri="{FF2B5EF4-FFF2-40B4-BE49-F238E27FC236}">
                <a16:creationId xmlns:a16="http://schemas.microsoft.com/office/drawing/2014/main" id="{9EC28D52-FE9F-4FAC-A34F-00EF90728A3E}"/>
              </a:ext>
            </a:extLst>
          </p:cNvPr>
          <p:cNvSpPr>
            <a:spLocks noGrp="1"/>
          </p:cNvSpPr>
          <p:nvPr>
            <p:ph type="body" sz="quarter" idx="19" hasCustomPrompt="1"/>
          </p:nvPr>
        </p:nvSpPr>
        <p:spPr>
          <a:xfrm>
            <a:off x="5609152" y="1683256"/>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75" name="Rechteck 7">
            <a:extLst>
              <a:ext uri="{FF2B5EF4-FFF2-40B4-BE49-F238E27FC236}">
                <a16:creationId xmlns:a16="http://schemas.microsoft.com/office/drawing/2014/main" id="{84C5C79B-A75A-44C7-8B1D-C8A380F0FE51}"/>
              </a:ext>
            </a:extLst>
          </p:cNvPr>
          <p:cNvSpPr/>
          <p:nvPr userDrawn="1"/>
        </p:nvSpPr>
        <p:spPr>
          <a:xfrm>
            <a:off x="5069699" y="2032601"/>
            <a:ext cx="393829" cy="34934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76" name="Rechteck 8">
            <a:extLst>
              <a:ext uri="{FF2B5EF4-FFF2-40B4-BE49-F238E27FC236}">
                <a16:creationId xmlns:a16="http://schemas.microsoft.com/office/drawing/2014/main" id="{AA1221A7-73E6-47C5-94E8-3E69099230A1}"/>
              </a:ext>
            </a:extLst>
          </p:cNvPr>
          <p:cNvSpPr/>
          <p:nvPr userDrawn="1"/>
        </p:nvSpPr>
        <p:spPr>
          <a:xfrm>
            <a:off x="5616268" y="2032602"/>
            <a:ext cx="3200400" cy="34934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dirty="0">
              <a:solidFill>
                <a:schemeClr val="accent1"/>
              </a:solidFill>
              <a:latin typeface="+mn-lt"/>
              <a:cs typeface="Arial" pitchFamily="34" charset="0"/>
            </a:endParaRPr>
          </a:p>
        </p:txBody>
      </p:sp>
      <p:sp>
        <p:nvSpPr>
          <p:cNvPr id="77" name="Text Placeholder 4">
            <a:extLst>
              <a:ext uri="{FF2B5EF4-FFF2-40B4-BE49-F238E27FC236}">
                <a16:creationId xmlns:a16="http://schemas.microsoft.com/office/drawing/2014/main" id="{25491DBA-2234-4449-AC28-1F4EA889FE49}"/>
              </a:ext>
            </a:extLst>
          </p:cNvPr>
          <p:cNvSpPr>
            <a:spLocks noGrp="1"/>
          </p:cNvSpPr>
          <p:nvPr>
            <p:ph type="body" sz="quarter" idx="20" hasCustomPrompt="1"/>
          </p:nvPr>
        </p:nvSpPr>
        <p:spPr>
          <a:xfrm>
            <a:off x="4995398" y="2105583"/>
            <a:ext cx="509596" cy="210641"/>
          </a:xfrm>
          <a:prstGeom prst="rect">
            <a:avLst/>
          </a:prstGeom>
        </p:spPr>
        <p:txBody>
          <a:bodyPr anchor="ctr"/>
          <a:lstStyle>
            <a:lvl1pPr algn="ctr">
              <a:buNone/>
              <a:defRPr sz="1300" b="1">
                <a:solidFill>
                  <a:schemeClr val="accent1"/>
                </a:solidFill>
              </a:defRPr>
            </a:lvl1pPr>
          </a:lstStyle>
          <a:p>
            <a:r>
              <a:rPr lang="en-US" dirty="0"/>
              <a:t>1</a:t>
            </a:r>
          </a:p>
        </p:txBody>
      </p:sp>
      <p:sp>
        <p:nvSpPr>
          <p:cNvPr id="78" name="Text Placeholder 4">
            <a:extLst>
              <a:ext uri="{FF2B5EF4-FFF2-40B4-BE49-F238E27FC236}">
                <a16:creationId xmlns:a16="http://schemas.microsoft.com/office/drawing/2014/main" id="{ED9E56A8-F0AE-4C86-B2B6-A1C161ABA778}"/>
              </a:ext>
            </a:extLst>
          </p:cNvPr>
          <p:cNvSpPr>
            <a:spLocks noGrp="1"/>
          </p:cNvSpPr>
          <p:nvPr>
            <p:ph type="body" sz="quarter" idx="21" hasCustomPrompt="1"/>
          </p:nvPr>
        </p:nvSpPr>
        <p:spPr>
          <a:xfrm>
            <a:off x="5609152" y="2119231"/>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79" name="Rechteck 7">
            <a:extLst>
              <a:ext uri="{FF2B5EF4-FFF2-40B4-BE49-F238E27FC236}">
                <a16:creationId xmlns:a16="http://schemas.microsoft.com/office/drawing/2014/main" id="{FF534732-C7C1-4899-AC95-5DD41DC06184}"/>
              </a:ext>
            </a:extLst>
          </p:cNvPr>
          <p:cNvSpPr/>
          <p:nvPr userDrawn="1"/>
        </p:nvSpPr>
        <p:spPr>
          <a:xfrm>
            <a:off x="5069699" y="2486067"/>
            <a:ext cx="393829" cy="34934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80" name="Rechteck 8">
            <a:extLst>
              <a:ext uri="{FF2B5EF4-FFF2-40B4-BE49-F238E27FC236}">
                <a16:creationId xmlns:a16="http://schemas.microsoft.com/office/drawing/2014/main" id="{E418C238-7273-4FE3-A8A5-CEDC8A24E1A5}"/>
              </a:ext>
            </a:extLst>
          </p:cNvPr>
          <p:cNvSpPr/>
          <p:nvPr userDrawn="1"/>
        </p:nvSpPr>
        <p:spPr>
          <a:xfrm>
            <a:off x="5616268" y="2486068"/>
            <a:ext cx="3200400" cy="34934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dirty="0">
              <a:solidFill>
                <a:schemeClr val="accent1"/>
              </a:solidFill>
              <a:latin typeface="+mn-lt"/>
              <a:cs typeface="Arial" pitchFamily="34" charset="0"/>
            </a:endParaRPr>
          </a:p>
        </p:txBody>
      </p:sp>
      <p:sp>
        <p:nvSpPr>
          <p:cNvPr id="81" name="Text Placeholder 4">
            <a:extLst>
              <a:ext uri="{FF2B5EF4-FFF2-40B4-BE49-F238E27FC236}">
                <a16:creationId xmlns:a16="http://schemas.microsoft.com/office/drawing/2014/main" id="{E9338ADA-0EA2-4741-8FCA-035BFA8773B6}"/>
              </a:ext>
            </a:extLst>
          </p:cNvPr>
          <p:cNvSpPr>
            <a:spLocks noGrp="1"/>
          </p:cNvSpPr>
          <p:nvPr>
            <p:ph type="body" sz="quarter" idx="22" hasCustomPrompt="1"/>
          </p:nvPr>
        </p:nvSpPr>
        <p:spPr>
          <a:xfrm>
            <a:off x="4995398" y="2559049"/>
            <a:ext cx="509596" cy="210641"/>
          </a:xfrm>
          <a:prstGeom prst="rect">
            <a:avLst/>
          </a:prstGeom>
        </p:spPr>
        <p:txBody>
          <a:bodyPr anchor="ctr"/>
          <a:lstStyle>
            <a:lvl1pPr algn="ctr">
              <a:buNone/>
              <a:defRPr sz="1300" b="1">
                <a:solidFill>
                  <a:schemeClr val="accent1"/>
                </a:solidFill>
              </a:defRPr>
            </a:lvl1pPr>
          </a:lstStyle>
          <a:p>
            <a:r>
              <a:rPr lang="en-US" dirty="0"/>
              <a:t>1</a:t>
            </a:r>
          </a:p>
        </p:txBody>
      </p:sp>
      <p:sp>
        <p:nvSpPr>
          <p:cNvPr id="82" name="Text Placeholder 4">
            <a:extLst>
              <a:ext uri="{FF2B5EF4-FFF2-40B4-BE49-F238E27FC236}">
                <a16:creationId xmlns:a16="http://schemas.microsoft.com/office/drawing/2014/main" id="{B76500C1-8FCF-4D80-92FB-4664B905AD0E}"/>
              </a:ext>
            </a:extLst>
          </p:cNvPr>
          <p:cNvSpPr>
            <a:spLocks noGrp="1"/>
          </p:cNvSpPr>
          <p:nvPr>
            <p:ph type="body" sz="quarter" idx="23" hasCustomPrompt="1"/>
          </p:nvPr>
        </p:nvSpPr>
        <p:spPr>
          <a:xfrm>
            <a:off x="5609152" y="2572697"/>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83" name="Rechteck 7">
            <a:extLst>
              <a:ext uri="{FF2B5EF4-FFF2-40B4-BE49-F238E27FC236}">
                <a16:creationId xmlns:a16="http://schemas.microsoft.com/office/drawing/2014/main" id="{B371E88F-455B-4A53-A15D-6231E4AA11C4}"/>
              </a:ext>
            </a:extLst>
          </p:cNvPr>
          <p:cNvSpPr/>
          <p:nvPr userDrawn="1"/>
        </p:nvSpPr>
        <p:spPr>
          <a:xfrm>
            <a:off x="5069699" y="2927319"/>
            <a:ext cx="393829" cy="34934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84" name="Rechteck 8">
            <a:extLst>
              <a:ext uri="{FF2B5EF4-FFF2-40B4-BE49-F238E27FC236}">
                <a16:creationId xmlns:a16="http://schemas.microsoft.com/office/drawing/2014/main" id="{60B34880-DB10-4C0A-B825-3F9A59FCFDC4}"/>
              </a:ext>
            </a:extLst>
          </p:cNvPr>
          <p:cNvSpPr/>
          <p:nvPr userDrawn="1"/>
        </p:nvSpPr>
        <p:spPr>
          <a:xfrm>
            <a:off x="5616268" y="2927320"/>
            <a:ext cx="3200400" cy="34934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dirty="0">
              <a:solidFill>
                <a:schemeClr val="accent1"/>
              </a:solidFill>
              <a:latin typeface="+mn-lt"/>
              <a:cs typeface="Arial" pitchFamily="34" charset="0"/>
            </a:endParaRPr>
          </a:p>
        </p:txBody>
      </p:sp>
      <p:sp>
        <p:nvSpPr>
          <p:cNvPr id="85" name="Text Placeholder 4">
            <a:extLst>
              <a:ext uri="{FF2B5EF4-FFF2-40B4-BE49-F238E27FC236}">
                <a16:creationId xmlns:a16="http://schemas.microsoft.com/office/drawing/2014/main" id="{13F3CB1E-FA7B-4752-ADBB-24652411BDB3}"/>
              </a:ext>
            </a:extLst>
          </p:cNvPr>
          <p:cNvSpPr>
            <a:spLocks noGrp="1"/>
          </p:cNvSpPr>
          <p:nvPr>
            <p:ph type="body" sz="quarter" idx="24" hasCustomPrompt="1"/>
          </p:nvPr>
        </p:nvSpPr>
        <p:spPr>
          <a:xfrm>
            <a:off x="4995398" y="3000301"/>
            <a:ext cx="509596" cy="210641"/>
          </a:xfrm>
          <a:prstGeom prst="rect">
            <a:avLst/>
          </a:prstGeom>
        </p:spPr>
        <p:txBody>
          <a:bodyPr anchor="ctr"/>
          <a:lstStyle>
            <a:lvl1pPr algn="ctr">
              <a:buNone/>
              <a:defRPr sz="1300" b="1">
                <a:solidFill>
                  <a:schemeClr val="accent1"/>
                </a:solidFill>
              </a:defRPr>
            </a:lvl1pPr>
          </a:lstStyle>
          <a:p>
            <a:r>
              <a:rPr lang="en-US" dirty="0"/>
              <a:t>1</a:t>
            </a:r>
          </a:p>
        </p:txBody>
      </p:sp>
      <p:sp>
        <p:nvSpPr>
          <p:cNvPr id="86" name="Text Placeholder 4">
            <a:extLst>
              <a:ext uri="{FF2B5EF4-FFF2-40B4-BE49-F238E27FC236}">
                <a16:creationId xmlns:a16="http://schemas.microsoft.com/office/drawing/2014/main" id="{396DCF1E-6066-45C2-A069-AABF00041ACA}"/>
              </a:ext>
            </a:extLst>
          </p:cNvPr>
          <p:cNvSpPr>
            <a:spLocks noGrp="1"/>
          </p:cNvSpPr>
          <p:nvPr>
            <p:ph type="body" sz="quarter" idx="25" hasCustomPrompt="1"/>
          </p:nvPr>
        </p:nvSpPr>
        <p:spPr>
          <a:xfrm>
            <a:off x="5609152" y="3013949"/>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87" name="Rechteck 7">
            <a:extLst>
              <a:ext uri="{FF2B5EF4-FFF2-40B4-BE49-F238E27FC236}">
                <a16:creationId xmlns:a16="http://schemas.microsoft.com/office/drawing/2014/main" id="{763E9E26-705B-4E11-8034-3383B393E7CE}"/>
              </a:ext>
            </a:extLst>
          </p:cNvPr>
          <p:cNvSpPr/>
          <p:nvPr userDrawn="1"/>
        </p:nvSpPr>
        <p:spPr>
          <a:xfrm>
            <a:off x="5069699" y="3363294"/>
            <a:ext cx="393829" cy="34934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88" name="Rechteck 8">
            <a:extLst>
              <a:ext uri="{FF2B5EF4-FFF2-40B4-BE49-F238E27FC236}">
                <a16:creationId xmlns:a16="http://schemas.microsoft.com/office/drawing/2014/main" id="{E13BF6C6-F5E7-4977-A930-416C83B94665}"/>
              </a:ext>
            </a:extLst>
          </p:cNvPr>
          <p:cNvSpPr/>
          <p:nvPr userDrawn="1"/>
        </p:nvSpPr>
        <p:spPr>
          <a:xfrm>
            <a:off x="5616268" y="3363295"/>
            <a:ext cx="3200400" cy="34934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dirty="0">
              <a:solidFill>
                <a:schemeClr val="accent1"/>
              </a:solidFill>
              <a:latin typeface="+mn-lt"/>
              <a:cs typeface="Arial" pitchFamily="34" charset="0"/>
            </a:endParaRPr>
          </a:p>
        </p:txBody>
      </p:sp>
      <p:sp>
        <p:nvSpPr>
          <p:cNvPr id="89" name="Text Placeholder 4">
            <a:extLst>
              <a:ext uri="{FF2B5EF4-FFF2-40B4-BE49-F238E27FC236}">
                <a16:creationId xmlns:a16="http://schemas.microsoft.com/office/drawing/2014/main" id="{B506021B-498E-4FF1-A00A-EDC04E0A0C3B}"/>
              </a:ext>
            </a:extLst>
          </p:cNvPr>
          <p:cNvSpPr>
            <a:spLocks noGrp="1"/>
          </p:cNvSpPr>
          <p:nvPr>
            <p:ph type="body" sz="quarter" idx="26" hasCustomPrompt="1"/>
          </p:nvPr>
        </p:nvSpPr>
        <p:spPr>
          <a:xfrm>
            <a:off x="4995398" y="3436276"/>
            <a:ext cx="509596" cy="210641"/>
          </a:xfrm>
          <a:prstGeom prst="rect">
            <a:avLst/>
          </a:prstGeom>
        </p:spPr>
        <p:txBody>
          <a:bodyPr anchor="ctr"/>
          <a:lstStyle>
            <a:lvl1pPr algn="ctr">
              <a:buNone/>
              <a:defRPr sz="1300" b="1">
                <a:solidFill>
                  <a:schemeClr val="accent1"/>
                </a:solidFill>
              </a:defRPr>
            </a:lvl1pPr>
          </a:lstStyle>
          <a:p>
            <a:r>
              <a:rPr lang="en-US" dirty="0"/>
              <a:t>1</a:t>
            </a:r>
          </a:p>
        </p:txBody>
      </p:sp>
      <p:sp>
        <p:nvSpPr>
          <p:cNvPr id="90" name="Text Placeholder 4">
            <a:extLst>
              <a:ext uri="{FF2B5EF4-FFF2-40B4-BE49-F238E27FC236}">
                <a16:creationId xmlns:a16="http://schemas.microsoft.com/office/drawing/2014/main" id="{F59D2708-0043-4EDA-9FC6-2953296E8F3E}"/>
              </a:ext>
            </a:extLst>
          </p:cNvPr>
          <p:cNvSpPr>
            <a:spLocks noGrp="1"/>
          </p:cNvSpPr>
          <p:nvPr>
            <p:ph type="body" sz="quarter" idx="27" hasCustomPrompt="1"/>
          </p:nvPr>
        </p:nvSpPr>
        <p:spPr>
          <a:xfrm>
            <a:off x="5609152" y="3449924"/>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91" name="Rechteck 7">
            <a:extLst>
              <a:ext uri="{FF2B5EF4-FFF2-40B4-BE49-F238E27FC236}">
                <a16:creationId xmlns:a16="http://schemas.microsoft.com/office/drawing/2014/main" id="{57B8E57E-BD8A-4683-93B1-5C0F31F06180}"/>
              </a:ext>
            </a:extLst>
          </p:cNvPr>
          <p:cNvSpPr/>
          <p:nvPr userDrawn="1"/>
        </p:nvSpPr>
        <p:spPr>
          <a:xfrm>
            <a:off x="5069699" y="3816760"/>
            <a:ext cx="393829" cy="34934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dirty="0">
              <a:solidFill>
                <a:schemeClr val="accent1"/>
              </a:solidFill>
              <a:latin typeface="+mn-lt"/>
              <a:ea typeface="Arial Unicode MS" pitchFamily="34" charset="-128"/>
              <a:cs typeface="Arial" pitchFamily="34" charset="0"/>
            </a:endParaRPr>
          </a:p>
        </p:txBody>
      </p:sp>
      <p:sp>
        <p:nvSpPr>
          <p:cNvPr id="92" name="Rechteck 8">
            <a:extLst>
              <a:ext uri="{FF2B5EF4-FFF2-40B4-BE49-F238E27FC236}">
                <a16:creationId xmlns:a16="http://schemas.microsoft.com/office/drawing/2014/main" id="{E437007A-93A4-4E70-989F-537D19533198}"/>
              </a:ext>
            </a:extLst>
          </p:cNvPr>
          <p:cNvSpPr/>
          <p:nvPr userDrawn="1"/>
        </p:nvSpPr>
        <p:spPr>
          <a:xfrm>
            <a:off x="5616268" y="3816761"/>
            <a:ext cx="3200400" cy="34934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dirty="0">
              <a:solidFill>
                <a:schemeClr val="accent1"/>
              </a:solidFill>
              <a:latin typeface="+mn-lt"/>
              <a:cs typeface="Arial" pitchFamily="34" charset="0"/>
            </a:endParaRPr>
          </a:p>
        </p:txBody>
      </p:sp>
      <p:sp>
        <p:nvSpPr>
          <p:cNvPr id="93" name="Text Placeholder 4">
            <a:extLst>
              <a:ext uri="{FF2B5EF4-FFF2-40B4-BE49-F238E27FC236}">
                <a16:creationId xmlns:a16="http://schemas.microsoft.com/office/drawing/2014/main" id="{B3E6DD40-115F-4BB3-A40E-89E49476AF2B}"/>
              </a:ext>
            </a:extLst>
          </p:cNvPr>
          <p:cNvSpPr>
            <a:spLocks noGrp="1"/>
          </p:cNvSpPr>
          <p:nvPr>
            <p:ph type="body" sz="quarter" idx="28" hasCustomPrompt="1"/>
          </p:nvPr>
        </p:nvSpPr>
        <p:spPr>
          <a:xfrm>
            <a:off x="4995398" y="3889742"/>
            <a:ext cx="509596" cy="210641"/>
          </a:xfrm>
          <a:prstGeom prst="rect">
            <a:avLst/>
          </a:prstGeom>
        </p:spPr>
        <p:txBody>
          <a:bodyPr anchor="ctr"/>
          <a:lstStyle>
            <a:lvl1pPr algn="ctr">
              <a:buNone/>
              <a:defRPr sz="1300" b="1">
                <a:solidFill>
                  <a:schemeClr val="accent1"/>
                </a:solidFill>
              </a:defRPr>
            </a:lvl1pPr>
          </a:lstStyle>
          <a:p>
            <a:r>
              <a:rPr lang="en-US" dirty="0"/>
              <a:t>1</a:t>
            </a:r>
          </a:p>
        </p:txBody>
      </p:sp>
      <p:sp>
        <p:nvSpPr>
          <p:cNvPr id="94" name="Text Placeholder 4">
            <a:extLst>
              <a:ext uri="{FF2B5EF4-FFF2-40B4-BE49-F238E27FC236}">
                <a16:creationId xmlns:a16="http://schemas.microsoft.com/office/drawing/2014/main" id="{9446856D-5D79-4C72-93F0-6DAEDD264CCE}"/>
              </a:ext>
            </a:extLst>
          </p:cNvPr>
          <p:cNvSpPr>
            <a:spLocks noGrp="1"/>
          </p:cNvSpPr>
          <p:nvPr>
            <p:ph type="body" sz="quarter" idx="29" hasCustomPrompt="1"/>
          </p:nvPr>
        </p:nvSpPr>
        <p:spPr>
          <a:xfrm>
            <a:off x="5609152" y="3903390"/>
            <a:ext cx="3145878" cy="208365"/>
          </a:xfrm>
          <a:prstGeom prst="rect">
            <a:avLst/>
          </a:prstGeom>
        </p:spPr>
        <p:txBody>
          <a:bodyPr anchor="ctr"/>
          <a:lstStyle>
            <a:lvl1pPr>
              <a:buNone/>
              <a:defRPr sz="1300" b="1">
                <a:solidFill>
                  <a:schemeClr val="accent1"/>
                </a:solidFill>
              </a:defRPr>
            </a:lvl1pPr>
          </a:lstStyle>
          <a:p>
            <a:r>
              <a:rPr lang="en-US"/>
              <a:t>Edit text</a:t>
            </a:r>
          </a:p>
        </p:txBody>
      </p:sp>
    </p:spTree>
    <p:extLst>
      <p:ext uri="{BB962C8B-B14F-4D97-AF65-F5344CB8AC3E}">
        <p14:creationId xmlns:p14="http://schemas.microsoft.com/office/powerpoint/2010/main" val="245050514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a:t>Insert Your Content Here</a:t>
            </a:r>
          </a:p>
        </p:txBody>
      </p:sp>
      <p:sp>
        <p:nvSpPr>
          <p:cNvPr id="3" name="Content Placeholder 12"/>
          <p:cNvSpPr>
            <a:spLocks noGrp="1"/>
          </p:cNvSpPr>
          <p:nvPr>
            <p:ph sz="quarter" idx="11"/>
          </p:nvPr>
        </p:nvSpPr>
        <p:spPr>
          <a:xfrm>
            <a:off x="252413" y="982952"/>
            <a:ext cx="3749962" cy="3418927"/>
          </a:xfrm>
          <a:prstGeom prst="rect">
            <a:avLst/>
          </a:prstGeom>
          <a:noFill/>
        </p:spPr>
        <p:txBody>
          <a:bodyPr vert="horz" wrap="square" lIns="0" tIns="0" rIns="0" bIns="0">
            <a:noAutofit/>
          </a:bodyPr>
          <a:lstStyle>
            <a:lvl1pPr marL="236538" indent="-236538">
              <a:buClr>
                <a:schemeClr val="tx2"/>
              </a:buClr>
              <a:buFont typeface="Arial" panose="020B0604020202020204" pitchFamily="34" charset="0"/>
              <a:buNone/>
              <a:defRPr sz="1800">
                <a:solidFill>
                  <a:schemeClr val="accent1"/>
                </a:solidFill>
              </a:defRPr>
            </a:lvl1pPr>
            <a:lvl2pPr marL="457200" indent="-220663">
              <a:buClr>
                <a:schemeClr val="tx2"/>
              </a:buClr>
              <a:buFont typeface="Arial" panose="020B0604020202020204" pitchFamily="34" charset="0"/>
              <a:buChar char="•"/>
              <a:defRPr sz="1600">
                <a:solidFill>
                  <a:schemeClr val="accent1"/>
                </a:solidFill>
              </a:defRPr>
            </a:lvl2pPr>
            <a:lvl3pPr marL="630238" indent="-173038">
              <a:buClr>
                <a:schemeClr val="tx2"/>
              </a:buClr>
              <a:buFont typeface="Arial" panose="020B0604020202020204" pitchFamily="34" charset="0"/>
              <a:buChar char="•"/>
              <a:defRPr sz="14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10" name="Picture 9"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08174736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anchor="ctr" anchorCtr="0">
            <a:noAutofit/>
          </a:bodyPr>
          <a:lstStyle>
            <a:lvl1pPr algn="l">
              <a:defRPr sz="2400" baseline="0">
                <a:solidFill>
                  <a:schemeClr val="tx2"/>
                </a:solidFill>
              </a:defRPr>
            </a:lvl1pPr>
          </a:lstStyle>
          <a:p>
            <a:r>
              <a:rPr lang="en-US"/>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anchor="ctr" anchorCtr="0">
            <a:noAutofit/>
          </a:bodyPr>
          <a:lstStyle>
            <a:lvl1pPr marL="0" indent="0">
              <a:buNone/>
              <a:defRPr sz="1400" baseline="0">
                <a:solidFill>
                  <a:schemeClr val="accent1"/>
                </a:solidFill>
              </a:defRPr>
            </a:lvl1pPr>
          </a:lstStyle>
          <a:p>
            <a:pPr lvl="0"/>
            <a:r>
              <a:rPr lang="en-US"/>
              <a:t>Click To Edit Optional Subtitle</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7854458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4" name="Title 1"/>
          <p:cNvSpPr>
            <a:spLocks noGrp="1"/>
          </p:cNvSpPr>
          <p:nvPr>
            <p:ph type="ctrTitle" hasCustomPrompt="1"/>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bg1"/>
                </a:solidFill>
              </a:defRPr>
            </a:lvl1pPr>
          </a:lstStyle>
          <a:p>
            <a:r>
              <a:rPr lang="en-US"/>
              <a:t>CLICK TO EDIT QUOTE OR CALLOUT</a:t>
            </a:r>
          </a:p>
        </p:txBody>
      </p:sp>
      <p:sp>
        <p:nvSpPr>
          <p:cNvPr id="5" name="Subtitle 2"/>
          <p:cNvSpPr>
            <a:spLocks noGrp="1"/>
          </p:cNvSpPr>
          <p:nvPr>
            <p:ph type="subTitle" idx="1" hasCustomPrompt="1"/>
          </p:nvPr>
        </p:nvSpPr>
        <p:spPr>
          <a:xfrm>
            <a:off x="252414" y="2955454"/>
            <a:ext cx="8577820" cy="307777"/>
          </a:xfrm>
          <a:prstGeom prst="rect">
            <a:avLst/>
          </a:prstGeom>
        </p:spPr>
        <p:txBody>
          <a:bodyPr lIns="0" tIns="0" rIns="0" bIns="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pic>
        <p:nvPicPr>
          <p:cNvPr id="9" name="Picture 8"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5216421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a:t>CLICK TO EDIT QUOTE OR CALLOUT</a:t>
            </a:r>
          </a:p>
        </p:txBody>
      </p:sp>
    </p:spTree>
    <p:extLst>
      <p:ext uri="{BB962C8B-B14F-4D97-AF65-F5344CB8AC3E}">
        <p14:creationId xmlns:p14="http://schemas.microsoft.com/office/powerpoint/2010/main" val="133857700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rgbClr val="00B0F0"/>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329665485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wrap="square" lIns="0" tIns="0" rIns="0" bIns="0" anchor="t">
            <a:noAutofit/>
          </a:bodyPr>
          <a:lstStyle>
            <a:lvl1pPr marL="0" indent="0" algn="ctr">
              <a:buFont typeface="Arial"/>
              <a:buNone/>
              <a:defRPr sz="4000">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wrap="square"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5623660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a:t>CLICK TO EDIT QUOTE OR CALLOUT</a:t>
            </a:r>
          </a:p>
        </p:txBody>
      </p:sp>
      <p:sp>
        <p:nvSpPr>
          <p:cNvPr id="10"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11" name="Picture 10" descr="schneider_LIO_White_RGB.png"/>
          <p:cNvPicPr>
            <a:picLocks noChangeAspect="1"/>
          </p:cNvPicPr>
          <p:nvPr userDrawn="1"/>
        </p:nvPicPr>
        <p:blipFill>
          <a:blip r:embed="rId2" cstate="print"/>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87927847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7" name="Picture 6" descr="schneider_LIO_White_RGB.png"/>
          <p:cNvPicPr>
            <a:picLocks noChangeAspect="1"/>
          </p:cNvPicPr>
          <p:nvPr userDrawn="1"/>
        </p:nvPicPr>
        <p:blipFill>
          <a:blip r:embed="rId2" cstate="print"/>
          <a:stretch>
            <a:fillRect/>
          </a:stretch>
        </p:blipFill>
        <p:spPr>
          <a:xfrm>
            <a:off x="7105948" y="4510059"/>
            <a:ext cx="1907005" cy="525789"/>
          </a:xfrm>
          <a:prstGeom prst="rect">
            <a:avLst/>
          </a:prstGeom>
        </p:spPr>
      </p:pic>
      <p:sp>
        <p:nvSpPr>
          <p:cNvPr id="12"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966" tIns="0" rIns="0" bIns="0" anchor="ctr" anchorCtr="0"/>
          <a:lstStyle>
            <a:lvl1pPr algn="l">
              <a:defRPr sz="2400" baseline="0">
                <a:solidFill>
                  <a:srgbClr val="FFFFFF"/>
                </a:solidFill>
              </a:defRPr>
            </a:lvl1pPr>
          </a:lstStyle>
          <a:p>
            <a:r>
              <a:rPr lang="en-US"/>
              <a:t>Click To Edit Section Title</a:t>
            </a:r>
          </a:p>
        </p:txBody>
      </p:sp>
      <p:sp>
        <p:nvSpPr>
          <p:cNvPr id="13" name="Text Placeholder 9"/>
          <p:cNvSpPr>
            <a:spLocks noGrp="1"/>
          </p:cNvSpPr>
          <p:nvPr>
            <p:ph type="body" sz="quarter" idx="11" hasCustomPrompt="1"/>
          </p:nvPr>
        </p:nvSpPr>
        <p:spPr>
          <a:xfrm>
            <a:off x="0" y="2900387"/>
            <a:ext cx="9144000" cy="373063"/>
          </a:xfrm>
          <a:prstGeom prst="rect">
            <a:avLst/>
          </a:prstGeom>
          <a:solidFill>
            <a:schemeClr val="tx2"/>
          </a:solidFill>
        </p:spPr>
        <p:txBody>
          <a:bodyPr lIns="251966" tIns="0" rIns="0" bIns="0" anchor="ctr" anchorCtr="0"/>
          <a:lstStyle>
            <a:lvl1pPr marL="0" indent="0">
              <a:buNone/>
              <a:defRPr sz="1200" baseline="0">
                <a:solidFill>
                  <a:schemeClr val="bg1"/>
                </a:solidFill>
              </a:defRPr>
            </a:lvl1pPr>
          </a:lstStyle>
          <a:p>
            <a:pPr lvl="0"/>
            <a:r>
              <a:rPr lang="en-US"/>
              <a:t>Click To Edit Optional Subtitle</a:t>
            </a:r>
          </a:p>
        </p:txBody>
      </p:sp>
      <p:sp>
        <p:nvSpPr>
          <p:cNvPr id="10"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374757628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24" y="1958662"/>
            <a:ext cx="3559382" cy="981372"/>
          </a:xfrm>
          <a:prstGeom prst="rect">
            <a:avLst/>
          </a:prstGeom>
        </p:spPr>
      </p:pic>
    </p:spTree>
    <p:extLst>
      <p:ext uri="{BB962C8B-B14F-4D97-AF65-F5344CB8AC3E}">
        <p14:creationId xmlns:p14="http://schemas.microsoft.com/office/powerpoint/2010/main" val="149841256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6_Standard Layout">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12332" name="think-cell Slide" r:id="rId5" imgW="360" imgH="360" progId="TCLayout.ActiveDocument.1">
                  <p:embed/>
                </p:oleObj>
              </mc:Choice>
              <mc:Fallback>
                <p:oleObj name="think-cell Slide" r:id="rId5" imgW="360" imgH="360" progId="TCLayout.ActiveDocument.1">
                  <p:embed/>
                  <p:pic>
                    <p:nvPicPr>
                      <p:cNvPr id="2" name="Objet 1" hidden="1"/>
                      <p:cNvPicPr/>
                      <p:nvPr/>
                    </p:nvPicPr>
                    <p:blipFill>
                      <a:blip r:embed="rId6"/>
                      <a:stretch>
                        <a:fillRect/>
                      </a:stretch>
                    </p:blipFill>
                    <p:spPr>
                      <a:xfrm>
                        <a:off x="1592" y="1589"/>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A6BAAE1-BE16-4913-97AE-78C99E907225}"/>
              </a:ext>
            </a:extLst>
          </p:cNvPr>
          <p:cNvSpPr/>
          <p:nvPr userDrawn="1">
            <p:custDataLst>
              <p:tags r:id="rId3"/>
            </p:custDataLst>
          </p:nvPr>
        </p:nvSpPr>
        <p:spPr>
          <a:xfrm>
            <a:off x="0" y="0"/>
            <a:ext cx="119062"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Arial" panose="020B0604020202020204" pitchFamily="34" charset="0"/>
              <a:ea typeface="+mj-ea"/>
              <a:cs typeface="+mj-cs"/>
              <a:sym typeface="Arial" panose="020B0604020202020204" pitchFamily="34" charset="0"/>
            </a:endParaRPr>
          </a:p>
        </p:txBody>
      </p:sp>
      <p:pic>
        <p:nvPicPr>
          <p:cNvPr id="48" name="Picture 47">
            <a:extLst>
              <a:ext uri="{FF2B5EF4-FFF2-40B4-BE49-F238E27FC236}">
                <a16:creationId xmlns:a16="http://schemas.microsoft.com/office/drawing/2014/main" id="{50B9BE38-B23E-4651-AAA0-DEFCC83B237E}"/>
              </a:ext>
            </a:extLst>
          </p:cNvPr>
          <p:cNvPicPr>
            <a:picLocks noChangeAspect="1"/>
          </p:cNvPicPr>
          <p:nvPr userDrawn="1"/>
        </p:nvPicPr>
        <p:blipFill rotWithShape="1">
          <a:blip r:embed="rId7" cstate="email">
            <a:extLst>
              <a:ext uri="{28A0092B-C50C-407E-A947-70E740481C1C}">
                <a14:useLocalDpi xmlns:a14="http://schemas.microsoft.com/office/drawing/2010/main" val="0"/>
              </a:ext>
            </a:extLst>
          </a:blip>
          <a:srcRect r="-1125" b="9838"/>
          <a:stretch/>
        </p:blipFill>
        <p:spPr>
          <a:xfrm>
            <a:off x="-1863" y="-1"/>
            <a:ext cx="9241676" cy="5149859"/>
          </a:xfrm>
          <a:prstGeom prst="rect">
            <a:avLst/>
          </a:prstGeom>
        </p:spPr>
      </p:pic>
      <p:sp>
        <p:nvSpPr>
          <p:cNvPr id="49" name="object 3">
            <a:extLst>
              <a:ext uri="{FF2B5EF4-FFF2-40B4-BE49-F238E27FC236}">
                <a16:creationId xmlns:a16="http://schemas.microsoft.com/office/drawing/2014/main" id="{25CD1890-32F1-428E-A164-BCA7D7379946}"/>
              </a:ext>
            </a:extLst>
          </p:cNvPr>
          <p:cNvSpPr/>
          <p:nvPr userDrawn="1"/>
        </p:nvSpPr>
        <p:spPr>
          <a:xfrm>
            <a:off x="-7175" y="0"/>
            <a:ext cx="9151175" cy="5149859"/>
          </a:xfrm>
          <a:custGeom>
            <a:avLst/>
            <a:gdLst/>
            <a:ahLst/>
            <a:cxnLst/>
            <a:rect l="l" t="t" r="r" b="b"/>
            <a:pathLst>
              <a:path w="9144000" h="5143500">
                <a:moveTo>
                  <a:pt x="0" y="5143500"/>
                </a:moveTo>
                <a:lnTo>
                  <a:pt x="9144000" y="5143500"/>
                </a:lnTo>
                <a:lnTo>
                  <a:pt x="9144000" y="0"/>
                </a:lnTo>
                <a:lnTo>
                  <a:pt x="0" y="0"/>
                </a:lnTo>
                <a:lnTo>
                  <a:pt x="0" y="5143500"/>
                </a:lnTo>
                <a:close/>
              </a:path>
            </a:pathLst>
          </a:custGeom>
          <a:solidFill>
            <a:srgbClr val="000000">
              <a:alpha val="69804"/>
            </a:srgbClr>
          </a:solidFill>
        </p:spPr>
        <p:txBody>
          <a:bodyPr wrap="square" lIns="0" tIns="0" rIns="0" bIns="0" rtlCol="0"/>
          <a:lstStyle/>
          <a:p>
            <a:endParaRPr sz="1350" dirty="0"/>
          </a:p>
        </p:txBody>
      </p:sp>
      <p:pic>
        <p:nvPicPr>
          <p:cNvPr id="50" name="Picture 49">
            <a:extLst>
              <a:ext uri="{FF2B5EF4-FFF2-40B4-BE49-F238E27FC236}">
                <a16:creationId xmlns:a16="http://schemas.microsoft.com/office/drawing/2014/main" id="{A2DE2203-73EE-4121-8B25-4C4BF5807EB1}"/>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664734" y="4702323"/>
            <a:ext cx="1031462" cy="214227"/>
          </a:xfrm>
          <a:prstGeom prst="rect">
            <a:avLst/>
          </a:prstGeom>
        </p:spPr>
      </p:pic>
      <p:sp>
        <p:nvSpPr>
          <p:cNvPr id="51" name="Slide Number Placeholder 2">
            <a:extLst>
              <a:ext uri="{FF2B5EF4-FFF2-40B4-BE49-F238E27FC236}">
                <a16:creationId xmlns:a16="http://schemas.microsoft.com/office/drawing/2014/main" id="{1FD03043-0AE4-454E-9F61-5D151A072A89}"/>
              </a:ext>
            </a:extLst>
          </p:cNvPr>
          <p:cNvSpPr txBox="1">
            <a:spLocks/>
          </p:cNvSpPr>
          <p:nvPr userDrawn="1"/>
        </p:nvSpPr>
        <p:spPr>
          <a:xfrm>
            <a:off x="1739940" y="4859006"/>
            <a:ext cx="525553" cy="923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70"/>
            <a:r>
              <a:rPr lang="en-US" sz="600" dirty="0">
                <a:solidFill>
                  <a:srgbClr val="3DCD58"/>
                </a:solidFill>
                <a:latin typeface="Arial" panose="020B0604020202020204" pitchFamily="34" charset="0"/>
                <a:cs typeface="Arial" panose="020B0604020202020204" pitchFamily="34" charset="0"/>
              </a:rPr>
              <a:t>Page </a:t>
            </a:r>
            <a:fld id="{5A9C12DC-491F-9444-86A2-13AC5C62A2FC}" type="slidenum">
              <a:rPr lang="en-US" sz="600">
                <a:solidFill>
                  <a:srgbClr val="3DCD58"/>
                </a:solidFill>
                <a:latin typeface="Arial" panose="020B0604020202020204" pitchFamily="34" charset="0"/>
                <a:cs typeface="Arial" panose="020B0604020202020204" pitchFamily="34" charset="0"/>
              </a:rPr>
              <a:pPr algn="ctr" defTabSz="457070"/>
              <a:t>‹#›</a:t>
            </a:fld>
            <a:endParaRPr lang="en-US" sz="600" dirty="0">
              <a:solidFill>
                <a:srgbClr val="3DCD58"/>
              </a:solidFill>
              <a:latin typeface="Arial" panose="020B0604020202020204" pitchFamily="34" charset="0"/>
              <a:cs typeface="Arial" panose="020B0604020202020204" pitchFamily="34" charset="0"/>
            </a:endParaRPr>
          </a:p>
        </p:txBody>
      </p:sp>
      <p:sp>
        <p:nvSpPr>
          <p:cNvPr id="52" name="Footer Placeholder 3">
            <a:extLst>
              <a:ext uri="{FF2B5EF4-FFF2-40B4-BE49-F238E27FC236}">
                <a16:creationId xmlns:a16="http://schemas.microsoft.com/office/drawing/2014/main" id="{6ED994D1-F1CF-41A3-8A29-EB927E1E1E2C}"/>
              </a:ext>
            </a:extLst>
          </p:cNvPr>
          <p:cNvSpPr txBox="1">
            <a:spLocks/>
          </p:cNvSpPr>
          <p:nvPr userDrawn="1"/>
        </p:nvSpPr>
        <p:spPr>
          <a:xfrm>
            <a:off x="253539" y="4857156"/>
            <a:ext cx="3384470" cy="941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70"/>
            <a:r>
              <a:rPr lang="en-US" sz="600" dirty="0">
                <a:solidFill>
                  <a:srgbClr val="626469"/>
                </a:solidFill>
                <a:latin typeface="Arial" panose="020B0604020202020204" pitchFamily="34" charset="0"/>
                <a:cs typeface="Arial" panose="020B0604020202020204" pitchFamily="34" charset="0"/>
              </a:rPr>
              <a:t>Confidential Property of Schneider Electric | </a:t>
            </a:r>
          </a:p>
        </p:txBody>
      </p:sp>
      <p:sp>
        <p:nvSpPr>
          <p:cNvPr id="89" name="Holder 2">
            <a:extLst>
              <a:ext uri="{FF2B5EF4-FFF2-40B4-BE49-F238E27FC236}">
                <a16:creationId xmlns:a16="http://schemas.microsoft.com/office/drawing/2014/main" id="{578F1C43-C033-4920-826E-488BDE382160}"/>
              </a:ext>
            </a:extLst>
          </p:cNvPr>
          <p:cNvSpPr>
            <a:spLocks noGrp="1"/>
          </p:cNvSpPr>
          <p:nvPr>
            <p:ph type="title"/>
          </p:nvPr>
        </p:nvSpPr>
        <p:spPr>
          <a:xfrm>
            <a:off x="304893" y="352005"/>
            <a:ext cx="8049957" cy="357791"/>
          </a:xfrm>
          <a:prstGeom prst="rect">
            <a:avLst/>
          </a:prstGeom>
        </p:spPr>
        <p:txBody>
          <a:bodyPr lIns="0" tIns="0" rIns="0" bIns="0"/>
          <a:lstStyle>
            <a:lvl1pPr algn="l">
              <a:defRPr sz="2300" b="1" i="0">
                <a:solidFill>
                  <a:srgbClr val="3CC957"/>
                </a:solidFill>
                <a:latin typeface="Arial"/>
                <a:cs typeface="Arial"/>
              </a:defRPr>
            </a:lvl1pPr>
          </a:lstStyle>
          <a:p>
            <a:endParaRPr/>
          </a:p>
        </p:txBody>
      </p:sp>
      <p:sp>
        <p:nvSpPr>
          <p:cNvPr id="91" name="Text Placeholder 90">
            <a:extLst>
              <a:ext uri="{FF2B5EF4-FFF2-40B4-BE49-F238E27FC236}">
                <a16:creationId xmlns:a16="http://schemas.microsoft.com/office/drawing/2014/main" id="{EC6A9235-43C6-4B7B-8E6D-F47A6C725A10}"/>
              </a:ext>
            </a:extLst>
          </p:cNvPr>
          <p:cNvSpPr>
            <a:spLocks noGrp="1"/>
          </p:cNvSpPr>
          <p:nvPr>
            <p:ph type="body" sz="quarter" idx="10"/>
          </p:nvPr>
        </p:nvSpPr>
        <p:spPr>
          <a:xfrm>
            <a:off x="304892" y="1390650"/>
            <a:ext cx="8049957" cy="2165350"/>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Tree>
    <p:extLst>
      <p:ext uri="{BB962C8B-B14F-4D97-AF65-F5344CB8AC3E}">
        <p14:creationId xmlns:p14="http://schemas.microsoft.com/office/powerpoint/2010/main" val="160949131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7_Standard Layout">
    <p:spTree>
      <p:nvGrpSpPr>
        <p:cNvPr id="1" name=""/>
        <p:cNvGrpSpPr/>
        <p:nvPr/>
      </p:nvGrpSpPr>
      <p:grpSpPr>
        <a:xfrm>
          <a:off x="0" y="0"/>
          <a:ext cx="0" cy="0"/>
          <a:chOff x="0" y="0"/>
          <a:chExt cx="0" cy="0"/>
        </a:xfrm>
      </p:grpSpPr>
      <p:pic>
        <p:nvPicPr>
          <p:cNvPr id="11" name="Picture Placeholder 35">
            <a:extLst>
              <a:ext uri="{FF2B5EF4-FFF2-40B4-BE49-F238E27FC236}">
                <a16:creationId xmlns:a16="http://schemas.microsoft.com/office/drawing/2014/main" id="{F8157526-379A-483C-8AC4-4D511509C8ED}"/>
              </a:ext>
            </a:extLst>
          </p:cNvPr>
          <p:cNvPicPr>
            <a:picLocks noChangeAspect="1"/>
          </p:cNvPicPr>
          <p:nvPr userDrawn="1"/>
        </p:nvPicPr>
        <p:blipFill rotWithShape="1">
          <a:blip r:embed="rId5" cstate="email">
            <a:extLst>
              <a:ext uri="{28A0092B-C50C-407E-A947-70E740481C1C}">
                <a14:useLocalDpi xmlns:a14="http://schemas.microsoft.com/office/drawing/2010/main" val="0"/>
              </a:ext>
            </a:extLst>
          </a:blip>
          <a:srcRect t="20038" r="16687" b="9763"/>
          <a:stretch/>
        </p:blipFill>
        <p:spPr>
          <a:xfrm flipH="1">
            <a:off x="-1" y="-1"/>
            <a:ext cx="9168453" cy="5149859"/>
          </a:xfrm>
          <a:prstGeom prst="rect">
            <a:avLst/>
          </a:prstGeom>
          <a:solidFill>
            <a:schemeClr val="tx2">
              <a:alpha val="80000"/>
            </a:schemeClr>
          </a:solidFill>
          <a:ln>
            <a:noFill/>
          </a:ln>
        </p:spPr>
      </p:pic>
      <p:graphicFrame>
        <p:nvGraphicFramePr>
          <p:cNvPr id="2" name="Objet 1" hidden="1"/>
          <p:cNvGraphicFramePr>
            <a:graphicFrameLocks noChangeAspect="1"/>
          </p:cNvGraphicFramePr>
          <p:nvPr userDrawn="1">
            <p:custDataLst>
              <p:tags r:id="rId2"/>
            </p:custData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13356" name="think-cell Slide" r:id="rId6" imgW="360" imgH="360" progId="TCLayout.ActiveDocument.1">
                  <p:embed/>
                </p:oleObj>
              </mc:Choice>
              <mc:Fallback>
                <p:oleObj name="think-cell Slide" r:id="rId6" imgW="360" imgH="360" progId="TCLayout.ActiveDocument.1">
                  <p:embed/>
                  <p:pic>
                    <p:nvPicPr>
                      <p:cNvPr id="2" name="Objet 1" hidden="1"/>
                      <p:cNvPicPr/>
                      <p:nvPr/>
                    </p:nvPicPr>
                    <p:blipFill>
                      <a:blip r:embed="rId7"/>
                      <a:stretch>
                        <a:fillRect/>
                      </a:stretch>
                    </p:blipFill>
                    <p:spPr>
                      <a:xfrm>
                        <a:off x="1592" y="1589"/>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A6BAAE1-BE16-4913-97AE-78C99E907225}"/>
              </a:ext>
            </a:extLst>
          </p:cNvPr>
          <p:cNvSpPr/>
          <p:nvPr userDrawn="1">
            <p:custDataLst>
              <p:tags r:id="rId3"/>
            </p:custDataLst>
          </p:nvPr>
        </p:nvSpPr>
        <p:spPr>
          <a:xfrm>
            <a:off x="0" y="0"/>
            <a:ext cx="119062"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Arial" panose="020B0604020202020204" pitchFamily="34" charset="0"/>
              <a:ea typeface="+mj-ea"/>
              <a:cs typeface="+mj-cs"/>
              <a:sym typeface="Arial" panose="020B0604020202020204" pitchFamily="34" charset="0"/>
            </a:endParaRPr>
          </a:p>
        </p:txBody>
      </p:sp>
      <p:sp>
        <p:nvSpPr>
          <p:cNvPr id="49" name="object 3">
            <a:extLst>
              <a:ext uri="{FF2B5EF4-FFF2-40B4-BE49-F238E27FC236}">
                <a16:creationId xmlns:a16="http://schemas.microsoft.com/office/drawing/2014/main" id="{25CD1890-32F1-428E-A164-BCA7D7379946}"/>
              </a:ext>
            </a:extLst>
          </p:cNvPr>
          <p:cNvSpPr/>
          <p:nvPr userDrawn="1"/>
        </p:nvSpPr>
        <p:spPr>
          <a:xfrm>
            <a:off x="0" y="0"/>
            <a:ext cx="9168452" cy="5149859"/>
          </a:xfrm>
          <a:custGeom>
            <a:avLst/>
            <a:gdLst/>
            <a:ahLst/>
            <a:cxnLst/>
            <a:rect l="l" t="t" r="r" b="b"/>
            <a:pathLst>
              <a:path w="9144000" h="5143500">
                <a:moveTo>
                  <a:pt x="0" y="5143500"/>
                </a:moveTo>
                <a:lnTo>
                  <a:pt x="9144000" y="5143500"/>
                </a:lnTo>
                <a:lnTo>
                  <a:pt x="9144000" y="0"/>
                </a:lnTo>
                <a:lnTo>
                  <a:pt x="0" y="0"/>
                </a:lnTo>
                <a:lnTo>
                  <a:pt x="0" y="5143500"/>
                </a:lnTo>
                <a:close/>
              </a:path>
            </a:pathLst>
          </a:custGeom>
          <a:solidFill>
            <a:srgbClr val="000000">
              <a:alpha val="69804"/>
            </a:srgbClr>
          </a:solidFill>
        </p:spPr>
        <p:txBody>
          <a:bodyPr wrap="square" lIns="0" tIns="0" rIns="0" bIns="0" rtlCol="0"/>
          <a:lstStyle/>
          <a:p>
            <a:endParaRPr sz="1350" dirty="0"/>
          </a:p>
        </p:txBody>
      </p:sp>
      <p:pic>
        <p:nvPicPr>
          <p:cNvPr id="50" name="Picture 49">
            <a:extLst>
              <a:ext uri="{FF2B5EF4-FFF2-40B4-BE49-F238E27FC236}">
                <a16:creationId xmlns:a16="http://schemas.microsoft.com/office/drawing/2014/main" id="{A2DE2203-73EE-4121-8B25-4C4BF5807EB1}"/>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664734" y="4702323"/>
            <a:ext cx="1031462" cy="214227"/>
          </a:xfrm>
          <a:prstGeom prst="rect">
            <a:avLst/>
          </a:prstGeom>
        </p:spPr>
      </p:pic>
      <p:sp>
        <p:nvSpPr>
          <p:cNvPr id="51" name="Slide Number Placeholder 2">
            <a:extLst>
              <a:ext uri="{FF2B5EF4-FFF2-40B4-BE49-F238E27FC236}">
                <a16:creationId xmlns:a16="http://schemas.microsoft.com/office/drawing/2014/main" id="{1FD03043-0AE4-454E-9F61-5D151A072A89}"/>
              </a:ext>
            </a:extLst>
          </p:cNvPr>
          <p:cNvSpPr txBox="1">
            <a:spLocks/>
          </p:cNvSpPr>
          <p:nvPr userDrawn="1"/>
        </p:nvSpPr>
        <p:spPr>
          <a:xfrm>
            <a:off x="1739940" y="4859006"/>
            <a:ext cx="525553" cy="923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70"/>
            <a:r>
              <a:rPr lang="en-US" sz="600" dirty="0">
                <a:solidFill>
                  <a:srgbClr val="3DCD58"/>
                </a:solidFill>
                <a:latin typeface="Arial" panose="020B0604020202020204" pitchFamily="34" charset="0"/>
                <a:cs typeface="Arial" panose="020B0604020202020204" pitchFamily="34" charset="0"/>
              </a:rPr>
              <a:t>Page </a:t>
            </a:r>
            <a:fld id="{5A9C12DC-491F-9444-86A2-13AC5C62A2FC}" type="slidenum">
              <a:rPr lang="en-US" sz="600">
                <a:solidFill>
                  <a:srgbClr val="3DCD58"/>
                </a:solidFill>
                <a:latin typeface="Arial" panose="020B0604020202020204" pitchFamily="34" charset="0"/>
                <a:cs typeface="Arial" panose="020B0604020202020204" pitchFamily="34" charset="0"/>
              </a:rPr>
              <a:pPr algn="ctr" defTabSz="457070"/>
              <a:t>‹#›</a:t>
            </a:fld>
            <a:endParaRPr lang="en-US" sz="600" dirty="0">
              <a:solidFill>
                <a:srgbClr val="3DCD58"/>
              </a:solidFill>
              <a:latin typeface="Arial" panose="020B0604020202020204" pitchFamily="34" charset="0"/>
              <a:cs typeface="Arial" panose="020B0604020202020204" pitchFamily="34" charset="0"/>
            </a:endParaRPr>
          </a:p>
        </p:txBody>
      </p:sp>
      <p:sp>
        <p:nvSpPr>
          <p:cNvPr id="52" name="Footer Placeholder 3">
            <a:extLst>
              <a:ext uri="{FF2B5EF4-FFF2-40B4-BE49-F238E27FC236}">
                <a16:creationId xmlns:a16="http://schemas.microsoft.com/office/drawing/2014/main" id="{6ED994D1-F1CF-41A3-8A29-EB927E1E1E2C}"/>
              </a:ext>
            </a:extLst>
          </p:cNvPr>
          <p:cNvSpPr txBox="1">
            <a:spLocks/>
          </p:cNvSpPr>
          <p:nvPr userDrawn="1"/>
        </p:nvSpPr>
        <p:spPr>
          <a:xfrm>
            <a:off x="253539" y="4857156"/>
            <a:ext cx="3384470" cy="941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70"/>
            <a:r>
              <a:rPr lang="en-US" sz="600" dirty="0">
                <a:solidFill>
                  <a:srgbClr val="626469"/>
                </a:solidFill>
                <a:latin typeface="Arial" panose="020B0604020202020204" pitchFamily="34" charset="0"/>
                <a:cs typeface="Arial" panose="020B0604020202020204" pitchFamily="34" charset="0"/>
              </a:rPr>
              <a:t>Confidential Property of Schneider Electric | </a:t>
            </a:r>
          </a:p>
        </p:txBody>
      </p:sp>
      <p:sp>
        <p:nvSpPr>
          <p:cNvPr id="89" name="Holder 2">
            <a:extLst>
              <a:ext uri="{FF2B5EF4-FFF2-40B4-BE49-F238E27FC236}">
                <a16:creationId xmlns:a16="http://schemas.microsoft.com/office/drawing/2014/main" id="{578F1C43-C033-4920-826E-488BDE382160}"/>
              </a:ext>
            </a:extLst>
          </p:cNvPr>
          <p:cNvSpPr>
            <a:spLocks noGrp="1"/>
          </p:cNvSpPr>
          <p:nvPr>
            <p:ph type="title"/>
          </p:nvPr>
        </p:nvSpPr>
        <p:spPr>
          <a:xfrm>
            <a:off x="304893" y="352005"/>
            <a:ext cx="8049957" cy="357791"/>
          </a:xfrm>
          <a:prstGeom prst="rect">
            <a:avLst/>
          </a:prstGeom>
        </p:spPr>
        <p:txBody>
          <a:bodyPr lIns="0" tIns="0" rIns="0" bIns="0"/>
          <a:lstStyle>
            <a:lvl1pPr algn="l">
              <a:defRPr sz="2300" b="1" i="0">
                <a:solidFill>
                  <a:srgbClr val="3CC957"/>
                </a:solidFill>
                <a:latin typeface="Arial"/>
                <a:cs typeface="Arial"/>
              </a:defRPr>
            </a:lvl1pPr>
          </a:lstStyle>
          <a:p>
            <a:endParaRPr/>
          </a:p>
        </p:txBody>
      </p:sp>
      <p:sp>
        <p:nvSpPr>
          <p:cNvPr id="91" name="Text Placeholder 90">
            <a:extLst>
              <a:ext uri="{FF2B5EF4-FFF2-40B4-BE49-F238E27FC236}">
                <a16:creationId xmlns:a16="http://schemas.microsoft.com/office/drawing/2014/main" id="{EC6A9235-43C6-4B7B-8E6D-F47A6C725A10}"/>
              </a:ext>
            </a:extLst>
          </p:cNvPr>
          <p:cNvSpPr>
            <a:spLocks noGrp="1"/>
          </p:cNvSpPr>
          <p:nvPr>
            <p:ph type="body" sz="quarter" idx="10"/>
          </p:nvPr>
        </p:nvSpPr>
        <p:spPr>
          <a:xfrm>
            <a:off x="304892" y="1390650"/>
            <a:ext cx="8049957" cy="2165350"/>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Tree>
    <p:extLst>
      <p:ext uri="{BB962C8B-B14F-4D97-AF65-F5344CB8AC3E}">
        <p14:creationId xmlns:p14="http://schemas.microsoft.com/office/powerpoint/2010/main" val="73055617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8_Standard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589049D-1938-407C-974C-EEAFBE9EF083}"/>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0" y="0"/>
            <a:ext cx="9168452" cy="5157254"/>
          </a:xfrm>
          <a:prstGeom prst="rect">
            <a:avLst/>
          </a:prstGeom>
        </p:spPr>
      </p:pic>
      <p:graphicFrame>
        <p:nvGraphicFramePr>
          <p:cNvPr id="2" name="Objet 1" hidden="1"/>
          <p:cNvGraphicFramePr>
            <a:graphicFrameLocks noChangeAspect="1"/>
          </p:cNvGraphicFramePr>
          <p:nvPr userDrawn="1">
            <p:custDataLst>
              <p:tags r:id="rId2"/>
            </p:custData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14380" name="think-cell Slide" r:id="rId6" imgW="360" imgH="360" progId="TCLayout.ActiveDocument.1">
                  <p:embed/>
                </p:oleObj>
              </mc:Choice>
              <mc:Fallback>
                <p:oleObj name="think-cell Slide" r:id="rId6" imgW="360" imgH="360" progId="TCLayout.ActiveDocument.1">
                  <p:embed/>
                  <p:pic>
                    <p:nvPicPr>
                      <p:cNvPr id="2" name="Objet 1" hidden="1"/>
                      <p:cNvPicPr/>
                      <p:nvPr/>
                    </p:nvPicPr>
                    <p:blipFill>
                      <a:blip r:embed="rId7"/>
                      <a:stretch>
                        <a:fillRect/>
                      </a:stretch>
                    </p:blipFill>
                    <p:spPr>
                      <a:xfrm>
                        <a:off x="1592" y="1589"/>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A6BAAE1-BE16-4913-97AE-78C99E907225}"/>
              </a:ext>
            </a:extLst>
          </p:cNvPr>
          <p:cNvSpPr/>
          <p:nvPr userDrawn="1">
            <p:custDataLst>
              <p:tags r:id="rId3"/>
            </p:custDataLst>
          </p:nvPr>
        </p:nvSpPr>
        <p:spPr>
          <a:xfrm>
            <a:off x="0" y="0"/>
            <a:ext cx="119062"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Arial" panose="020B0604020202020204" pitchFamily="34" charset="0"/>
              <a:ea typeface="+mj-ea"/>
              <a:cs typeface="+mj-cs"/>
              <a:sym typeface="Arial" panose="020B0604020202020204" pitchFamily="34" charset="0"/>
            </a:endParaRPr>
          </a:p>
        </p:txBody>
      </p:sp>
      <p:sp>
        <p:nvSpPr>
          <p:cNvPr id="49" name="object 3">
            <a:extLst>
              <a:ext uri="{FF2B5EF4-FFF2-40B4-BE49-F238E27FC236}">
                <a16:creationId xmlns:a16="http://schemas.microsoft.com/office/drawing/2014/main" id="{25CD1890-32F1-428E-A164-BCA7D7379946}"/>
              </a:ext>
            </a:extLst>
          </p:cNvPr>
          <p:cNvSpPr/>
          <p:nvPr userDrawn="1"/>
        </p:nvSpPr>
        <p:spPr>
          <a:xfrm>
            <a:off x="-12226" y="7395"/>
            <a:ext cx="9168452" cy="5149859"/>
          </a:xfrm>
          <a:custGeom>
            <a:avLst/>
            <a:gdLst/>
            <a:ahLst/>
            <a:cxnLst/>
            <a:rect l="l" t="t" r="r" b="b"/>
            <a:pathLst>
              <a:path w="9144000" h="5143500">
                <a:moveTo>
                  <a:pt x="0" y="5143500"/>
                </a:moveTo>
                <a:lnTo>
                  <a:pt x="9144000" y="5143500"/>
                </a:lnTo>
                <a:lnTo>
                  <a:pt x="9144000" y="0"/>
                </a:lnTo>
                <a:lnTo>
                  <a:pt x="0" y="0"/>
                </a:lnTo>
                <a:lnTo>
                  <a:pt x="0" y="5143500"/>
                </a:lnTo>
                <a:close/>
              </a:path>
            </a:pathLst>
          </a:custGeom>
          <a:solidFill>
            <a:srgbClr val="000000">
              <a:alpha val="69804"/>
            </a:srgbClr>
          </a:solidFill>
        </p:spPr>
        <p:txBody>
          <a:bodyPr wrap="square" lIns="0" tIns="0" rIns="0" bIns="0" rtlCol="0"/>
          <a:lstStyle/>
          <a:p>
            <a:endParaRPr sz="1350" dirty="0"/>
          </a:p>
        </p:txBody>
      </p:sp>
      <p:pic>
        <p:nvPicPr>
          <p:cNvPr id="50" name="Picture 49">
            <a:extLst>
              <a:ext uri="{FF2B5EF4-FFF2-40B4-BE49-F238E27FC236}">
                <a16:creationId xmlns:a16="http://schemas.microsoft.com/office/drawing/2014/main" id="{A2DE2203-73EE-4121-8B25-4C4BF5807EB1}"/>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664734" y="4702323"/>
            <a:ext cx="1031462" cy="214227"/>
          </a:xfrm>
          <a:prstGeom prst="rect">
            <a:avLst/>
          </a:prstGeom>
        </p:spPr>
      </p:pic>
      <p:sp>
        <p:nvSpPr>
          <p:cNvPr id="51" name="Slide Number Placeholder 2">
            <a:extLst>
              <a:ext uri="{FF2B5EF4-FFF2-40B4-BE49-F238E27FC236}">
                <a16:creationId xmlns:a16="http://schemas.microsoft.com/office/drawing/2014/main" id="{1FD03043-0AE4-454E-9F61-5D151A072A89}"/>
              </a:ext>
            </a:extLst>
          </p:cNvPr>
          <p:cNvSpPr txBox="1">
            <a:spLocks/>
          </p:cNvSpPr>
          <p:nvPr userDrawn="1"/>
        </p:nvSpPr>
        <p:spPr>
          <a:xfrm>
            <a:off x="1739940" y="4859006"/>
            <a:ext cx="525553" cy="923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70"/>
            <a:r>
              <a:rPr lang="en-US" sz="600" dirty="0">
                <a:solidFill>
                  <a:srgbClr val="3DCD58"/>
                </a:solidFill>
                <a:latin typeface="Arial" panose="020B0604020202020204" pitchFamily="34" charset="0"/>
                <a:cs typeface="Arial" panose="020B0604020202020204" pitchFamily="34" charset="0"/>
              </a:rPr>
              <a:t>Page </a:t>
            </a:r>
            <a:fld id="{5A9C12DC-491F-9444-86A2-13AC5C62A2FC}" type="slidenum">
              <a:rPr lang="en-US" sz="600">
                <a:solidFill>
                  <a:srgbClr val="3DCD58"/>
                </a:solidFill>
                <a:latin typeface="Arial" panose="020B0604020202020204" pitchFamily="34" charset="0"/>
                <a:cs typeface="Arial" panose="020B0604020202020204" pitchFamily="34" charset="0"/>
              </a:rPr>
              <a:pPr algn="ctr" defTabSz="457070"/>
              <a:t>‹#›</a:t>
            </a:fld>
            <a:endParaRPr lang="en-US" sz="600" dirty="0">
              <a:solidFill>
                <a:srgbClr val="3DCD58"/>
              </a:solidFill>
              <a:latin typeface="Arial" panose="020B0604020202020204" pitchFamily="34" charset="0"/>
              <a:cs typeface="Arial" panose="020B0604020202020204" pitchFamily="34" charset="0"/>
            </a:endParaRPr>
          </a:p>
        </p:txBody>
      </p:sp>
      <p:sp>
        <p:nvSpPr>
          <p:cNvPr id="52" name="Footer Placeholder 3">
            <a:extLst>
              <a:ext uri="{FF2B5EF4-FFF2-40B4-BE49-F238E27FC236}">
                <a16:creationId xmlns:a16="http://schemas.microsoft.com/office/drawing/2014/main" id="{6ED994D1-F1CF-41A3-8A29-EB927E1E1E2C}"/>
              </a:ext>
            </a:extLst>
          </p:cNvPr>
          <p:cNvSpPr txBox="1">
            <a:spLocks/>
          </p:cNvSpPr>
          <p:nvPr userDrawn="1"/>
        </p:nvSpPr>
        <p:spPr>
          <a:xfrm>
            <a:off x="253539" y="4857156"/>
            <a:ext cx="3384470" cy="941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70"/>
            <a:r>
              <a:rPr lang="en-US" sz="600" dirty="0">
                <a:solidFill>
                  <a:srgbClr val="626469"/>
                </a:solidFill>
                <a:latin typeface="Arial" panose="020B0604020202020204" pitchFamily="34" charset="0"/>
                <a:cs typeface="Arial" panose="020B0604020202020204" pitchFamily="34" charset="0"/>
              </a:rPr>
              <a:t>Confidential Property of Schneider Electric | </a:t>
            </a:r>
          </a:p>
        </p:txBody>
      </p:sp>
      <p:sp>
        <p:nvSpPr>
          <p:cNvPr id="89" name="Holder 2">
            <a:extLst>
              <a:ext uri="{FF2B5EF4-FFF2-40B4-BE49-F238E27FC236}">
                <a16:creationId xmlns:a16="http://schemas.microsoft.com/office/drawing/2014/main" id="{578F1C43-C033-4920-826E-488BDE382160}"/>
              </a:ext>
            </a:extLst>
          </p:cNvPr>
          <p:cNvSpPr>
            <a:spLocks noGrp="1"/>
          </p:cNvSpPr>
          <p:nvPr>
            <p:ph type="title"/>
          </p:nvPr>
        </p:nvSpPr>
        <p:spPr>
          <a:xfrm>
            <a:off x="304893" y="352005"/>
            <a:ext cx="8049957" cy="357791"/>
          </a:xfrm>
          <a:prstGeom prst="rect">
            <a:avLst/>
          </a:prstGeom>
        </p:spPr>
        <p:txBody>
          <a:bodyPr lIns="0" tIns="0" rIns="0" bIns="0"/>
          <a:lstStyle>
            <a:lvl1pPr algn="l">
              <a:defRPr sz="3000" b="0" i="0">
                <a:solidFill>
                  <a:srgbClr val="3CC957"/>
                </a:solidFill>
                <a:latin typeface="Arial" panose="020B0604020202020204" pitchFamily="34" charset="0"/>
                <a:cs typeface="Arial" panose="020B0604020202020204" pitchFamily="34" charset="0"/>
              </a:defRPr>
            </a:lvl1pPr>
          </a:lstStyle>
          <a:p>
            <a:endParaRPr/>
          </a:p>
        </p:txBody>
      </p:sp>
      <p:sp>
        <p:nvSpPr>
          <p:cNvPr id="91" name="Text Placeholder 90">
            <a:extLst>
              <a:ext uri="{FF2B5EF4-FFF2-40B4-BE49-F238E27FC236}">
                <a16:creationId xmlns:a16="http://schemas.microsoft.com/office/drawing/2014/main" id="{EC6A9235-43C6-4B7B-8E6D-F47A6C725A10}"/>
              </a:ext>
            </a:extLst>
          </p:cNvPr>
          <p:cNvSpPr>
            <a:spLocks noGrp="1"/>
          </p:cNvSpPr>
          <p:nvPr>
            <p:ph type="body" sz="quarter" idx="10"/>
          </p:nvPr>
        </p:nvSpPr>
        <p:spPr>
          <a:xfrm>
            <a:off x="304892" y="1390650"/>
            <a:ext cx="8049957" cy="2165350"/>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Tree>
    <p:extLst>
      <p:ext uri="{BB962C8B-B14F-4D97-AF65-F5344CB8AC3E}">
        <p14:creationId xmlns:p14="http://schemas.microsoft.com/office/powerpoint/2010/main" val="415640375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9_Standard Layout">
    <p:spTree>
      <p:nvGrpSpPr>
        <p:cNvPr id="1" name=""/>
        <p:cNvGrpSpPr/>
        <p:nvPr/>
      </p:nvGrpSpPr>
      <p:grpSpPr>
        <a:xfrm>
          <a:off x="0" y="0"/>
          <a:ext cx="0" cy="0"/>
          <a:chOff x="0" y="0"/>
          <a:chExt cx="0" cy="0"/>
        </a:xfrm>
      </p:grpSpPr>
      <p:pic>
        <p:nvPicPr>
          <p:cNvPr id="13" name="Picture 12" descr="A circuit board&#10;&#10;Description automatically generated">
            <a:extLst>
              <a:ext uri="{FF2B5EF4-FFF2-40B4-BE49-F238E27FC236}">
                <a16:creationId xmlns:a16="http://schemas.microsoft.com/office/drawing/2014/main" id="{785C0FCB-0C71-4E64-B805-411D14B487FE}"/>
              </a:ext>
            </a:extLst>
          </p:cNvPr>
          <p:cNvPicPr>
            <a:picLocks noChangeAspect="1"/>
          </p:cNvPicPr>
          <p:nvPr userDrawn="1"/>
        </p:nvPicPr>
        <p:blipFill rotWithShape="1">
          <a:blip r:embed="rId5" cstate="print">
            <a:alphaModFix/>
            <a:extLst>
              <a:ext uri="{28A0092B-C50C-407E-A947-70E740481C1C}">
                <a14:useLocalDpi xmlns:a14="http://schemas.microsoft.com/office/drawing/2010/main"/>
              </a:ext>
            </a:extLst>
          </a:blip>
          <a:srcRect/>
          <a:stretch/>
        </p:blipFill>
        <p:spPr>
          <a:xfrm>
            <a:off x="0" y="0"/>
            <a:ext cx="9144000" cy="5143500"/>
          </a:xfrm>
          <a:prstGeom prst="rect">
            <a:avLst/>
          </a:prstGeom>
        </p:spPr>
      </p:pic>
      <p:graphicFrame>
        <p:nvGraphicFramePr>
          <p:cNvPr id="2" name="Objet 1" hidden="1"/>
          <p:cNvGraphicFramePr>
            <a:graphicFrameLocks noChangeAspect="1"/>
          </p:cNvGraphicFramePr>
          <p:nvPr userDrawn="1">
            <p:custDataLst>
              <p:tags r:id="rId2"/>
            </p:custData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15404" name="think-cell Slide" r:id="rId6" imgW="360" imgH="360" progId="TCLayout.ActiveDocument.1">
                  <p:embed/>
                </p:oleObj>
              </mc:Choice>
              <mc:Fallback>
                <p:oleObj name="think-cell Slide" r:id="rId6" imgW="360" imgH="360" progId="TCLayout.ActiveDocument.1">
                  <p:embed/>
                  <p:pic>
                    <p:nvPicPr>
                      <p:cNvPr id="2" name="Objet 1" hidden="1"/>
                      <p:cNvPicPr/>
                      <p:nvPr/>
                    </p:nvPicPr>
                    <p:blipFill>
                      <a:blip r:embed="rId7"/>
                      <a:stretch>
                        <a:fillRect/>
                      </a:stretch>
                    </p:blipFill>
                    <p:spPr>
                      <a:xfrm>
                        <a:off x="1592" y="1589"/>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A6BAAE1-BE16-4913-97AE-78C99E907225}"/>
              </a:ext>
            </a:extLst>
          </p:cNvPr>
          <p:cNvSpPr/>
          <p:nvPr userDrawn="1">
            <p:custDataLst>
              <p:tags r:id="rId3"/>
            </p:custDataLst>
          </p:nvPr>
        </p:nvSpPr>
        <p:spPr>
          <a:xfrm>
            <a:off x="0" y="0"/>
            <a:ext cx="119062"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Arial" panose="020B0604020202020204" pitchFamily="34" charset="0"/>
              <a:ea typeface="+mj-ea"/>
              <a:cs typeface="+mj-cs"/>
              <a:sym typeface="Arial" panose="020B0604020202020204" pitchFamily="34" charset="0"/>
            </a:endParaRPr>
          </a:p>
        </p:txBody>
      </p:sp>
      <p:sp>
        <p:nvSpPr>
          <p:cNvPr id="49" name="object 3">
            <a:extLst>
              <a:ext uri="{FF2B5EF4-FFF2-40B4-BE49-F238E27FC236}">
                <a16:creationId xmlns:a16="http://schemas.microsoft.com/office/drawing/2014/main" id="{25CD1890-32F1-428E-A164-BCA7D7379946}"/>
              </a:ext>
            </a:extLst>
          </p:cNvPr>
          <p:cNvSpPr/>
          <p:nvPr userDrawn="1"/>
        </p:nvSpPr>
        <p:spPr>
          <a:xfrm>
            <a:off x="0" y="0"/>
            <a:ext cx="9144000" cy="5149859"/>
          </a:xfrm>
          <a:custGeom>
            <a:avLst/>
            <a:gdLst/>
            <a:ahLst/>
            <a:cxnLst/>
            <a:rect l="l" t="t" r="r" b="b"/>
            <a:pathLst>
              <a:path w="9144000" h="5143500">
                <a:moveTo>
                  <a:pt x="0" y="5143500"/>
                </a:moveTo>
                <a:lnTo>
                  <a:pt x="9144000" y="5143500"/>
                </a:lnTo>
                <a:lnTo>
                  <a:pt x="9144000" y="0"/>
                </a:lnTo>
                <a:lnTo>
                  <a:pt x="0" y="0"/>
                </a:lnTo>
                <a:lnTo>
                  <a:pt x="0" y="5143500"/>
                </a:lnTo>
                <a:close/>
              </a:path>
            </a:pathLst>
          </a:custGeom>
          <a:gradFill>
            <a:gsLst>
              <a:gs pos="22000">
                <a:schemeClr val="tx1">
                  <a:alpha val="60000"/>
                </a:schemeClr>
              </a:gs>
              <a:gs pos="62000">
                <a:schemeClr val="accent1">
                  <a:lumMod val="45000"/>
                  <a:lumOff val="55000"/>
                  <a:alpha val="67000"/>
                </a:schemeClr>
              </a:gs>
              <a:gs pos="100000">
                <a:schemeClr val="accent1">
                  <a:lumMod val="30000"/>
                  <a:lumOff val="70000"/>
                </a:schemeClr>
              </a:gs>
            </a:gsLst>
            <a:lin ang="5400000" scaled="1"/>
          </a:gradFill>
        </p:spPr>
        <p:txBody>
          <a:bodyPr wrap="square" lIns="0" tIns="0" rIns="0" bIns="0" rtlCol="0"/>
          <a:lstStyle/>
          <a:p>
            <a:endParaRPr sz="1350" dirty="0"/>
          </a:p>
        </p:txBody>
      </p:sp>
      <p:pic>
        <p:nvPicPr>
          <p:cNvPr id="50" name="Picture 49">
            <a:extLst>
              <a:ext uri="{FF2B5EF4-FFF2-40B4-BE49-F238E27FC236}">
                <a16:creationId xmlns:a16="http://schemas.microsoft.com/office/drawing/2014/main" id="{A2DE2203-73EE-4121-8B25-4C4BF5807EB1}"/>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664734" y="4702323"/>
            <a:ext cx="1031462" cy="214227"/>
          </a:xfrm>
          <a:prstGeom prst="rect">
            <a:avLst/>
          </a:prstGeom>
        </p:spPr>
      </p:pic>
      <p:sp>
        <p:nvSpPr>
          <p:cNvPr id="51" name="Slide Number Placeholder 2">
            <a:extLst>
              <a:ext uri="{FF2B5EF4-FFF2-40B4-BE49-F238E27FC236}">
                <a16:creationId xmlns:a16="http://schemas.microsoft.com/office/drawing/2014/main" id="{1FD03043-0AE4-454E-9F61-5D151A072A89}"/>
              </a:ext>
            </a:extLst>
          </p:cNvPr>
          <p:cNvSpPr txBox="1">
            <a:spLocks/>
          </p:cNvSpPr>
          <p:nvPr userDrawn="1"/>
        </p:nvSpPr>
        <p:spPr>
          <a:xfrm>
            <a:off x="1739940" y="4859006"/>
            <a:ext cx="525553" cy="923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70"/>
            <a:r>
              <a:rPr lang="en-US" sz="600" dirty="0">
                <a:solidFill>
                  <a:srgbClr val="3DCD58"/>
                </a:solidFill>
                <a:latin typeface="Arial" panose="020B0604020202020204" pitchFamily="34" charset="0"/>
                <a:cs typeface="Arial" panose="020B0604020202020204" pitchFamily="34" charset="0"/>
              </a:rPr>
              <a:t>Page </a:t>
            </a:r>
            <a:fld id="{5A9C12DC-491F-9444-86A2-13AC5C62A2FC}" type="slidenum">
              <a:rPr lang="en-US" sz="600">
                <a:solidFill>
                  <a:srgbClr val="3DCD58"/>
                </a:solidFill>
                <a:latin typeface="Arial" panose="020B0604020202020204" pitchFamily="34" charset="0"/>
                <a:cs typeface="Arial" panose="020B0604020202020204" pitchFamily="34" charset="0"/>
              </a:rPr>
              <a:pPr algn="ctr" defTabSz="457070"/>
              <a:t>‹#›</a:t>
            </a:fld>
            <a:endParaRPr lang="en-US" sz="600" dirty="0">
              <a:solidFill>
                <a:srgbClr val="3DCD58"/>
              </a:solidFill>
              <a:latin typeface="Arial" panose="020B0604020202020204" pitchFamily="34" charset="0"/>
              <a:cs typeface="Arial" panose="020B0604020202020204" pitchFamily="34" charset="0"/>
            </a:endParaRPr>
          </a:p>
        </p:txBody>
      </p:sp>
      <p:sp>
        <p:nvSpPr>
          <p:cNvPr id="52" name="Footer Placeholder 3">
            <a:extLst>
              <a:ext uri="{FF2B5EF4-FFF2-40B4-BE49-F238E27FC236}">
                <a16:creationId xmlns:a16="http://schemas.microsoft.com/office/drawing/2014/main" id="{6ED994D1-F1CF-41A3-8A29-EB927E1E1E2C}"/>
              </a:ext>
            </a:extLst>
          </p:cNvPr>
          <p:cNvSpPr txBox="1">
            <a:spLocks/>
          </p:cNvSpPr>
          <p:nvPr userDrawn="1"/>
        </p:nvSpPr>
        <p:spPr>
          <a:xfrm>
            <a:off x="253539" y="4857156"/>
            <a:ext cx="3384470" cy="941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70"/>
            <a:r>
              <a:rPr lang="en-US" sz="600" dirty="0">
                <a:solidFill>
                  <a:srgbClr val="626469"/>
                </a:solidFill>
                <a:latin typeface="Arial" panose="020B0604020202020204" pitchFamily="34" charset="0"/>
                <a:cs typeface="Arial" panose="020B0604020202020204" pitchFamily="34" charset="0"/>
              </a:rPr>
              <a:t>Confidential Property of Schneider Electric | </a:t>
            </a:r>
          </a:p>
        </p:txBody>
      </p:sp>
      <p:sp>
        <p:nvSpPr>
          <p:cNvPr id="89" name="Holder 2">
            <a:extLst>
              <a:ext uri="{FF2B5EF4-FFF2-40B4-BE49-F238E27FC236}">
                <a16:creationId xmlns:a16="http://schemas.microsoft.com/office/drawing/2014/main" id="{578F1C43-C033-4920-826E-488BDE382160}"/>
              </a:ext>
            </a:extLst>
          </p:cNvPr>
          <p:cNvSpPr>
            <a:spLocks noGrp="1"/>
          </p:cNvSpPr>
          <p:nvPr>
            <p:ph type="title"/>
          </p:nvPr>
        </p:nvSpPr>
        <p:spPr>
          <a:xfrm>
            <a:off x="304893" y="352005"/>
            <a:ext cx="8049957" cy="357791"/>
          </a:xfrm>
          <a:prstGeom prst="rect">
            <a:avLst/>
          </a:prstGeom>
        </p:spPr>
        <p:txBody>
          <a:bodyPr lIns="0" tIns="0" rIns="0" bIns="0"/>
          <a:lstStyle>
            <a:lvl1pPr algn="l">
              <a:defRPr sz="3000" b="0" i="0">
                <a:solidFill>
                  <a:srgbClr val="3CC957"/>
                </a:solidFill>
                <a:latin typeface="Arial" panose="020B0604020202020204" pitchFamily="34" charset="0"/>
                <a:cs typeface="Arial" panose="020B0604020202020204" pitchFamily="34" charset="0"/>
              </a:defRPr>
            </a:lvl1pPr>
          </a:lstStyle>
          <a:p>
            <a:endParaRPr/>
          </a:p>
        </p:txBody>
      </p:sp>
      <p:sp>
        <p:nvSpPr>
          <p:cNvPr id="91" name="Text Placeholder 90">
            <a:extLst>
              <a:ext uri="{FF2B5EF4-FFF2-40B4-BE49-F238E27FC236}">
                <a16:creationId xmlns:a16="http://schemas.microsoft.com/office/drawing/2014/main" id="{EC6A9235-43C6-4B7B-8E6D-F47A6C725A10}"/>
              </a:ext>
            </a:extLst>
          </p:cNvPr>
          <p:cNvSpPr>
            <a:spLocks noGrp="1"/>
          </p:cNvSpPr>
          <p:nvPr>
            <p:ph type="body" sz="quarter" idx="10"/>
          </p:nvPr>
        </p:nvSpPr>
        <p:spPr>
          <a:xfrm>
            <a:off x="304892" y="1390650"/>
            <a:ext cx="8049957" cy="2165350"/>
          </a:xfrm>
          <a:prstGeom prst="rect">
            <a:avLst/>
          </a:prstGeom>
        </p:spPr>
        <p:txBody>
          <a:bodyPr/>
          <a:lstStyle>
            <a:lvl1pPr>
              <a:defRPr sz="2400" b="0" i="0">
                <a:solidFill>
                  <a:schemeClr val="bg1"/>
                </a:solidFill>
                <a:latin typeface="Arial" panose="020B0604020202020204" pitchFamily="34" charset="0"/>
                <a:cs typeface="Arial" panose="020B0604020202020204" pitchFamily="34" charset="0"/>
              </a:defRPr>
            </a:lvl1pPr>
            <a:lvl2pPr>
              <a:defRPr sz="2000" b="0" i="0">
                <a:solidFill>
                  <a:schemeClr val="bg1"/>
                </a:solidFill>
                <a:latin typeface="Arial" panose="020B0604020202020204" pitchFamily="34" charset="0"/>
                <a:cs typeface="Arial" panose="020B0604020202020204" pitchFamily="34" charset="0"/>
              </a:defRPr>
            </a:lvl2pPr>
            <a:lvl3pPr>
              <a:defRPr sz="1800" b="0" i="0">
                <a:solidFill>
                  <a:schemeClr val="bg1"/>
                </a:solidFill>
                <a:latin typeface="Arial" panose="020B0604020202020204" pitchFamily="34" charset="0"/>
                <a:cs typeface="Arial" panose="020B0604020202020204" pitchFamily="34" charset="0"/>
              </a:defRPr>
            </a:lvl3pPr>
            <a:lvl4pPr>
              <a:defRPr sz="1600" b="0" i="0">
                <a:solidFill>
                  <a:schemeClr val="bg1"/>
                </a:solidFill>
                <a:latin typeface="Arial" panose="020B0604020202020204" pitchFamily="34" charset="0"/>
                <a:cs typeface="Arial" panose="020B0604020202020204" pitchFamily="34" charset="0"/>
              </a:defRPr>
            </a:lvl4pPr>
            <a:lvl5pPr>
              <a:defRPr sz="1600" b="0" i="0">
                <a:solidFill>
                  <a:schemeClr val="bg1"/>
                </a:solidFill>
                <a:latin typeface="Arial" panose="020B0604020202020204" pitchFamily="34" charset="0"/>
                <a:cs typeface="Arial" panose="020B0604020202020204" pitchFamily="34" charset="0"/>
              </a:defRPr>
            </a:lvl5p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Tree>
    <p:extLst>
      <p:ext uri="{BB962C8B-B14F-4D97-AF65-F5344CB8AC3E}">
        <p14:creationId xmlns:p14="http://schemas.microsoft.com/office/powerpoint/2010/main" val="20011783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4" name="Title 1"/>
          <p:cNvSpPr>
            <a:spLocks noGrp="1"/>
          </p:cNvSpPr>
          <p:nvPr>
            <p:ph type="ctrTitle" hasCustomPrompt="1"/>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252414" y="2955454"/>
            <a:ext cx="8577820" cy="307777"/>
          </a:xfrm>
          <a:prstGeom prst="rect">
            <a:avLst/>
          </a:prstGeom>
        </p:spPr>
        <p:txBody>
          <a:bodyPr lIns="0" tIns="0" rIns="0" bIns="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pic>
        <p:nvPicPr>
          <p:cNvPr id="9" name="Picture 8"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94746813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0_Standard Layout">
    <p:spTree>
      <p:nvGrpSpPr>
        <p:cNvPr id="1" name=""/>
        <p:cNvGrpSpPr/>
        <p:nvPr/>
      </p:nvGrpSpPr>
      <p:grpSpPr>
        <a:xfrm>
          <a:off x="0" y="0"/>
          <a:ext cx="0" cy="0"/>
          <a:chOff x="0" y="0"/>
          <a:chExt cx="0" cy="0"/>
        </a:xfrm>
      </p:grpSpPr>
      <p:pic>
        <p:nvPicPr>
          <p:cNvPr id="11" name="Picture 10" descr="A large body of water with a city in the background&#10;&#10;Description automatically generated">
            <a:extLst>
              <a:ext uri="{FF2B5EF4-FFF2-40B4-BE49-F238E27FC236}">
                <a16:creationId xmlns:a16="http://schemas.microsoft.com/office/drawing/2014/main" id="{B4EBAD26-E407-4BB3-B2EE-6377274C1563}"/>
              </a:ext>
            </a:extLst>
          </p:cNvPr>
          <p:cNvPicPr>
            <a:picLocks noChangeAspect="1"/>
          </p:cNvPicPr>
          <p:nvPr userDrawn="1"/>
        </p:nvPicPr>
        <p:blipFill rotWithShape="1">
          <a:blip r:embed="rId5" cstate="print">
            <a:alphaModFix/>
            <a:extLst>
              <a:ext uri="{28A0092B-C50C-407E-A947-70E740481C1C}">
                <a14:useLocalDpi xmlns:a14="http://schemas.microsoft.com/office/drawing/2010/main"/>
              </a:ext>
            </a:extLst>
          </a:blip>
          <a:srcRect/>
          <a:stretch/>
        </p:blipFill>
        <p:spPr>
          <a:xfrm>
            <a:off x="-1" y="-5052"/>
            <a:ext cx="9144001" cy="5143500"/>
          </a:xfrm>
          <a:prstGeom prst="rect">
            <a:avLst/>
          </a:prstGeom>
        </p:spPr>
      </p:pic>
      <p:graphicFrame>
        <p:nvGraphicFramePr>
          <p:cNvPr id="2" name="Objet 1" hidden="1"/>
          <p:cNvGraphicFramePr>
            <a:graphicFrameLocks noChangeAspect="1"/>
          </p:cNvGraphicFramePr>
          <p:nvPr userDrawn="1">
            <p:custDataLst>
              <p:tags r:id="rId2"/>
            </p:custData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16428" name="think-cell Slide" r:id="rId6" imgW="360" imgH="360" progId="TCLayout.ActiveDocument.1">
                  <p:embed/>
                </p:oleObj>
              </mc:Choice>
              <mc:Fallback>
                <p:oleObj name="think-cell Slide" r:id="rId6" imgW="360" imgH="360" progId="TCLayout.ActiveDocument.1">
                  <p:embed/>
                  <p:pic>
                    <p:nvPicPr>
                      <p:cNvPr id="2" name="Objet 1" hidden="1"/>
                      <p:cNvPicPr/>
                      <p:nvPr/>
                    </p:nvPicPr>
                    <p:blipFill>
                      <a:blip r:embed="rId7"/>
                      <a:stretch>
                        <a:fillRect/>
                      </a:stretch>
                    </p:blipFill>
                    <p:spPr>
                      <a:xfrm>
                        <a:off x="1592" y="1589"/>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A6BAAE1-BE16-4913-97AE-78C99E907225}"/>
              </a:ext>
            </a:extLst>
          </p:cNvPr>
          <p:cNvSpPr/>
          <p:nvPr userDrawn="1">
            <p:custDataLst>
              <p:tags r:id="rId3"/>
            </p:custDataLst>
          </p:nvPr>
        </p:nvSpPr>
        <p:spPr>
          <a:xfrm>
            <a:off x="0" y="0"/>
            <a:ext cx="119062"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Arial" panose="020B0604020202020204" pitchFamily="34" charset="0"/>
              <a:ea typeface="+mj-ea"/>
              <a:cs typeface="+mj-cs"/>
              <a:sym typeface="Arial" panose="020B0604020202020204" pitchFamily="34" charset="0"/>
            </a:endParaRPr>
          </a:p>
        </p:txBody>
      </p:sp>
      <p:sp>
        <p:nvSpPr>
          <p:cNvPr id="49" name="object 3">
            <a:extLst>
              <a:ext uri="{FF2B5EF4-FFF2-40B4-BE49-F238E27FC236}">
                <a16:creationId xmlns:a16="http://schemas.microsoft.com/office/drawing/2014/main" id="{25CD1890-32F1-428E-A164-BCA7D7379946}"/>
              </a:ext>
            </a:extLst>
          </p:cNvPr>
          <p:cNvSpPr/>
          <p:nvPr userDrawn="1"/>
        </p:nvSpPr>
        <p:spPr>
          <a:xfrm>
            <a:off x="-1" y="-11411"/>
            <a:ext cx="9144000" cy="5149859"/>
          </a:xfrm>
          <a:custGeom>
            <a:avLst/>
            <a:gdLst/>
            <a:ahLst/>
            <a:cxnLst/>
            <a:rect l="l" t="t" r="r" b="b"/>
            <a:pathLst>
              <a:path w="9144000" h="5143500">
                <a:moveTo>
                  <a:pt x="0" y="5143500"/>
                </a:moveTo>
                <a:lnTo>
                  <a:pt x="9144000" y="5143500"/>
                </a:lnTo>
                <a:lnTo>
                  <a:pt x="9144000" y="0"/>
                </a:lnTo>
                <a:lnTo>
                  <a:pt x="0" y="0"/>
                </a:lnTo>
                <a:lnTo>
                  <a:pt x="0" y="5143500"/>
                </a:lnTo>
                <a:close/>
              </a:path>
            </a:pathLst>
          </a:custGeom>
          <a:gradFill>
            <a:gsLst>
              <a:gs pos="22000">
                <a:schemeClr val="tx1">
                  <a:alpha val="60000"/>
                </a:schemeClr>
              </a:gs>
              <a:gs pos="62000">
                <a:schemeClr val="accent1">
                  <a:lumMod val="45000"/>
                  <a:lumOff val="55000"/>
                  <a:alpha val="67000"/>
                </a:schemeClr>
              </a:gs>
              <a:gs pos="100000">
                <a:schemeClr val="accent1">
                  <a:lumMod val="30000"/>
                  <a:lumOff val="70000"/>
                </a:schemeClr>
              </a:gs>
            </a:gsLst>
            <a:lin ang="5400000" scaled="1"/>
          </a:gradFill>
        </p:spPr>
        <p:txBody>
          <a:bodyPr wrap="square" lIns="0" tIns="0" rIns="0" bIns="0" rtlCol="0"/>
          <a:lstStyle/>
          <a:p>
            <a:endParaRPr sz="1350" dirty="0"/>
          </a:p>
        </p:txBody>
      </p:sp>
      <p:pic>
        <p:nvPicPr>
          <p:cNvPr id="50" name="Picture 49">
            <a:extLst>
              <a:ext uri="{FF2B5EF4-FFF2-40B4-BE49-F238E27FC236}">
                <a16:creationId xmlns:a16="http://schemas.microsoft.com/office/drawing/2014/main" id="{A2DE2203-73EE-4121-8B25-4C4BF5807EB1}"/>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664734" y="4702323"/>
            <a:ext cx="1031462" cy="214227"/>
          </a:xfrm>
          <a:prstGeom prst="rect">
            <a:avLst/>
          </a:prstGeom>
        </p:spPr>
      </p:pic>
      <p:sp>
        <p:nvSpPr>
          <p:cNvPr id="51" name="Slide Number Placeholder 2">
            <a:extLst>
              <a:ext uri="{FF2B5EF4-FFF2-40B4-BE49-F238E27FC236}">
                <a16:creationId xmlns:a16="http://schemas.microsoft.com/office/drawing/2014/main" id="{1FD03043-0AE4-454E-9F61-5D151A072A89}"/>
              </a:ext>
            </a:extLst>
          </p:cNvPr>
          <p:cNvSpPr txBox="1">
            <a:spLocks/>
          </p:cNvSpPr>
          <p:nvPr userDrawn="1"/>
        </p:nvSpPr>
        <p:spPr>
          <a:xfrm>
            <a:off x="1739940" y="4859006"/>
            <a:ext cx="525553" cy="923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70"/>
            <a:r>
              <a:rPr lang="en-US" sz="600" dirty="0">
                <a:solidFill>
                  <a:srgbClr val="3DCD58"/>
                </a:solidFill>
                <a:latin typeface="Arial" panose="020B0604020202020204" pitchFamily="34" charset="0"/>
                <a:cs typeface="Arial" panose="020B0604020202020204" pitchFamily="34" charset="0"/>
              </a:rPr>
              <a:t>Page </a:t>
            </a:r>
            <a:fld id="{5A9C12DC-491F-9444-86A2-13AC5C62A2FC}" type="slidenum">
              <a:rPr lang="en-US" sz="600">
                <a:solidFill>
                  <a:srgbClr val="3DCD58"/>
                </a:solidFill>
                <a:latin typeface="Arial" panose="020B0604020202020204" pitchFamily="34" charset="0"/>
                <a:cs typeface="Arial" panose="020B0604020202020204" pitchFamily="34" charset="0"/>
              </a:rPr>
              <a:pPr algn="ctr" defTabSz="457070"/>
              <a:t>‹#›</a:t>
            </a:fld>
            <a:endParaRPr lang="en-US" sz="600" dirty="0">
              <a:solidFill>
                <a:srgbClr val="3DCD58"/>
              </a:solidFill>
              <a:latin typeface="Arial" panose="020B0604020202020204" pitchFamily="34" charset="0"/>
              <a:cs typeface="Arial" panose="020B0604020202020204" pitchFamily="34" charset="0"/>
            </a:endParaRPr>
          </a:p>
        </p:txBody>
      </p:sp>
      <p:sp>
        <p:nvSpPr>
          <p:cNvPr id="52" name="Footer Placeholder 3">
            <a:extLst>
              <a:ext uri="{FF2B5EF4-FFF2-40B4-BE49-F238E27FC236}">
                <a16:creationId xmlns:a16="http://schemas.microsoft.com/office/drawing/2014/main" id="{6ED994D1-F1CF-41A3-8A29-EB927E1E1E2C}"/>
              </a:ext>
            </a:extLst>
          </p:cNvPr>
          <p:cNvSpPr txBox="1">
            <a:spLocks/>
          </p:cNvSpPr>
          <p:nvPr userDrawn="1"/>
        </p:nvSpPr>
        <p:spPr>
          <a:xfrm>
            <a:off x="253539" y="4857156"/>
            <a:ext cx="3384470" cy="9418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070"/>
            <a:r>
              <a:rPr lang="en-US" sz="600" dirty="0">
                <a:solidFill>
                  <a:srgbClr val="626469"/>
                </a:solidFill>
                <a:latin typeface="Arial" panose="020B0604020202020204" pitchFamily="34" charset="0"/>
                <a:cs typeface="Arial" panose="020B0604020202020204" pitchFamily="34" charset="0"/>
              </a:rPr>
              <a:t>Confidential Property of Schneider Electric | </a:t>
            </a:r>
          </a:p>
        </p:txBody>
      </p:sp>
      <p:sp>
        <p:nvSpPr>
          <p:cNvPr id="89" name="Holder 2">
            <a:extLst>
              <a:ext uri="{FF2B5EF4-FFF2-40B4-BE49-F238E27FC236}">
                <a16:creationId xmlns:a16="http://schemas.microsoft.com/office/drawing/2014/main" id="{578F1C43-C033-4920-826E-488BDE382160}"/>
              </a:ext>
            </a:extLst>
          </p:cNvPr>
          <p:cNvSpPr>
            <a:spLocks noGrp="1"/>
          </p:cNvSpPr>
          <p:nvPr>
            <p:ph type="title"/>
          </p:nvPr>
        </p:nvSpPr>
        <p:spPr>
          <a:xfrm>
            <a:off x="304893" y="352005"/>
            <a:ext cx="8049957" cy="357791"/>
          </a:xfrm>
          <a:prstGeom prst="rect">
            <a:avLst/>
          </a:prstGeom>
        </p:spPr>
        <p:txBody>
          <a:bodyPr lIns="0" tIns="0" rIns="0" bIns="0"/>
          <a:lstStyle>
            <a:lvl1pPr algn="l">
              <a:defRPr sz="3000" b="0" i="0">
                <a:solidFill>
                  <a:srgbClr val="3CC957"/>
                </a:solidFill>
                <a:latin typeface="Arial" panose="020B0604020202020204" pitchFamily="34" charset="0"/>
                <a:cs typeface="Arial" panose="020B0604020202020204" pitchFamily="34" charset="0"/>
              </a:defRPr>
            </a:lvl1pPr>
          </a:lstStyle>
          <a:p>
            <a:endParaRPr/>
          </a:p>
        </p:txBody>
      </p:sp>
      <p:sp>
        <p:nvSpPr>
          <p:cNvPr id="91" name="Text Placeholder 90">
            <a:extLst>
              <a:ext uri="{FF2B5EF4-FFF2-40B4-BE49-F238E27FC236}">
                <a16:creationId xmlns:a16="http://schemas.microsoft.com/office/drawing/2014/main" id="{EC6A9235-43C6-4B7B-8E6D-F47A6C725A10}"/>
              </a:ext>
            </a:extLst>
          </p:cNvPr>
          <p:cNvSpPr>
            <a:spLocks noGrp="1"/>
          </p:cNvSpPr>
          <p:nvPr>
            <p:ph type="body" sz="quarter" idx="10"/>
          </p:nvPr>
        </p:nvSpPr>
        <p:spPr>
          <a:xfrm>
            <a:off x="304892" y="1390650"/>
            <a:ext cx="8049957" cy="2165350"/>
          </a:xfrm>
          <a:prstGeom prst="rect">
            <a:avLst/>
          </a:prstGeom>
        </p:spPr>
        <p:txBody>
          <a:bodyPr/>
          <a:lstStyle>
            <a:lvl1pPr>
              <a:defRPr sz="2400" b="0" i="0">
                <a:solidFill>
                  <a:schemeClr val="bg1"/>
                </a:solidFill>
                <a:latin typeface="Arial" panose="020B0604020202020204" pitchFamily="34" charset="0"/>
                <a:cs typeface="Arial" panose="020B0604020202020204" pitchFamily="34" charset="0"/>
              </a:defRPr>
            </a:lvl1pPr>
            <a:lvl2pPr>
              <a:defRPr sz="2000" b="0" i="0">
                <a:solidFill>
                  <a:schemeClr val="bg1"/>
                </a:solidFill>
                <a:latin typeface="Arial" panose="020B0604020202020204" pitchFamily="34" charset="0"/>
                <a:cs typeface="Arial" panose="020B0604020202020204" pitchFamily="34" charset="0"/>
              </a:defRPr>
            </a:lvl2pPr>
            <a:lvl3pPr>
              <a:defRPr sz="1800" b="0" i="0">
                <a:solidFill>
                  <a:schemeClr val="bg1"/>
                </a:solidFill>
                <a:latin typeface="Arial" panose="020B0604020202020204" pitchFamily="34" charset="0"/>
                <a:cs typeface="Arial" panose="020B0604020202020204" pitchFamily="34" charset="0"/>
              </a:defRPr>
            </a:lvl3pPr>
            <a:lvl4pPr>
              <a:defRPr sz="1600" b="0" i="0">
                <a:solidFill>
                  <a:schemeClr val="bg1"/>
                </a:solidFill>
                <a:latin typeface="Arial" panose="020B0604020202020204" pitchFamily="34" charset="0"/>
                <a:cs typeface="Arial" panose="020B0604020202020204" pitchFamily="34" charset="0"/>
              </a:defRPr>
            </a:lvl4pPr>
            <a:lvl5pPr>
              <a:defRPr sz="1600" b="0" i="0">
                <a:solidFill>
                  <a:schemeClr val="bg1"/>
                </a:solidFill>
                <a:latin typeface="Arial" panose="020B0604020202020204" pitchFamily="34" charset="0"/>
                <a:cs typeface="Arial" panose="020B0604020202020204" pitchFamily="34" charset="0"/>
              </a:defRPr>
            </a:lvl5p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Tree>
    <p:extLst>
      <p:ext uri="{BB962C8B-B14F-4D97-AF65-F5344CB8AC3E}">
        <p14:creationId xmlns:p14="http://schemas.microsoft.com/office/powerpoint/2010/main" val="293209280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27194084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2" y="485715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2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27"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5" name="Footer Placeholder 4"/>
          <p:cNvSpPr>
            <a:spLocks noGrp="1"/>
          </p:cNvSpPr>
          <p:nvPr>
            <p:ph type="ftr" sz="quarter" idx="3"/>
          </p:nvPr>
        </p:nvSpPr>
        <p:spPr>
          <a:xfrm>
            <a:off x="252414"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2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32"/>
          </p:nvPr>
        </p:nvSpPr>
        <p:spPr>
          <a:xfrm>
            <a:off x="252413" y="230188"/>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4" name="Text Placeholder 13"/>
          <p:cNvSpPr>
            <a:spLocks noGrp="1"/>
          </p:cNvSpPr>
          <p:nvPr>
            <p:ph type="body" sz="quarter" idx="33"/>
          </p:nvPr>
        </p:nvSpPr>
        <p:spPr>
          <a:xfrm>
            <a:off x="252413" y="683368"/>
            <a:ext cx="8647112" cy="253916"/>
          </a:xfrm>
        </p:spPr>
        <p:txBody>
          <a:bodyPr/>
          <a:lstStyle>
            <a:lvl1pPr marL="358717" indent="-342844">
              <a:buFontTx/>
              <a:buNone/>
              <a:defRPr sz="1600" baseline="0">
                <a:solidFill>
                  <a:schemeClr val="accent1"/>
                </a:solidFill>
              </a:defRPr>
            </a:lvl1pPr>
            <a:lvl2pPr marL="407922" indent="-228564">
              <a:buFontTx/>
              <a:buNone/>
              <a:defRPr/>
            </a:lvl2pPr>
            <a:lvl3pPr marL="587282" indent="-228564">
              <a:buFontTx/>
              <a:buNone/>
              <a:defRPr/>
            </a:lvl3pPr>
            <a:lvl4pPr marL="768227" indent="-228564">
              <a:buFontTx/>
              <a:buNone/>
              <a:defRPr/>
            </a:lvl4pPr>
            <a:lvl5pPr marL="939650" indent="-228564">
              <a:buFontTx/>
              <a:buNone/>
              <a:defRPr/>
            </a:lvl5pPr>
          </a:lstStyle>
          <a:p>
            <a:pPr lvl="0"/>
            <a:r>
              <a:rPr lang="en-US"/>
              <a:t>Click to edit Master text styles</a:t>
            </a:r>
          </a:p>
        </p:txBody>
      </p:sp>
    </p:spTree>
    <p:extLst>
      <p:ext uri="{BB962C8B-B14F-4D97-AF65-F5344CB8AC3E}">
        <p14:creationId xmlns:p14="http://schemas.microsoft.com/office/powerpoint/2010/main" val="316552407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Text Placeholder 2"/>
          <p:cNvSpPr>
            <a:spLocks noGrp="1"/>
          </p:cNvSpPr>
          <p:nvPr>
            <p:ph type="body" idx="15"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3" name="Text Placeholder 11"/>
          <p:cNvSpPr>
            <a:spLocks noGrp="1"/>
          </p:cNvSpPr>
          <p:nvPr>
            <p:ph type="body" sz="quarter" idx="16" hasCustomPrompt="1"/>
          </p:nvPr>
        </p:nvSpPr>
        <p:spPr>
          <a:xfrm>
            <a:off x="258055" y="4066302"/>
            <a:ext cx="5574419"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6" name="Content Placeholder 5"/>
          <p:cNvSpPr>
            <a:spLocks noGrp="1"/>
          </p:cNvSpPr>
          <p:nvPr>
            <p:ph sz="quarter" idx="18"/>
          </p:nvPr>
        </p:nvSpPr>
        <p:spPr>
          <a:xfrm>
            <a:off x="258054" y="1202023"/>
            <a:ext cx="5574419"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8"/>
            <a:ext cx="2698750" cy="1336263"/>
          </a:xfrm>
        </p:spPr>
        <p:txBody>
          <a:bodyPr>
            <a:spAutoFit/>
          </a:bodyPr>
          <a:lstStyle>
            <a:lvl1pPr>
              <a:defRPr sz="1200"/>
            </a:lvl1pPr>
            <a:lvl2pPr>
              <a:defRPr sz="1100"/>
            </a:lvl2pPr>
            <a:lvl3pPr>
              <a:defRPr sz="105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4563775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20" name="Text Placeholder 11"/>
          <p:cNvSpPr>
            <a:spLocks noGrp="1"/>
          </p:cNvSpPr>
          <p:nvPr>
            <p:ph type="body" sz="quarter" idx="13" hasCustomPrompt="1"/>
          </p:nvPr>
        </p:nvSpPr>
        <p:spPr>
          <a:xfrm>
            <a:off x="252413" y="4066302"/>
            <a:ext cx="558006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quarter" idx="17"/>
          </p:nvPr>
        </p:nvSpPr>
        <p:spPr>
          <a:xfrm>
            <a:off x="252412" y="1203326"/>
            <a:ext cx="5580062"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9032865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11" name="Text Placeholder 2"/>
          <p:cNvSpPr>
            <a:spLocks noGrp="1"/>
          </p:cNvSpPr>
          <p:nvPr>
            <p:ph type="body" idx="15"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Text Placeholder 11"/>
          <p:cNvSpPr>
            <a:spLocks noGrp="1"/>
          </p:cNvSpPr>
          <p:nvPr>
            <p:ph type="body" sz="quarter" idx="16" hasCustomPrompt="1"/>
          </p:nvPr>
        </p:nvSpPr>
        <p:spPr>
          <a:xfrm>
            <a:off x="252413" y="2704955"/>
            <a:ext cx="5574419"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8" name="Text Placeholder 11"/>
          <p:cNvSpPr>
            <a:spLocks noGrp="1"/>
          </p:cNvSpPr>
          <p:nvPr>
            <p:ph type="body" sz="quarter" idx="20" hasCustomPrompt="1"/>
          </p:nvPr>
        </p:nvSpPr>
        <p:spPr>
          <a:xfrm>
            <a:off x="258057" y="4548723"/>
            <a:ext cx="5574419"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6" name="Content Placeholder 5"/>
          <p:cNvSpPr>
            <a:spLocks noGrp="1"/>
          </p:cNvSpPr>
          <p:nvPr>
            <p:ph sz="quarter" idx="23"/>
          </p:nvPr>
        </p:nvSpPr>
        <p:spPr>
          <a:xfrm>
            <a:off x="258057" y="1213547"/>
            <a:ext cx="5574419"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24"/>
          </p:nvPr>
        </p:nvSpPr>
        <p:spPr>
          <a:xfrm>
            <a:off x="252412" y="3037586"/>
            <a:ext cx="5580064"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146762266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25" name="Text Placeholder 11"/>
          <p:cNvSpPr>
            <a:spLocks noGrp="1"/>
          </p:cNvSpPr>
          <p:nvPr>
            <p:ph type="body" sz="quarter" idx="13" hasCustomPrompt="1"/>
          </p:nvPr>
        </p:nvSpPr>
        <p:spPr>
          <a:xfrm>
            <a:off x="4791075" y="4066302"/>
            <a:ext cx="4100514"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9" name="Text Placeholder 2"/>
          <p:cNvSpPr>
            <a:spLocks noGrp="1"/>
          </p:cNvSpPr>
          <p:nvPr>
            <p:ph type="body" idx="16"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3" name="Content Placeholder 2"/>
          <p:cNvSpPr>
            <a:spLocks noGrp="1"/>
          </p:cNvSpPr>
          <p:nvPr>
            <p:ph sz="quarter" idx="22"/>
          </p:nvPr>
        </p:nvSpPr>
        <p:spPr>
          <a:xfrm>
            <a:off x="258057" y="1209296"/>
            <a:ext cx="4172656"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23"/>
          </p:nvPr>
        </p:nvSpPr>
        <p:spPr>
          <a:xfrm>
            <a:off x="4791075" y="1209296"/>
            <a:ext cx="4100514"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7368551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9" name="Text Placeholder 11"/>
          <p:cNvSpPr>
            <a:spLocks noGrp="1"/>
          </p:cNvSpPr>
          <p:nvPr>
            <p:ph type="body" sz="quarter" idx="13" hasCustomPrompt="1"/>
          </p:nvPr>
        </p:nvSpPr>
        <p:spPr>
          <a:xfrm>
            <a:off x="4791075" y="4066302"/>
            <a:ext cx="4100514"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2" name="Text Placeholder 11"/>
          <p:cNvSpPr>
            <a:spLocks noGrp="1"/>
          </p:cNvSpPr>
          <p:nvPr>
            <p:ph type="body" sz="quarter" idx="15" hasCustomPrompt="1"/>
          </p:nvPr>
        </p:nvSpPr>
        <p:spPr>
          <a:xfrm>
            <a:off x="252413" y="4066302"/>
            <a:ext cx="4178299"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4" name="Text Placeholder 2"/>
          <p:cNvSpPr>
            <a:spLocks noGrp="1"/>
          </p:cNvSpPr>
          <p:nvPr>
            <p:ph type="body" idx="16"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cxnSp>
        <p:nvCxnSpPr>
          <p:cNvPr id="13" name="Straight Connector 12"/>
          <p:cNvCxnSpPr/>
          <p:nvPr userDrawn="1"/>
        </p:nvCxnSpPr>
        <p:spPr>
          <a:xfrm>
            <a:off x="4613516"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52412" y="1203326"/>
            <a:ext cx="4178299"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1"/>
          </p:nvPr>
        </p:nvSpPr>
        <p:spPr>
          <a:xfrm>
            <a:off x="4791074" y="1203326"/>
            <a:ext cx="4100511"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66120652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58055" y="2698483"/>
            <a:ext cx="863353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8" name="Text Placeholder 2"/>
          <p:cNvSpPr>
            <a:spLocks noGrp="1"/>
          </p:cNvSpPr>
          <p:nvPr>
            <p:ph type="body" idx="15"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1" name="Text Placeholder 11"/>
          <p:cNvSpPr>
            <a:spLocks noGrp="1"/>
          </p:cNvSpPr>
          <p:nvPr>
            <p:ph type="body" sz="quarter" idx="13" hasCustomPrompt="1"/>
          </p:nvPr>
        </p:nvSpPr>
        <p:spPr>
          <a:xfrm>
            <a:off x="4791075" y="4413143"/>
            <a:ext cx="4100514"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5" name="Text Placeholder 11"/>
          <p:cNvSpPr>
            <a:spLocks noGrp="1"/>
          </p:cNvSpPr>
          <p:nvPr>
            <p:ph type="body" sz="quarter" idx="16" hasCustomPrompt="1"/>
          </p:nvPr>
        </p:nvSpPr>
        <p:spPr>
          <a:xfrm>
            <a:off x="258055" y="4413143"/>
            <a:ext cx="409487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5" name="Content Placeholder 4"/>
          <p:cNvSpPr>
            <a:spLocks noGrp="1"/>
          </p:cNvSpPr>
          <p:nvPr>
            <p:ph sz="quarter" idx="24"/>
          </p:nvPr>
        </p:nvSpPr>
        <p:spPr>
          <a:xfrm>
            <a:off x="246632" y="1198257"/>
            <a:ext cx="8644953"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25"/>
          </p:nvPr>
        </p:nvSpPr>
        <p:spPr>
          <a:xfrm>
            <a:off x="258055" y="2907433"/>
            <a:ext cx="4094871" cy="1457325"/>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3"/>
          <p:cNvSpPr>
            <a:spLocks noGrp="1"/>
          </p:cNvSpPr>
          <p:nvPr>
            <p:ph sz="quarter" idx="26"/>
          </p:nvPr>
        </p:nvSpPr>
        <p:spPr>
          <a:xfrm>
            <a:off x="4791075" y="2907433"/>
            <a:ext cx="4100514"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153251515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4" name="Text Placeholder 2"/>
          <p:cNvSpPr>
            <a:spLocks noGrp="1"/>
          </p:cNvSpPr>
          <p:nvPr>
            <p:ph type="body" idx="1"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11"/>
          <p:cNvSpPr>
            <a:spLocks noGrp="1"/>
          </p:cNvSpPr>
          <p:nvPr>
            <p:ph type="body" sz="quarter" idx="13" hasCustomPrompt="1"/>
          </p:nvPr>
        </p:nvSpPr>
        <p:spPr>
          <a:xfrm>
            <a:off x="252413" y="406630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6"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26" name="Text Placeholder 11"/>
          <p:cNvSpPr>
            <a:spLocks noGrp="1"/>
          </p:cNvSpPr>
          <p:nvPr>
            <p:ph type="body" sz="quarter" idx="21" hasCustomPrompt="1"/>
          </p:nvPr>
        </p:nvSpPr>
        <p:spPr>
          <a:xfrm>
            <a:off x="6192838" y="406630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9" name="Text Placeholder 11"/>
          <p:cNvSpPr>
            <a:spLocks noGrp="1"/>
          </p:cNvSpPr>
          <p:nvPr>
            <p:ph type="body" sz="quarter" idx="24" hasCustomPrompt="1"/>
          </p:nvPr>
        </p:nvSpPr>
        <p:spPr>
          <a:xfrm>
            <a:off x="3232554" y="406630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3" name="Content Placeholder 2"/>
          <p:cNvSpPr>
            <a:spLocks noGrp="1"/>
          </p:cNvSpPr>
          <p:nvPr>
            <p:ph sz="quarter" idx="32"/>
          </p:nvPr>
        </p:nvSpPr>
        <p:spPr>
          <a:xfrm>
            <a:off x="252414" y="1192752"/>
            <a:ext cx="2698748"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4" y="1192752"/>
            <a:ext cx="2678893" cy="144145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8" y="1192752"/>
            <a:ext cx="2678893" cy="144145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1531498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theme" Target="../theme/theme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theme" Target="../theme/theme6.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image" Target="../media/image1.png"/><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825266A1-ACA2-45E0-B549-E1F4ADB99E8C}"/>
              </a:ext>
            </a:extLst>
          </p:cNvPr>
          <p:cNvSpPr txBox="1"/>
          <p:nvPr userDrawn="1"/>
        </p:nvSpPr>
        <p:spPr>
          <a:xfrm>
            <a:off x="4344604" y="4957405"/>
            <a:ext cx="454791" cy="186095"/>
          </a:xfrm>
          <a:prstGeom prst="rect">
            <a:avLst/>
          </a:prstGeom>
          <a:noFill/>
        </p:spPr>
        <p:txBody>
          <a:bodyPr vert="horz" wrap="square" lIns="0" tIns="0" rIns="0" bIns="0" rtlCol="0" anchor="ctr" anchorCtr="1">
            <a:spAutoFit/>
          </a:bodyPr>
          <a:lstStyle/>
          <a:p>
            <a:pPr algn="ctr">
              <a:spcBef>
                <a:spcPts val="0"/>
              </a:spcBef>
              <a:spcAft>
                <a:spcPts val="0"/>
              </a:spcAft>
            </a:pPr>
            <a:r>
              <a:rPr lang="en-AU" sz="600" dirty="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315486592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79" r:id="rId3"/>
    <p:sldLayoutId id="2147483687" r:id="rId4"/>
    <p:sldLayoutId id="2147483688" r:id="rId5"/>
    <p:sldLayoutId id="2147483689" r:id="rId6"/>
    <p:sldLayoutId id="2147483672" r:id="rId7"/>
    <p:sldLayoutId id="2147483670" r:id="rId8"/>
    <p:sldLayoutId id="2147483671" r:id="rId9"/>
    <p:sldLayoutId id="2147483686" r:id="rId10"/>
    <p:sldLayoutId id="2147483690" r:id="rId11"/>
    <p:sldLayoutId id="2147483680" r:id="rId12"/>
    <p:sldLayoutId id="2147483681" r:id="rId13"/>
    <p:sldLayoutId id="2147483682" r:id="rId14"/>
    <p:sldLayoutId id="2147483683" r:id="rId15"/>
    <p:sldLayoutId id="2147483684" r:id="rId16"/>
    <p:sldLayoutId id="2147483685" r:id="rId17"/>
    <p:sldLayoutId id="2147483691" r:id="rId18"/>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8" y="230188"/>
            <a:ext cx="8633531" cy="369332"/>
          </a:xfrm>
          <a:prstGeom prst="rect">
            <a:avLst/>
          </a:prstGeom>
        </p:spPr>
        <p:txBody>
          <a:bodyPr vert="horz" lIns="0" tIns="0" rIns="0" bIns="0" rtlCol="0" anchor="t">
            <a:noAutofit/>
          </a:bodyPr>
          <a:lstStyle/>
          <a:p>
            <a:r>
              <a:rPr lang="en-US"/>
              <a:t>Click To Edit Title</a:t>
            </a:r>
          </a:p>
        </p:txBody>
      </p:sp>
      <p:sp>
        <p:nvSpPr>
          <p:cNvPr id="11" name="Text Placeholder 2"/>
          <p:cNvSpPr>
            <a:spLocks noGrp="1"/>
          </p:cNvSpPr>
          <p:nvPr>
            <p:ph type="body" idx="1"/>
          </p:nvPr>
        </p:nvSpPr>
        <p:spPr>
          <a:xfrm>
            <a:off x="252415" y="1203326"/>
            <a:ext cx="8639175" cy="3176587"/>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p:nvPicPr>
        <p:blipFill>
          <a:blip r:embed="rId14" cstate="print"/>
          <a:stretch>
            <a:fillRect/>
          </a:stretch>
        </p:blipFill>
        <p:spPr>
          <a:xfrm>
            <a:off x="7067034" y="4494998"/>
            <a:ext cx="2041798" cy="562953"/>
          </a:xfrm>
          <a:prstGeom prst="rect">
            <a:avLst/>
          </a:prstGeom>
        </p:spPr>
      </p:pic>
      <p:sp>
        <p:nvSpPr>
          <p:cNvPr id="4"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E15686C0-1006-4DB4-ACD9-2638223775E7}"/>
              </a:ext>
            </a:extLst>
          </p:cNvPr>
          <p:cNvSpPr txBox="1"/>
          <p:nvPr userDrawn="1"/>
        </p:nvSpPr>
        <p:spPr>
          <a:xfrm>
            <a:off x="4344604" y="4957405"/>
            <a:ext cx="454791" cy="186095"/>
          </a:xfrm>
          <a:prstGeom prst="rect">
            <a:avLst/>
          </a:prstGeom>
          <a:noFill/>
        </p:spPr>
        <p:txBody>
          <a:bodyPr vert="horz" wrap="square" lIns="0" tIns="0" rIns="0" bIns="0" rtlCol="0" anchor="ctr" anchorCtr="1">
            <a:spAutoFit/>
          </a:bodyPr>
          <a:lstStyle/>
          <a:p>
            <a:pPr algn="ctr">
              <a:spcBef>
                <a:spcPts val="0"/>
              </a:spcBef>
              <a:spcAft>
                <a:spcPts val="0"/>
              </a:spcAft>
            </a:pPr>
            <a:r>
              <a:rPr lang="en-AU" sz="600" dirty="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3596426512"/>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Lst>
  <p:hf hdr="0" dt="0"/>
  <p:txStyles>
    <p:titleStyle>
      <a:lvl1pPr algn="l" defTabSz="457172" rtl="0" eaLnBrk="1" latinLnBrk="0" hangingPunct="1">
        <a:spcBef>
          <a:spcPct val="0"/>
        </a:spcBef>
        <a:buNone/>
        <a:defRPr sz="2400" kern="1200">
          <a:solidFill>
            <a:srgbClr val="36C746"/>
          </a:solidFill>
          <a:latin typeface="Arial"/>
          <a:ea typeface="+mj-ea"/>
          <a:cs typeface="Arial"/>
        </a:defRPr>
      </a:lvl1pPr>
    </p:titleStyle>
    <p:bodyStyle>
      <a:lvl1pPr marL="173028" indent="-157154" algn="l" defTabSz="457172"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29" indent="-182552" algn="l" defTabSz="447648"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30" indent="-179378" algn="l" defTabSz="457172"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095" indent="-179378" algn="l" defTabSz="457172"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884" indent="-185726" algn="l" defTabSz="457172"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57" indent="-182870" algn="l" defTabSz="457172"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57" indent="-182870" algn="l" defTabSz="457172"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793" indent="-228587" algn="l" defTabSz="457172" rtl="0" eaLnBrk="1" latinLnBrk="0" hangingPunct="1">
        <a:spcBef>
          <a:spcPct val="20000"/>
        </a:spcBef>
        <a:buFont typeface="Arial"/>
        <a:buChar char="•"/>
        <a:defRPr sz="2000" kern="1200">
          <a:solidFill>
            <a:schemeClr val="tx1"/>
          </a:solidFill>
          <a:latin typeface="+mn-lt"/>
          <a:ea typeface="+mn-ea"/>
          <a:cs typeface="+mn-cs"/>
        </a:defRPr>
      </a:lvl8pPr>
      <a:lvl9pPr marL="3885966" indent="-228587" algn="l" defTabSz="45717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2" rtl="0" eaLnBrk="1" latinLnBrk="0" hangingPunct="1">
        <a:defRPr sz="1800" kern="1200">
          <a:solidFill>
            <a:schemeClr val="tx1"/>
          </a:solidFill>
          <a:latin typeface="+mn-lt"/>
          <a:ea typeface="+mn-ea"/>
          <a:cs typeface="+mn-cs"/>
        </a:defRPr>
      </a:lvl1pPr>
      <a:lvl2pPr marL="457172" algn="l" defTabSz="457172" rtl="0" eaLnBrk="1" latinLnBrk="0" hangingPunct="1">
        <a:defRPr sz="1800" kern="1200">
          <a:solidFill>
            <a:schemeClr val="tx1"/>
          </a:solidFill>
          <a:latin typeface="+mn-lt"/>
          <a:ea typeface="+mn-ea"/>
          <a:cs typeface="+mn-cs"/>
        </a:defRPr>
      </a:lvl2pPr>
      <a:lvl3pPr marL="914345" algn="l" defTabSz="457172" rtl="0" eaLnBrk="1" latinLnBrk="0" hangingPunct="1">
        <a:defRPr sz="1800" kern="1200">
          <a:solidFill>
            <a:schemeClr val="tx1"/>
          </a:solidFill>
          <a:latin typeface="+mn-lt"/>
          <a:ea typeface="+mn-ea"/>
          <a:cs typeface="+mn-cs"/>
        </a:defRPr>
      </a:lvl3pPr>
      <a:lvl4pPr marL="1371518" algn="l" defTabSz="457172" rtl="0" eaLnBrk="1" latinLnBrk="0" hangingPunct="1">
        <a:defRPr sz="1800" kern="1200">
          <a:solidFill>
            <a:schemeClr val="tx1"/>
          </a:solidFill>
          <a:latin typeface="+mn-lt"/>
          <a:ea typeface="+mn-ea"/>
          <a:cs typeface="+mn-cs"/>
        </a:defRPr>
      </a:lvl4pPr>
      <a:lvl5pPr marL="1828691" algn="l" defTabSz="457172" rtl="0" eaLnBrk="1" latinLnBrk="0" hangingPunct="1">
        <a:defRPr sz="1800" kern="1200">
          <a:solidFill>
            <a:schemeClr val="tx1"/>
          </a:solidFill>
          <a:latin typeface="+mn-lt"/>
          <a:ea typeface="+mn-ea"/>
          <a:cs typeface="+mn-cs"/>
        </a:defRPr>
      </a:lvl5pPr>
      <a:lvl6pPr marL="2285862" algn="l" defTabSz="457172" rtl="0" eaLnBrk="1" latinLnBrk="0" hangingPunct="1">
        <a:defRPr sz="1800" kern="1200">
          <a:solidFill>
            <a:schemeClr val="tx1"/>
          </a:solidFill>
          <a:latin typeface="+mn-lt"/>
          <a:ea typeface="+mn-ea"/>
          <a:cs typeface="+mn-cs"/>
        </a:defRPr>
      </a:lvl6pPr>
      <a:lvl7pPr marL="2743034" algn="l" defTabSz="457172" rtl="0" eaLnBrk="1" latinLnBrk="0" hangingPunct="1">
        <a:defRPr sz="1800" kern="1200">
          <a:solidFill>
            <a:schemeClr val="tx1"/>
          </a:solidFill>
          <a:latin typeface="+mn-lt"/>
          <a:ea typeface="+mn-ea"/>
          <a:cs typeface="+mn-cs"/>
        </a:defRPr>
      </a:lvl7pPr>
      <a:lvl8pPr marL="3200207" algn="l" defTabSz="457172" rtl="0" eaLnBrk="1" latinLnBrk="0" hangingPunct="1">
        <a:defRPr sz="1800" kern="1200">
          <a:solidFill>
            <a:schemeClr val="tx1"/>
          </a:solidFill>
          <a:latin typeface="+mn-lt"/>
          <a:ea typeface="+mn-ea"/>
          <a:cs typeface="+mn-cs"/>
        </a:defRPr>
      </a:lvl8pPr>
      <a:lvl9pPr marL="3657380" algn="l" defTabSz="45717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6CBD4508-B8A9-4371-9103-023978D947CC}"/>
              </a:ext>
            </a:extLst>
          </p:cNvPr>
          <p:cNvSpPr txBox="1"/>
          <p:nvPr userDrawn="1"/>
        </p:nvSpPr>
        <p:spPr>
          <a:xfrm>
            <a:off x="4344604" y="4957405"/>
            <a:ext cx="454791" cy="186095"/>
          </a:xfrm>
          <a:prstGeom prst="rect">
            <a:avLst/>
          </a:prstGeom>
          <a:noFill/>
        </p:spPr>
        <p:txBody>
          <a:bodyPr vert="horz" wrap="square" lIns="0" tIns="0" rIns="0" bIns="0" rtlCol="0" anchor="ctr" anchorCtr="1">
            <a:spAutoFit/>
          </a:bodyPr>
          <a:lstStyle/>
          <a:p>
            <a:pPr algn="ctr">
              <a:spcBef>
                <a:spcPts val="0"/>
              </a:spcBef>
              <a:spcAft>
                <a:spcPts val="0"/>
              </a:spcAft>
            </a:pPr>
            <a:r>
              <a:rPr lang="en-US" sz="600" dirty="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2855639135"/>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Lst>
  <p:hf hdr="0" dt="0"/>
  <p:txStyles>
    <p:titleStyle>
      <a:lvl1pPr algn="ctr" defTabSz="457184" rtl="0" eaLnBrk="1" latinLnBrk="0" hangingPunct="1">
        <a:spcBef>
          <a:spcPct val="0"/>
        </a:spcBef>
        <a:buNone/>
        <a:defRPr sz="4400" kern="1200">
          <a:solidFill>
            <a:schemeClr val="tx1"/>
          </a:solidFill>
          <a:latin typeface="+mj-lt"/>
          <a:ea typeface="+mj-ea"/>
          <a:cs typeface="+mj-cs"/>
        </a:defRPr>
      </a:lvl1pPr>
    </p:titleStyle>
    <p:bodyStyle>
      <a:lvl1pPr marL="342888" indent="-342888" algn="l" defTabSz="457184" rtl="0" eaLnBrk="1" latinLnBrk="0" hangingPunct="1">
        <a:spcBef>
          <a:spcPct val="20000"/>
        </a:spcBef>
        <a:buFont typeface="Arial"/>
        <a:buChar char="•"/>
        <a:defRPr sz="3200" kern="1200">
          <a:solidFill>
            <a:schemeClr val="tx1"/>
          </a:solidFill>
          <a:latin typeface="+mn-lt"/>
          <a:ea typeface="+mn-ea"/>
          <a:cs typeface="+mn-cs"/>
        </a:defRPr>
      </a:lvl1pPr>
      <a:lvl2pPr marL="742924" indent="-285740" algn="l" defTabSz="457184" rtl="0" eaLnBrk="1" latinLnBrk="0" hangingPunct="1">
        <a:spcBef>
          <a:spcPct val="20000"/>
        </a:spcBef>
        <a:buFont typeface="Arial"/>
        <a:buChar char="–"/>
        <a:defRPr sz="2800" kern="1200">
          <a:solidFill>
            <a:schemeClr val="tx1"/>
          </a:solidFill>
          <a:latin typeface="+mn-lt"/>
          <a:ea typeface="+mn-ea"/>
          <a:cs typeface="+mn-cs"/>
        </a:defRPr>
      </a:lvl2pPr>
      <a:lvl3pPr marL="1142960" indent="-228592" algn="l" defTabSz="457184" rtl="0" eaLnBrk="1" latinLnBrk="0" hangingPunct="1">
        <a:spcBef>
          <a:spcPct val="20000"/>
        </a:spcBef>
        <a:buFont typeface="Arial"/>
        <a:buChar char="•"/>
        <a:defRPr sz="2400" kern="1200">
          <a:solidFill>
            <a:schemeClr val="tx1"/>
          </a:solidFill>
          <a:latin typeface="+mn-lt"/>
          <a:ea typeface="+mn-ea"/>
          <a:cs typeface="+mn-cs"/>
        </a:defRPr>
      </a:lvl3pPr>
      <a:lvl4pPr marL="1600144" indent="-228592" algn="l" defTabSz="457184" rtl="0" eaLnBrk="1" latinLnBrk="0" hangingPunct="1">
        <a:spcBef>
          <a:spcPct val="20000"/>
        </a:spcBef>
        <a:buFont typeface="Arial"/>
        <a:buChar char="–"/>
        <a:defRPr sz="2000" kern="1200">
          <a:solidFill>
            <a:schemeClr val="tx1"/>
          </a:solidFill>
          <a:latin typeface="+mn-lt"/>
          <a:ea typeface="+mn-ea"/>
          <a:cs typeface="+mn-cs"/>
        </a:defRPr>
      </a:lvl4pPr>
      <a:lvl5pPr marL="2057328" indent="-228592" algn="l" defTabSz="457184" rtl="0" eaLnBrk="1" latinLnBrk="0" hangingPunct="1">
        <a:spcBef>
          <a:spcPct val="20000"/>
        </a:spcBef>
        <a:buFont typeface="Arial"/>
        <a:buChar char="»"/>
        <a:defRPr sz="2000" kern="1200">
          <a:solidFill>
            <a:schemeClr val="tx1"/>
          </a:solidFill>
          <a:latin typeface="+mn-lt"/>
          <a:ea typeface="+mn-ea"/>
          <a:cs typeface="+mn-cs"/>
        </a:defRPr>
      </a:lvl5pPr>
      <a:lvl6pPr marL="2514511" indent="-228592" algn="l" defTabSz="457184" rtl="0" eaLnBrk="1" latinLnBrk="0" hangingPunct="1">
        <a:spcBef>
          <a:spcPct val="20000"/>
        </a:spcBef>
        <a:buFont typeface="Arial"/>
        <a:buChar char="•"/>
        <a:defRPr sz="2000" kern="1200">
          <a:solidFill>
            <a:schemeClr val="tx1"/>
          </a:solidFill>
          <a:latin typeface="+mn-lt"/>
          <a:ea typeface="+mn-ea"/>
          <a:cs typeface="+mn-cs"/>
        </a:defRPr>
      </a:lvl6pPr>
      <a:lvl7pPr marL="2971695" indent="-228592" algn="l" defTabSz="457184" rtl="0" eaLnBrk="1" latinLnBrk="0" hangingPunct="1">
        <a:spcBef>
          <a:spcPct val="20000"/>
        </a:spcBef>
        <a:buFont typeface="Arial"/>
        <a:buChar char="•"/>
        <a:defRPr sz="2000" kern="1200">
          <a:solidFill>
            <a:schemeClr val="tx1"/>
          </a:solidFill>
          <a:latin typeface="+mn-lt"/>
          <a:ea typeface="+mn-ea"/>
          <a:cs typeface="+mn-cs"/>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85DD267A-E644-4ABB-BA20-5C29FA089340}"/>
              </a:ext>
            </a:extLst>
          </p:cNvPr>
          <p:cNvSpPr txBox="1"/>
          <p:nvPr userDrawn="1"/>
        </p:nvSpPr>
        <p:spPr>
          <a:xfrm>
            <a:off x="4344604" y="4957405"/>
            <a:ext cx="454791" cy="186095"/>
          </a:xfrm>
          <a:prstGeom prst="rect">
            <a:avLst/>
          </a:prstGeom>
          <a:noFill/>
        </p:spPr>
        <p:txBody>
          <a:bodyPr vert="horz" wrap="square" lIns="0" tIns="0" rIns="0" bIns="0" rtlCol="0" anchor="ctr" anchorCtr="1">
            <a:spAutoFit/>
          </a:bodyPr>
          <a:lstStyle/>
          <a:p>
            <a:pPr algn="ctr">
              <a:spcBef>
                <a:spcPts val="0"/>
              </a:spcBef>
              <a:spcAft>
                <a:spcPts val="0"/>
              </a:spcAft>
            </a:pPr>
            <a:r>
              <a:rPr lang="en-AU" sz="600" b="1" dirty="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1448321125"/>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Lst>
  <p:hf hdr="0" dt="0"/>
  <p:txStyles>
    <p:titleStyle>
      <a:lvl1pPr algn="ctr" defTabSz="457172" rtl="0" eaLnBrk="1" latinLnBrk="0" hangingPunct="1">
        <a:spcBef>
          <a:spcPct val="0"/>
        </a:spcBef>
        <a:buNone/>
        <a:defRPr sz="4400" kern="1200">
          <a:solidFill>
            <a:schemeClr val="tx1"/>
          </a:solidFill>
          <a:latin typeface="+mj-lt"/>
          <a:ea typeface="+mj-ea"/>
          <a:cs typeface="+mj-cs"/>
        </a:defRPr>
      </a:lvl1pPr>
    </p:titleStyle>
    <p:bodyStyle>
      <a:lvl1pPr marL="342880" indent="-342880" algn="l" defTabSz="457172" rtl="0" eaLnBrk="1" latinLnBrk="0" hangingPunct="1">
        <a:spcBef>
          <a:spcPct val="20000"/>
        </a:spcBef>
        <a:buFont typeface="Arial"/>
        <a:buChar char="•"/>
        <a:defRPr sz="3200" kern="1200">
          <a:solidFill>
            <a:schemeClr val="tx1"/>
          </a:solidFill>
          <a:latin typeface="+mn-lt"/>
          <a:ea typeface="+mn-ea"/>
          <a:cs typeface="+mn-cs"/>
        </a:defRPr>
      </a:lvl1pPr>
      <a:lvl2pPr marL="742906" indent="-285733" algn="l" defTabSz="457172" rtl="0" eaLnBrk="1" latinLnBrk="0" hangingPunct="1">
        <a:spcBef>
          <a:spcPct val="20000"/>
        </a:spcBef>
        <a:buFont typeface="Arial"/>
        <a:buChar char="–"/>
        <a:defRPr sz="2800" kern="1200">
          <a:solidFill>
            <a:schemeClr val="tx1"/>
          </a:solidFill>
          <a:latin typeface="+mn-lt"/>
          <a:ea typeface="+mn-ea"/>
          <a:cs typeface="+mn-cs"/>
        </a:defRPr>
      </a:lvl2pPr>
      <a:lvl3pPr marL="1142932" indent="-228587" algn="l" defTabSz="457172" rtl="0" eaLnBrk="1" latinLnBrk="0" hangingPunct="1">
        <a:spcBef>
          <a:spcPct val="20000"/>
        </a:spcBef>
        <a:buFont typeface="Arial"/>
        <a:buChar char="•"/>
        <a:defRPr sz="2400" kern="1200">
          <a:solidFill>
            <a:schemeClr val="tx1"/>
          </a:solidFill>
          <a:latin typeface="+mn-lt"/>
          <a:ea typeface="+mn-ea"/>
          <a:cs typeface="+mn-cs"/>
        </a:defRPr>
      </a:lvl3pPr>
      <a:lvl4pPr marL="1600104" indent="-228587" algn="l" defTabSz="457172" rtl="0" eaLnBrk="1" latinLnBrk="0" hangingPunct="1">
        <a:spcBef>
          <a:spcPct val="20000"/>
        </a:spcBef>
        <a:buFont typeface="Arial"/>
        <a:buChar char="–"/>
        <a:defRPr sz="2000" kern="1200">
          <a:solidFill>
            <a:schemeClr val="tx1"/>
          </a:solidFill>
          <a:latin typeface="+mn-lt"/>
          <a:ea typeface="+mn-ea"/>
          <a:cs typeface="+mn-cs"/>
        </a:defRPr>
      </a:lvl4pPr>
      <a:lvl5pPr marL="2057276" indent="-228587" algn="l" defTabSz="457172" rtl="0" eaLnBrk="1" latinLnBrk="0" hangingPunct="1">
        <a:spcBef>
          <a:spcPct val="20000"/>
        </a:spcBef>
        <a:buFont typeface="Arial"/>
        <a:buChar char="»"/>
        <a:defRPr sz="2000" kern="1200">
          <a:solidFill>
            <a:schemeClr val="tx1"/>
          </a:solidFill>
          <a:latin typeface="+mn-lt"/>
          <a:ea typeface="+mn-ea"/>
          <a:cs typeface="+mn-cs"/>
        </a:defRPr>
      </a:lvl5pPr>
      <a:lvl6pPr marL="2514449" indent="-228587" algn="l" defTabSz="457172" rtl="0" eaLnBrk="1" latinLnBrk="0" hangingPunct="1">
        <a:spcBef>
          <a:spcPct val="20000"/>
        </a:spcBef>
        <a:buFont typeface="Arial"/>
        <a:buChar char="•"/>
        <a:defRPr sz="2000" kern="1200">
          <a:solidFill>
            <a:schemeClr val="tx1"/>
          </a:solidFill>
          <a:latin typeface="+mn-lt"/>
          <a:ea typeface="+mn-ea"/>
          <a:cs typeface="+mn-cs"/>
        </a:defRPr>
      </a:lvl6pPr>
      <a:lvl7pPr marL="2971621" indent="-228587" algn="l" defTabSz="457172" rtl="0" eaLnBrk="1" latinLnBrk="0" hangingPunct="1">
        <a:spcBef>
          <a:spcPct val="20000"/>
        </a:spcBef>
        <a:buFont typeface="Arial"/>
        <a:buChar char="•"/>
        <a:defRPr sz="2000" kern="1200">
          <a:solidFill>
            <a:schemeClr val="tx1"/>
          </a:solidFill>
          <a:latin typeface="+mn-lt"/>
          <a:ea typeface="+mn-ea"/>
          <a:cs typeface="+mn-cs"/>
        </a:defRPr>
      </a:lvl7pPr>
      <a:lvl8pPr marL="3428793" indent="-228587" algn="l" defTabSz="457172" rtl="0" eaLnBrk="1" latinLnBrk="0" hangingPunct="1">
        <a:spcBef>
          <a:spcPct val="20000"/>
        </a:spcBef>
        <a:buFont typeface="Arial"/>
        <a:buChar char="•"/>
        <a:defRPr sz="2000" kern="1200">
          <a:solidFill>
            <a:schemeClr val="tx1"/>
          </a:solidFill>
          <a:latin typeface="+mn-lt"/>
          <a:ea typeface="+mn-ea"/>
          <a:cs typeface="+mn-cs"/>
        </a:defRPr>
      </a:lvl8pPr>
      <a:lvl9pPr marL="3885966" indent="-228587" algn="l" defTabSz="45717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2" rtl="0" eaLnBrk="1" latinLnBrk="0" hangingPunct="1">
        <a:defRPr sz="1800" kern="1200">
          <a:solidFill>
            <a:schemeClr val="tx1"/>
          </a:solidFill>
          <a:latin typeface="+mn-lt"/>
          <a:ea typeface="+mn-ea"/>
          <a:cs typeface="+mn-cs"/>
        </a:defRPr>
      </a:lvl1pPr>
      <a:lvl2pPr marL="457172" algn="l" defTabSz="457172" rtl="0" eaLnBrk="1" latinLnBrk="0" hangingPunct="1">
        <a:defRPr sz="1800" kern="1200">
          <a:solidFill>
            <a:schemeClr val="tx1"/>
          </a:solidFill>
          <a:latin typeface="+mn-lt"/>
          <a:ea typeface="+mn-ea"/>
          <a:cs typeface="+mn-cs"/>
        </a:defRPr>
      </a:lvl2pPr>
      <a:lvl3pPr marL="914345" algn="l" defTabSz="457172" rtl="0" eaLnBrk="1" latinLnBrk="0" hangingPunct="1">
        <a:defRPr sz="1800" kern="1200">
          <a:solidFill>
            <a:schemeClr val="tx1"/>
          </a:solidFill>
          <a:latin typeface="+mn-lt"/>
          <a:ea typeface="+mn-ea"/>
          <a:cs typeface="+mn-cs"/>
        </a:defRPr>
      </a:lvl3pPr>
      <a:lvl4pPr marL="1371518" algn="l" defTabSz="457172" rtl="0" eaLnBrk="1" latinLnBrk="0" hangingPunct="1">
        <a:defRPr sz="1800" kern="1200">
          <a:solidFill>
            <a:schemeClr val="tx1"/>
          </a:solidFill>
          <a:latin typeface="+mn-lt"/>
          <a:ea typeface="+mn-ea"/>
          <a:cs typeface="+mn-cs"/>
        </a:defRPr>
      </a:lvl4pPr>
      <a:lvl5pPr marL="1828691" algn="l" defTabSz="457172" rtl="0" eaLnBrk="1" latinLnBrk="0" hangingPunct="1">
        <a:defRPr sz="1800" kern="1200">
          <a:solidFill>
            <a:schemeClr val="tx1"/>
          </a:solidFill>
          <a:latin typeface="+mn-lt"/>
          <a:ea typeface="+mn-ea"/>
          <a:cs typeface="+mn-cs"/>
        </a:defRPr>
      </a:lvl5pPr>
      <a:lvl6pPr marL="2285862" algn="l" defTabSz="457172" rtl="0" eaLnBrk="1" latinLnBrk="0" hangingPunct="1">
        <a:defRPr sz="1800" kern="1200">
          <a:solidFill>
            <a:schemeClr val="tx1"/>
          </a:solidFill>
          <a:latin typeface="+mn-lt"/>
          <a:ea typeface="+mn-ea"/>
          <a:cs typeface="+mn-cs"/>
        </a:defRPr>
      </a:lvl6pPr>
      <a:lvl7pPr marL="2743034" algn="l" defTabSz="457172" rtl="0" eaLnBrk="1" latinLnBrk="0" hangingPunct="1">
        <a:defRPr sz="1800" kern="1200">
          <a:solidFill>
            <a:schemeClr val="tx1"/>
          </a:solidFill>
          <a:latin typeface="+mn-lt"/>
          <a:ea typeface="+mn-ea"/>
          <a:cs typeface="+mn-cs"/>
        </a:defRPr>
      </a:lvl7pPr>
      <a:lvl8pPr marL="3200207" algn="l" defTabSz="457172" rtl="0" eaLnBrk="1" latinLnBrk="0" hangingPunct="1">
        <a:defRPr sz="1800" kern="1200">
          <a:solidFill>
            <a:schemeClr val="tx1"/>
          </a:solidFill>
          <a:latin typeface="+mn-lt"/>
          <a:ea typeface="+mn-ea"/>
          <a:cs typeface="+mn-cs"/>
        </a:defRPr>
      </a:lvl8pPr>
      <a:lvl9pPr marL="3657380" algn="l" defTabSz="45717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6CBD4508-B8A9-4371-9103-023978D947CC}"/>
              </a:ext>
            </a:extLst>
          </p:cNvPr>
          <p:cNvSpPr txBox="1"/>
          <p:nvPr userDrawn="1"/>
        </p:nvSpPr>
        <p:spPr>
          <a:xfrm>
            <a:off x="4344604" y="4957405"/>
            <a:ext cx="454791" cy="186095"/>
          </a:xfrm>
          <a:prstGeom prst="rect">
            <a:avLst/>
          </a:prstGeom>
          <a:noFill/>
        </p:spPr>
        <p:txBody>
          <a:bodyPr vert="horz" wrap="square" lIns="0" tIns="0" rIns="0" bIns="0" rtlCol="0" anchor="ctr" anchorCtr="1">
            <a:spAutoFit/>
          </a:bodyPr>
          <a:lstStyle/>
          <a:p>
            <a:pPr algn="ctr">
              <a:spcBef>
                <a:spcPts val="0"/>
              </a:spcBef>
              <a:spcAft>
                <a:spcPts val="0"/>
              </a:spcAft>
            </a:pPr>
            <a:r>
              <a:rPr lang="en-US" sz="600" dirty="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2623140664"/>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Lst>
  <p:hf hdr="0" dt="0"/>
  <p:txStyles>
    <p:titleStyle>
      <a:lvl1pPr algn="ctr" defTabSz="457184" rtl="0" eaLnBrk="1" latinLnBrk="0" hangingPunct="1">
        <a:spcBef>
          <a:spcPct val="0"/>
        </a:spcBef>
        <a:buNone/>
        <a:defRPr sz="4400" kern="1200">
          <a:solidFill>
            <a:schemeClr val="tx1"/>
          </a:solidFill>
          <a:latin typeface="+mj-lt"/>
          <a:ea typeface="+mj-ea"/>
          <a:cs typeface="+mj-cs"/>
        </a:defRPr>
      </a:lvl1pPr>
    </p:titleStyle>
    <p:bodyStyle>
      <a:lvl1pPr marL="342888" indent="-342888" algn="l" defTabSz="457184" rtl="0" eaLnBrk="1" latinLnBrk="0" hangingPunct="1">
        <a:spcBef>
          <a:spcPct val="20000"/>
        </a:spcBef>
        <a:buFont typeface="Arial"/>
        <a:buChar char="•"/>
        <a:defRPr sz="3200" kern="1200">
          <a:solidFill>
            <a:schemeClr val="tx1"/>
          </a:solidFill>
          <a:latin typeface="+mn-lt"/>
          <a:ea typeface="+mn-ea"/>
          <a:cs typeface="+mn-cs"/>
        </a:defRPr>
      </a:lvl1pPr>
      <a:lvl2pPr marL="742924" indent="-285740" algn="l" defTabSz="457184" rtl="0" eaLnBrk="1" latinLnBrk="0" hangingPunct="1">
        <a:spcBef>
          <a:spcPct val="20000"/>
        </a:spcBef>
        <a:buFont typeface="Arial"/>
        <a:buChar char="–"/>
        <a:defRPr sz="2800" kern="1200">
          <a:solidFill>
            <a:schemeClr val="tx1"/>
          </a:solidFill>
          <a:latin typeface="+mn-lt"/>
          <a:ea typeface="+mn-ea"/>
          <a:cs typeface="+mn-cs"/>
        </a:defRPr>
      </a:lvl2pPr>
      <a:lvl3pPr marL="1142960" indent="-228592" algn="l" defTabSz="457184" rtl="0" eaLnBrk="1" latinLnBrk="0" hangingPunct="1">
        <a:spcBef>
          <a:spcPct val="20000"/>
        </a:spcBef>
        <a:buFont typeface="Arial"/>
        <a:buChar char="•"/>
        <a:defRPr sz="2400" kern="1200">
          <a:solidFill>
            <a:schemeClr val="tx1"/>
          </a:solidFill>
          <a:latin typeface="+mn-lt"/>
          <a:ea typeface="+mn-ea"/>
          <a:cs typeface="+mn-cs"/>
        </a:defRPr>
      </a:lvl3pPr>
      <a:lvl4pPr marL="1600144" indent="-228592" algn="l" defTabSz="457184" rtl="0" eaLnBrk="1" latinLnBrk="0" hangingPunct="1">
        <a:spcBef>
          <a:spcPct val="20000"/>
        </a:spcBef>
        <a:buFont typeface="Arial"/>
        <a:buChar char="–"/>
        <a:defRPr sz="2000" kern="1200">
          <a:solidFill>
            <a:schemeClr val="tx1"/>
          </a:solidFill>
          <a:latin typeface="+mn-lt"/>
          <a:ea typeface="+mn-ea"/>
          <a:cs typeface="+mn-cs"/>
        </a:defRPr>
      </a:lvl4pPr>
      <a:lvl5pPr marL="2057328" indent="-228592" algn="l" defTabSz="457184" rtl="0" eaLnBrk="1" latinLnBrk="0" hangingPunct="1">
        <a:spcBef>
          <a:spcPct val="20000"/>
        </a:spcBef>
        <a:buFont typeface="Arial"/>
        <a:buChar char="»"/>
        <a:defRPr sz="2000" kern="1200">
          <a:solidFill>
            <a:schemeClr val="tx1"/>
          </a:solidFill>
          <a:latin typeface="+mn-lt"/>
          <a:ea typeface="+mn-ea"/>
          <a:cs typeface="+mn-cs"/>
        </a:defRPr>
      </a:lvl5pPr>
      <a:lvl6pPr marL="2514511" indent="-228592" algn="l" defTabSz="457184" rtl="0" eaLnBrk="1" latinLnBrk="0" hangingPunct="1">
        <a:spcBef>
          <a:spcPct val="20000"/>
        </a:spcBef>
        <a:buFont typeface="Arial"/>
        <a:buChar char="•"/>
        <a:defRPr sz="2000" kern="1200">
          <a:solidFill>
            <a:schemeClr val="tx1"/>
          </a:solidFill>
          <a:latin typeface="+mn-lt"/>
          <a:ea typeface="+mn-ea"/>
          <a:cs typeface="+mn-cs"/>
        </a:defRPr>
      </a:lvl6pPr>
      <a:lvl7pPr marL="2971695" indent="-228592" algn="l" defTabSz="457184" rtl="0" eaLnBrk="1" latinLnBrk="0" hangingPunct="1">
        <a:spcBef>
          <a:spcPct val="20000"/>
        </a:spcBef>
        <a:buFont typeface="Arial"/>
        <a:buChar char="•"/>
        <a:defRPr sz="2000" kern="1200">
          <a:solidFill>
            <a:schemeClr val="tx1"/>
          </a:solidFill>
          <a:latin typeface="+mn-lt"/>
          <a:ea typeface="+mn-ea"/>
          <a:cs typeface="+mn-cs"/>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6" y="230188"/>
            <a:ext cx="8633531" cy="369332"/>
          </a:xfrm>
          <a:prstGeom prst="rect">
            <a:avLst/>
          </a:prstGeom>
        </p:spPr>
        <p:txBody>
          <a:bodyPr vert="horz" lIns="0" tIns="0" rIns="0" bIns="0" rtlCol="0" anchor="t">
            <a:spAutoFit/>
          </a:bodyPr>
          <a:lstStyle/>
          <a:p>
            <a:r>
              <a:rPr lang="en-US" dirty="0"/>
              <a:t>Click To Edit Master Title Style</a:t>
            </a:r>
          </a:p>
        </p:txBody>
      </p:sp>
      <p:pic>
        <p:nvPicPr>
          <p:cNvPr id="10" name="Picture 9" descr="schneider_LIO_Life-Green_RGB.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11" name="Text Placeholder 2"/>
          <p:cNvSpPr>
            <a:spLocks noGrp="1"/>
          </p:cNvSpPr>
          <p:nvPr>
            <p:ph type="body" idx="1"/>
          </p:nvPr>
        </p:nvSpPr>
        <p:spPr>
          <a:xfrm>
            <a:off x="252413" y="1203326"/>
            <a:ext cx="8639175" cy="1985159"/>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3"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B9E20837-FB80-408C-9B9F-CAC1E820AEF6}"/>
              </a:ext>
            </a:extLst>
          </p:cNvPr>
          <p:cNvSpPr txBox="1"/>
          <p:nvPr userDrawn="1"/>
        </p:nvSpPr>
        <p:spPr>
          <a:xfrm>
            <a:off x="4344604" y="4957405"/>
            <a:ext cx="454791" cy="186095"/>
          </a:xfrm>
          <a:prstGeom prst="rect">
            <a:avLst/>
          </a:prstGeom>
          <a:noFill/>
        </p:spPr>
        <p:txBody>
          <a:bodyPr vert="horz" wrap="square" lIns="0" tIns="0" rIns="0" bIns="0" rtlCol="0" anchor="ctr" anchorCtr="1">
            <a:spAutoFit/>
          </a:bodyPr>
          <a:lstStyle/>
          <a:p>
            <a:pPr algn="ctr">
              <a:spcBef>
                <a:spcPts val="0"/>
              </a:spcBef>
              <a:spcAft>
                <a:spcPts val="0"/>
              </a:spcAft>
            </a:pPr>
            <a:r>
              <a:rPr lang="en-AU" sz="60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2982816753"/>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Lst>
  <p:hf hdr="0" dt="0"/>
  <p:txStyles>
    <p:titleStyle>
      <a:lvl1pPr algn="l" defTabSz="457200" rtl="0" eaLnBrk="1" latinLnBrk="0" hangingPunct="1">
        <a:spcBef>
          <a:spcPct val="0"/>
        </a:spcBef>
        <a:buNone/>
        <a:defRPr sz="2400" kern="1200">
          <a:solidFill>
            <a:srgbClr val="36C746"/>
          </a:solidFill>
          <a:latin typeface="Arial"/>
          <a:ea typeface="+mj-ea"/>
          <a:cs typeface="Arial"/>
        </a:defRPr>
      </a:lvl1pPr>
    </p:titleStyle>
    <p:body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eg"/><Relationship Id="rId1" Type="http://schemas.openxmlformats.org/officeDocument/2006/relationships/slideLayout" Target="../slideLayouts/slideLayout107.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eg"/><Relationship Id="rId1" Type="http://schemas.openxmlformats.org/officeDocument/2006/relationships/slideLayout" Target="../slideLayouts/slideLayout10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6.xml"/><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7.jpeg"/><Relationship Id="rId1" Type="http://schemas.openxmlformats.org/officeDocument/2006/relationships/slideLayout" Target="../slideLayouts/slideLayout10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5">
            <a:extLst>
              <a:ext uri="{FF2B5EF4-FFF2-40B4-BE49-F238E27FC236}">
                <a16:creationId xmlns:a16="http://schemas.microsoft.com/office/drawing/2014/main" id="{8B7FDC75-4E6D-C145-B011-3E5DC48E01F0}"/>
              </a:ext>
            </a:extLst>
          </p:cNvPr>
          <p:cNvPicPr>
            <a:picLocks noChangeAspect="1"/>
          </p:cNvPicPr>
          <p:nvPr/>
        </p:nvPicPr>
        <p:blipFill rotWithShape="1">
          <a:blip r:embed="rId3"/>
          <a:srcRect l="680" t="24041" r="25905" b="29056"/>
          <a:stretch/>
        </p:blipFill>
        <p:spPr>
          <a:xfrm>
            <a:off x="-2" y="2750"/>
            <a:ext cx="9144001" cy="4381498"/>
          </a:xfrm>
          <a:prstGeom prst="rect">
            <a:avLst/>
          </a:prstGeom>
          <a:solidFill>
            <a:srgbClr val="8E8F93">
              <a:alpha val="20000"/>
            </a:srgbClr>
          </a:solidFill>
        </p:spPr>
      </p:pic>
      <p:sp>
        <p:nvSpPr>
          <p:cNvPr id="12" name="Rectangle 11">
            <a:extLst>
              <a:ext uri="{FF2B5EF4-FFF2-40B4-BE49-F238E27FC236}">
                <a16:creationId xmlns:a16="http://schemas.microsoft.com/office/drawing/2014/main" id="{7F1AEEEE-4DF9-2343-8AAB-BBFA70353585}"/>
              </a:ext>
            </a:extLst>
          </p:cNvPr>
          <p:cNvSpPr/>
          <p:nvPr/>
        </p:nvSpPr>
        <p:spPr>
          <a:xfrm>
            <a:off x="-1" y="1543135"/>
            <a:ext cx="9144001" cy="2841113"/>
          </a:xfrm>
          <a:prstGeom prst="rect">
            <a:avLst/>
          </a:prstGeom>
          <a:gradFill>
            <a:gsLst>
              <a:gs pos="0">
                <a:schemeClr val="tx1">
                  <a:lumMod val="0"/>
                </a:schemeClr>
              </a:gs>
              <a:gs pos="100000">
                <a:schemeClr val="accent1">
                  <a:tint val="50000"/>
                  <a:shade val="100000"/>
                  <a:satMod val="350000"/>
                  <a:alpha val="0"/>
                  <a:lumMod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Rectangle 8"/>
          <p:cNvSpPr/>
          <p:nvPr/>
        </p:nvSpPr>
        <p:spPr>
          <a:xfrm>
            <a:off x="-1" y="1540386"/>
            <a:ext cx="9144001" cy="2841113"/>
          </a:xfrm>
          <a:prstGeom prst="rect">
            <a:avLst/>
          </a:prstGeom>
          <a:gradFill>
            <a:gsLst>
              <a:gs pos="0">
                <a:schemeClr val="tx1">
                  <a:lumMod val="0"/>
                </a:schemeClr>
              </a:gs>
              <a:gs pos="100000">
                <a:schemeClr val="accent1">
                  <a:tint val="50000"/>
                  <a:shade val="100000"/>
                  <a:satMod val="350000"/>
                  <a:alpha val="0"/>
                  <a:lumMod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Title 2"/>
          <p:cNvSpPr>
            <a:spLocks noGrp="1"/>
          </p:cNvSpPr>
          <p:nvPr>
            <p:ph type="ctrTitle"/>
          </p:nvPr>
        </p:nvSpPr>
        <p:spPr>
          <a:xfrm>
            <a:off x="252414" y="2788995"/>
            <a:ext cx="8734424" cy="492443"/>
          </a:xfrm>
        </p:spPr>
        <p:txBody>
          <a:bodyPr/>
          <a:lstStyle/>
          <a:p>
            <a:r>
              <a:rPr lang="en-US" sz="3200">
                <a:solidFill>
                  <a:schemeClr val="bg1"/>
                </a:solidFill>
              </a:rPr>
              <a:t>EcoStruxure Transformer Expert</a:t>
            </a:r>
            <a:endParaRPr lang="en-US" dirty="0">
              <a:solidFill>
                <a:schemeClr val="bg1"/>
              </a:solidFill>
            </a:endParaRPr>
          </a:p>
        </p:txBody>
      </p:sp>
      <p:sp>
        <p:nvSpPr>
          <p:cNvPr id="4" name="Subtitle 3"/>
          <p:cNvSpPr>
            <a:spLocks noGrp="1"/>
          </p:cNvSpPr>
          <p:nvPr>
            <p:ph type="subTitle" idx="1"/>
          </p:nvPr>
        </p:nvSpPr>
        <p:spPr>
          <a:xfrm>
            <a:off x="252413" y="3402727"/>
            <a:ext cx="8044919" cy="215444"/>
          </a:xfrm>
        </p:spPr>
        <p:txBody>
          <a:bodyPr wrap="square" lIns="0" tIns="0" rIns="0" bIns="0" anchor="t">
            <a:spAutoFit/>
          </a:bodyPr>
          <a:lstStyle/>
          <a:p>
            <a:r>
              <a:rPr lang="en-US" sz="1400">
                <a:solidFill>
                  <a:srgbClr val="FFFFFF"/>
                </a:solidFill>
              </a:rPr>
              <a:t>Graphical representation of DGA results through the ETE package</a:t>
            </a:r>
            <a:endParaRPr lang="en-US" sz="1400" dirty="0">
              <a:solidFill>
                <a:srgbClr val="FFFFFF"/>
              </a:solidFill>
            </a:endParaRPr>
          </a:p>
        </p:txBody>
      </p:sp>
      <p:sp>
        <p:nvSpPr>
          <p:cNvPr id="7" name="Rectangle 6"/>
          <p:cNvSpPr/>
          <p:nvPr/>
        </p:nvSpPr>
        <p:spPr>
          <a:xfrm flipV="1">
            <a:off x="0" y="3711677"/>
            <a:ext cx="9144000" cy="675319"/>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Text Placeholder 4"/>
          <p:cNvSpPr>
            <a:spLocks noGrp="1"/>
          </p:cNvSpPr>
          <p:nvPr>
            <p:ph type="body" sz="quarter" idx="11"/>
          </p:nvPr>
        </p:nvSpPr>
        <p:spPr>
          <a:xfrm>
            <a:off x="252414" y="3954254"/>
            <a:ext cx="4360862" cy="184666"/>
          </a:xfrm>
        </p:spPr>
        <p:txBody>
          <a:bodyPr/>
          <a:lstStyle/>
          <a:p>
            <a:r>
              <a:rPr lang="en-US" dirty="0"/>
              <a:t>Presented by: Presenter’s Name</a:t>
            </a:r>
          </a:p>
        </p:txBody>
      </p:sp>
      <p:sp>
        <p:nvSpPr>
          <p:cNvPr id="8" name="Footer Placeholder 7"/>
          <p:cNvSpPr>
            <a:spLocks noGrp="1"/>
          </p:cNvSpPr>
          <p:nvPr>
            <p:ph type="ftr" sz="quarter" idx="3"/>
          </p:nvPr>
        </p:nvSpPr>
        <p:spPr/>
        <p:txBody>
          <a:bodyPr/>
          <a:lstStyle/>
          <a:p>
            <a:r>
              <a:rPr lang="en-US"/>
              <a:t>Confidential Property of Schneider Electric</a:t>
            </a:r>
            <a:endParaRPr lang="en-US" dirty="0"/>
          </a:p>
        </p:txBody>
      </p:sp>
    </p:spTree>
    <p:extLst>
      <p:ext uri="{BB962C8B-B14F-4D97-AF65-F5344CB8AC3E}">
        <p14:creationId xmlns:p14="http://schemas.microsoft.com/office/powerpoint/2010/main" val="1229660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Content Placeholder 23">
            <a:extLst>
              <a:ext uri="{FF2B5EF4-FFF2-40B4-BE49-F238E27FC236}">
                <a16:creationId xmlns:a16="http://schemas.microsoft.com/office/drawing/2014/main" id="{8353BDFF-C7A2-4936-8BC1-F81AC48A836B}"/>
              </a:ext>
            </a:extLst>
          </p:cNvPr>
          <p:cNvSpPr>
            <a:spLocks noGrp="1"/>
          </p:cNvSpPr>
          <p:nvPr>
            <p:ph sz="quarter" idx="24"/>
          </p:nvPr>
        </p:nvSpPr>
        <p:spPr>
          <a:xfrm>
            <a:off x="5355432" y="1355240"/>
            <a:ext cx="3544094" cy="2711063"/>
          </a:xfrm>
        </p:spPr>
        <p:txBody>
          <a:bodyPr/>
          <a:lstStyle/>
          <a:p>
            <a:pPr marL="301624" indent="-285750">
              <a:buFont typeface="Arial" panose="020B0604020202020204" pitchFamily="34" charset="0"/>
              <a:buChar char="•"/>
            </a:pPr>
            <a:r>
              <a:rPr lang="en-AU" sz="1400" dirty="0"/>
              <a:t>Only applicable if at least one of the gases is at a concentration above the benchmark value. </a:t>
            </a:r>
          </a:p>
          <a:p>
            <a:pPr marL="301624" indent="-285750">
              <a:buFont typeface="Arial" panose="020B0604020202020204" pitchFamily="34" charset="0"/>
              <a:buChar char="•"/>
            </a:pPr>
            <a:r>
              <a:rPr lang="en-AU" sz="1400" dirty="0"/>
              <a:t>If there are no gases meeting this requirement, the analysis is not applicable.</a:t>
            </a:r>
            <a:endParaRPr lang="en-AU" sz="1400" dirty="0">
              <a:latin typeface="+mn-lt"/>
            </a:endParaRPr>
          </a:p>
          <a:p>
            <a:pPr marL="301624" indent="-285750">
              <a:buFont typeface="Arial" panose="020B0604020202020204" pitchFamily="34" charset="0"/>
              <a:buChar char="•"/>
            </a:pPr>
            <a:r>
              <a:rPr lang="en-AU" sz="1400" dirty="0"/>
              <a:t>The background grey bars show the benchmark value of each gas.</a:t>
            </a:r>
          </a:p>
        </p:txBody>
      </p:sp>
      <p:sp>
        <p:nvSpPr>
          <p:cNvPr id="22" name="Text Placeholder 3">
            <a:extLst>
              <a:ext uri="{FF2B5EF4-FFF2-40B4-BE49-F238E27FC236}">
                <a16:creationId xmlns:a16="http://schemas.microsoft.com/office/drawing/2014/main" id="{9A1B5AFF-8735-3CC5-E0CC-4FB9B717B965}"/>
              </a:ext>
            </a:extLst>
          </p:cNvPr>
          <p:cNvSpPr>
            <a:spLocks noGrp="1"/>
          </p:cNvSpPr>
          <p:nvPr>
            <p:ph type="body" sz="quarter" idx="15"/>
          </p:nvPr>
        </p:nvSpPr>
        <p:spPr/>
        <p:txBody>
          <a:bodyPr/>
          <a:lstStyle/>
          <a:p>
            <a:r>
              <a:rPr lang="en-US" dirty="0"/>
              <a:t> </a:t>
            </a:r>
          </a:p>
        </p:txBody>
      </p:sp>
      <p:sp>
        <p:nvSpPr>
          <p:cNvPr id="8" name="Slide Number Placeholder 7">
            <a:extLst>
              <a:ext uri="{FF2B5EF4-FFF2-40B4-BE49-F238E27FC236}">
                <a16:creationId xmlns:a16="http://schemas.microsoft.com/office/drawing/2014/main" id="{21B73514-4C0E-408F-A802-0EAB7053B3BB}"/>
              </a:ext>
            </a:extLst>
          </p:cNvPr>
          <p:cNvSpPr>
            <a:spLocks noGrp="1"/>
          </p:cNvSpPr>
          <p:nvPr>
            <p:ph type="sldNum" sz="quarter" idx="4"/>
          </p:nvPr>
        </p:nvSpPr>
        <p:spPr/>
        <p:txBody>
          <a:bodyPr anchor="ctr">
            <a:normAutofit/>
          </a:bodyPr>
          <a:lstStyle/>
          <a:p>
            <a:pPr>
              <a:spcAft>
                <a:spcPts val="600"/>
              </a:spcAft>
            </a:pPr>
            <a:r>
              <a:rPr lang="en-US" dirty="0"/>
              <a:t>Page </a:t>
            </a:r>
            <a:fld id="{5A9C12DC-491F-9444-86A2-13AC5C62A2FC}" type="slidenum">
              <a:rPr lang="en-US" smtClean="0"/>
              <a:pPr>
                <a:spcAft>
                  <a:spcPts val="600"/>
                </a:spcAft>
              </a:pPr>
              <a:t>10</a:t>
            </a:fld>
            <a:endParaRPr lang="en-US" dirty="0"/>
          </a:p>
        </p:txBody>
      </p:sp>
      <p:sp>
        <p:nvSpPr>
          <p:cNvPr id="9" name="Footer Placeholder 8">
            <a:extLst>
              <a:ext uri="{FF2B5EF4-FFF2-40B4-BE49-F238E27FC236}">
                <a16:creationId xmlns:a16="http://schemas.microsoft.com/office/drawing/2014/main" id="{E5ED4F3F-5111-49BE-BAA4-4C303BD73FCA}"/>
              </a:ext>
            </a:extLst>
          </p:cNvPr>
          <p:cNvSpPr>
            <a:spLocks noGrp="1"/>
          </p:cNvSpPr>
          <p:nvPr>
            <p:ph type="ftr" sz="quarter" idx="3"/>
          </p:nvPr>
        </p:nvSpPr>
        <p:spPr/>
        <p:txBody>
          <a:bodyPr wrap="square" anchor="ctr">
            <a:normAutofit/>
          </a:bodyPr>
          <a:lstStyle/>
          <a:p>
            <a:pPr>
              <a:spcAft>
                <a:spcPts val="600"/>
              </a:spcAft>
            </a:pPr>
            <a:r>
              <a:rPr lang="en-US" dirty="0"/>
              <a:t>Confidential Property of Schneider Electric |</a:t>
            </a:r>
          </a:p>
        </p:txBody>
      </p:sp>
      <p:sp>
        <p:nvSpPr>
          <p:cNvPr id="5" name="Text Placeholder 4">
            <a:extLst>
              <a:ext uri="{FF2B5EF4-FFF2-40B4-BE49-F238E27FC236}">
                <a16:creationId xmlns:a16="http://schemas.microsoft.com/office/drawing/2014/main" id="{DDB8F685-D669-42C9-8AA7-64CD56523DD6}"/>
              </a:ext>
            </a:extLst>
          </p:cNvPr>
          <p:cNvSpPr>
            <a:spLocks noGrp="1"/>
          </p:cNvSpPr>
          <p:nvPr>
            <p:ph type="body" sz="quarter" idx="32"/>
          </p:nvPr>
        </p:nvSpPr>
        <p:spPr/>
        <p:txBody>
          <a:bodyPr>
            <a:normAutofit/>
          </a:bodyPr>
          <a:lstStyle/>
          <a:p>
            <a:r>
              <a:rPr lang="en-US" dirty="0"/>
              <a:t>Roger Gas Limit Analysis</a:t>
            </a:r>
          </a:p>
        </p:txBody>
      </p:sp>
      <p:sp>
        <p:nvSpPr>
          <p:cNvPr id="15" name="Text Placeholder 14">
            <a:extLst>
              <a:ext uri="{FF2B5EF4-FFF2-40B4-BE49-F238E27FC236}">
                <a16:creationId xmlns:a16="http://schemas.microsoft.com/office/drawing/2014/main" id="{436D1F59-0A90-9643-9B8E-1329CF251E34}"/>
              </a:ext>
            </a:extLst>
          </p:cNvPr>
          <p:cNvSpPr>
            <a:spLocks noGrp="1"/>
          </p:cNvSpPr>
          <p:nvPr>
            <p:ph type="body" sz="quarter" idx="33"/>
          </p:nvPr>
        </p:nvSpPr>
        <p:spPr/>
        <p:txBody>
          <a:bodyPr>
            <a:noAutofit/>
          </a:bodyPr>
          <a:lstStyle/>
          <a:p>
            <a:pPr marL="0" indent="0"/>
            <a:r>
              <a:rPr lang="en-AU" sz="1400" dirty="0"/>
              <a:t>The ETE platform generated graph from the concentration of H</a:t>
            </a:r>
            <a:r>
              <a:rPr lang="en-AU" sz="1400" baseline="-25000" dirty="0"/>
              <a:t>2</a:t>
            </a:r>
            <a:r>
              <a:rPr lang="en-AU" sz="1400" dirty="0"/>
              <a:t>, Methane, Ethane, Ethylene, Acetylene and CO in each oil test.</a:t>
            </a:r>
            <a:endParaRPr lang="en-US" sz="1400" dirty="0"/>
          </a:p>
        </p:txBody>
      </p:sp>
      <p:pic>
        <p:nvPicPr>
          <p:cNvPr id="6" name="Content Placeholder 5">
            <a:extLst>
              <a:ext uri="{FF2B5EF4-FFF2-40B4-BE49-F238E27FC236}">
                <a16:creationId xmlns:a16="http://schemas.microsoft.com/office/drawing/2014/main" id="{CF7915BA-DF0F-40EF-9273-1C379B4DEE02}"/>
              </a:ext>
            </a:extLst>
          </p:cNvPr>
          <p:cNvPicPr>
            <a:picLocks noGrp="1" noChangeAspect="1"/>
          </p:cNvPicPr>
          <p:nvPr>
            <p:ph sz="quarter" idx="22"/>
          </p:nvPr>
        </p:nvPicPr>
        <p:blipFill>
          <a:blip r:embed="rId2"/>
          <a:stretch>
            <a:fillRect/>
          </a:stretch>
        </p:blipFill>
        <p:spPr>
          <a:xfrm>
            <a:off x="425197" y="1390541"/>
            <a:ext cx="4574023" cy="2711450"/>
          </a:xfr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4900949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Content Placeholder 23">
            <a:extLst>
              <a:ext uri="{FF2B5EF4-FFF2-40B4-BE49-F238E27FC236}">
                <a16:creationId xmlns:a16="http://schemas.microsoft.com/office/drawing/2014/main" id="{8353BDFF-C7A2-4936-8BC1-F81AC48A836B}"/>
              </a:ext>
            </a:extLst>
          </p:cNvPr>
          <p:cNvSpPr>
            <a:spLocks noGrp="1"/>
          </p:cNvSpPr>
          <p:nvPr>
            <p:ph sz="quarter" idx="24"/>
          </p:nvPr>
        </p:nvSpPr>
        <p:spPr/>
        <p:txBody>
          <a:bodyPr/>
          <a:lstStyle/>
          <a:p>
            <a:pPr marL="301624" indent="-285750">
              <a:buFont typeface="Arial" panose="020B0604020202020204" pitchFamily="34" charset="0"/>
              <a:buChar char="•"/>
            </a:pPr>
            <a:r>
              <a:rPr lang="en-AU" sz="1400" dirty="0">
                <a:latin typeface="+mn-lt"/>
              </a:rPr>
              <a:t>The severity of the fault is represented by colour.</a:t>
            </a:r>
          </a:p>
          <a:p>
            <a:pPr marL="301624" indent="-285750">
              <a:buFont typeface="Arial" panose="020B0604020202020204" pitchFamily="34" charset="0"/>
              <a:buChar char="•"/>
            </a:pPr>
            <a:r>
              <a:rPr lang="en-AU" sz="1400" dirty="0">
                <a:latin typeface="+mn-lt"/>
              </a:rPr>
              <a:t>If the required threshold is not met for the analysis, the results will be shown as a thin green line. </a:t>
            </a:r>
          </a:p>
          <a:p>
            <a:pPr marL="301624" indent="-285750">
              <a:buFont typeface="Arial" panose="020B0604020202020204" pitchFamily="34" charset="0"/>
              <a:buChar char="•"/>
            </a:pPr>
            <a:r>
              <a:rPr lang="en-AU" sz="1400" dirty="0">
                <a:latin typeface="+mn-lt"/>
              </a:rPr>
              <a:t>Please note these graphs provide an analysis using IEC &amp; IEE standards. The limitations described in the relevant standards apply.</a:t>
            </a:r>
          </a:p>
          <a:p>
            <a:pPr marL="301624" indent="-285750">
              <a:buFont typeface="Arial" panose="020B0604020202020204" pitchFamily="34" charset="0"/>
              <a:buChar char="•"/>
            </a:pPr>
            <a:endParaRPr lang="en-AU" sz="1400" dirty="0"/>
          </a:p>
        </p:txBody>
      </p:sp>
      <p:sp>
        <p:nvSpPr>
          <p:cNvPr id="22" name="Text Placeholder 3">
            <a:extLst>
              <a:ext uri="{FF2B5EF4-FFF2-40B4-BE49-F238E27FC236}">
                <a16:creationId xmlns:a16="http://schemas.microsoft.com/office/drawing/2014/main" id="{9A1B5AFF-8735-3CC5-E0CC-4FB9B717B965}"/>
              </a:ext>
            </a:extLst>
          </p:cNvPr>
          <p:cNvSpPr>
            <a:spLocks noGrp="1"/>
          </p:cNvSpPr>
          <p:nvPr>
            <p:ph type="body" sz="quarter" idx="15"/>
          </p:nvPr>
        </p:nvSpPr>
        <p:spPr/>
        <p:txBody>
          <a:bodyPr/>
          <a:lstStyle/>
          <a:p>
            <a:r>
              <a:rPr lang="en-US" dirty="0"/>
              <a:t> </a:t>
            </a:r>
          </a:p>
        </p:txBody>
      </p:sp>
      <p:sp>
        <p:nvSpPr>
          <p:cNvPr id="8" name="Slide Number Placeholder 7">
            <a:extLst>
              <a:ext uri="{FF2B5EF4-FFF2-40B4-BE49-F238E27FC236}">
                <a16:creationId xmlns:a16="http://schemas.microsoft.com/office/drawing/2014/main" id="{21B73514-4C0E-408F-A802-0EAB7053B3BB}"/>
              </a:ext>
            </a:extLst>
          </p:cNvPr>
          <p:cNvSpPr>
            <a:spLocks noGrp="1"/>
          </p:cNvSpPr>
          <p:nvPr>
            <p:ph type="sldNum" sz="quarter" idx="4"/>
          </p:nvPr>
        </p:nvSpPr>
        <p:spPr/>
        <p:txBody>
          <a:bodyPr anchor="ctr">
            <a:normAutofit/>
          </a:bodyPr>
          <a:lstStyle/>
          <a:p>
            <a:pPr>
              <a:spcAft>
                <a:spcPts val="600"/>
              </a:spcAft>
            </a:pPr>
            <a:r>
              <a:rPr lang="en-US" dirty="0"/>
              <a:t>Page </a:t>
            </a:r>
            <a:fld id="{5A9C12DC-491F-9444-86A2-13AC5C62A2FC}" type="slidenum">
              <a:rPr lang="en-US" smtClean="0"/>
              <a:pPr>
                <a:spcAft>
                  <a:spcPts val="600"/>
                </a:spcAft>
              </a:pPr>
              <a:t>11</a:t>
            </a:fld>
            <a:endParaRPr lang="en-US" dirty="0"/>
          </a:p>
        </p:txBody>
      </p:sp>
      <p:sp>
        <p:nvSpPr>
          <p:cNvPr id="9" name="Footer Placeholder 8">
            <a:extLst>
              <a:ext uri="{FF2B5EF4-FFF2-40B4-BE49-F238E27FC236}">
                <a16:creationId xmlns:a16="http://schemas.microsoft.com/office/drawing/2014/main" id="{E5ED4F3F-5111-49BE-BAA4-4C303BD73FCA}"/>
              </a:ext>
            </a:extLst>
          </p:cNvPr>
          <p:cNvSpPr>
            <a:spLocks noGrp="1"/>
          </p:cNvSpPr>
          <p:nvPr>
            <p:ph type="ftr" sz="quarter" idx="3"/>
          </p:nvPr>
        </p:nvSpPr>
        <p:spPr/>
        <p:txBody>
          <a:bodyPr wrap="square" anchor="ctr">
            <a:normAutofit/>
          </a:bodyPr>
          <a:lstStyle/>
          <a:p>
            <a:pPr>
              <a:spcAft>
                <a:spcPts val="600"/>
              </a:spcAft>
            </a:pPr>
            <a:r>
              <a:rPr lang="en-US" dirty="0"/>
              <a:t>Confidential Property of Schneider Electric |</a:t>
            </a:r>
          </a:p>
        </p:txBody>
      </p:sp>
      <p:sp>
        <p:nvSpPr>
          <p:cNvPr id="5" name="Text Placeholder 4">
            <a:extLst>
              <a:ext uri="{FF2B5EF4-FFF2-40B4-BE49-F238E27FC236}">
                <a16:creationId xmlns:a16="http://schemas.microsoft.com/office/drawing/2014/main" id="{DDB8F685-D669-42C9-8AA7-64CD56523DD6}"/>
              </a:ext>
            </a:extLst>
          </p:cNvPr>
          <p:cNvSpPr>
            <a:spLocks noGrp="1"/>
          </p:cNvSpPr>
          <p:nvPr>
            <p:ph type="body" sz="quarter" idx="32"/>
          </p:nvPr>
        </p:nvSpPr>
        <p:spPr/>
        <p:txBody>
          <a:bodyPr>
            <a:normAutofit/>
          </a:bodyPr>
          <a:lstStyle/>
          <a:p>
            <a:r>
              <a:rPr lang="en-US" dirty="0"/>
              <a:t>Roger Ratio Analysis</a:t>
            </a:r>
          </a:p>
        </p:txBody>
      </p:sp>
      <p:sp>
        <p:nvSpPr>
          <p:cNvPr id="15" name="Text Placeholder 14">
            <a:extLst>
              <a:ext uri="{FF2B5EF4-FFF2-40B4-BE49-F238E27FC236}">
                <a16:creationId xmlns:a16="http://schemas.microsoft.com/office/drawing/2014/main" id="{436D1F59-0A90-9643-9B8E-1329CF251E34}"/>
              </a:ext>
            </a:extLst>
          </p:cNvPr>
          <p:cNvSpPr>
            <a:spLocks noGrp="1"/>
          </p:cNvSpPr>
          <p:nvPr>
            <p:ph type="body" sz="quarter" idx="33"/>
          </p:nvPr>
        </p:nvSpPr>
        <p:spPr/>
        <p:txBody>
          <a:bodyPr>
            <a:noAutofit/>
          </a:bodyPr>
          <a:lstStyle/>
          <a:p>
            <a:pPr marL="15874" indent="0"/>
            <a:r>
              <a:rPr lang="en-AU" sz="1400" dirty="0">
                <a:latin typeface="+mn-lt"/>
              </a:rPr>
              <a:t>Using Roger Ratio Analysis, ETE provides insights into potential faults in the transformer. </a:t>
            </a:r>
            <a:endParaRPr lang="en-US" sz="1400" dirty="0">
              <a:latin typeface="+mn-lt"/>
            </a:endParaRPr>
          </a:p>
        </p:txBody>
      </p:sp>
      <p:pic>
        <p:nvPicPr>
          <p:cNvPr id="17" name="Content Placeholder 16">
            <a:extLst>
              <a:ext uri="{FF2B5EF4-FFF2-40B4-BE49-F238E27FC236}">
                <a16:creationId xmlns:a16="http://schemas.microsoft.com/office/drawing/2014/main" id="{8A9E998D-FF42-482B-95BC-230D10785593}"/>
              </a:ext>
            </a:extLst>
          </p:cNvPr>
          <p:cNvPicPr>
            <a:picLocks noGrp="1" noChangeAspect="1"/>
          </p:cNvPicPr>
          <p:nvPr>
            <p:ph sz="quarter" idx="22"/>
          </p:nvPr>
        </p:nvPicPr>
        <p:blipFill>
          <a:blip r:embed="rId2"/>
          <a:stretch>
            <a:fillRect/>
          </a:stretch>
        </p:blipFill>
        <p:spPr>
          <a:xfrm>
            <a:off x="459699" y="1209675"/>
            <a:ext cx="3948521" cy="2856628"/>
          </a:xfr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9655189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Content Placeholder 23">
            <a:extLst>
              <a:ext uri="{FF2B5EF4-FFF2-40B4-BE49-F238E27FC236}">
                <a16:creationId xmlns:a16="http://schemas.microsoft.com/office/drawing/2014/main" id="{8353BDFF-C7A2-4936-8BC1-F81AC48A836B}"/>
              </a:ext>
            </a:extLst>
          </p:cNvPr>
          <p:cNvSpPr>
            <a:spLocks noGrp="1"/>
          </p:cNvSpPr>
          <p:nvPr>
            <p:ph sz="quarter" idx="24"/>
          </p:nvPr>
        </p:nvSpPr>
        <p:spPr>
          <a:xfrm>
            <a:off x="5347492" y="1452097"/>
            <a:ext cx="3544094" cy="2711063"/>
          </a:xfrm>
        </p:spPr>
        <p:txBody>
          <a:bodyPr/>
          <a:lstStyle/>
          <a:p>
            <a:pPr marL="301624" indent="-285750">
              <a:buFont typeface="Arial" panose="020B0604020202020204" pitchFamily="34" charset="0"/>
              <a:buChar char="•"/>
            </a:pPr>
            <a:r>
              <a:rPr lang="en-AU" sz="1400" dirty="0">
                <a:latin typeface="+mn-lt"/>
              </a:rPr>
              <a:t>Applicable regardless of gas concentration level.</a:t>
            </a:r>
          </a:p>
          <a:p>
            <a:pPr marL="301624" indent="-285750">
              <a:buFont typeface="Arial" panose="020B0604020202020204" pitchFamily="34" charset="0"/>
              <a:buChar char="•"/>
            </a:pPr>
            <a:r>
              <a:rPr lang="en-AU" sz="1400" dirty="0">
                <a:latin typeface="+mn-lt"/>
              </a:rPr>
              <a:t>If a gas concentration is under the benchmark value, it is diagnosed as ‘normal’.</a:t>
            </a:r>
          </a:p>
          <a:p>
            <a:pPr marL="301624" indent="-285750">
              <a:buFont typeface="Arial" panose="020B0604020202020204" pitchFamily="34" charset="0"/>
              <a:buChar char="•"/>
            </a:pPr>
            <a:r>
              <a:rPr lang="en-AU" sz="1400" dirty="0">
                <a:latin typeface="+mn-lt"/>
              </a:rPr>
              <a:t>The background grey bars show the benchmark value of each gas.</a:t>
            </a:r>
          </a:p>
        </p:txBody>
      </p:sp>
      <p:sp>
        <p:nvSpPr>
          <p:cNvPr id="22" name="Text Placeholder 3">
            <a:extLst>
              <a:ext uri="{FF2B5EF4-FFF2-40B4-BE49-F238E27FC236}">
                <a16:creationId xmlns:a16="http://schemas.microsoft.com/office/drawing/2014/main" id="{9A1B5AFF-8735-3CC5-E0CC-4FB9B717B965}"/>
              </a:ext>
            </a:extLst>
          </p:cNvPr>
          <p:cNvSpPr>
            <a:spLocks noGrp="1"/>
          </p:cNvSpPr>
          <p:nvPr>
            <p:ph type="body" sz="quarter" idx="15"/>
          </p:nvPr>
        </p:nvSpPr>
        <p:spPr/>
        <p:txBody>
          <a:bodyPr/>
          <a:lstStyle/>
          <a:p>
            <a:r>
              <a:rPr lang="en-US" dirty="0"/>
              <a:t> </a:t>
            </a:r>
          </a:p>
        </p:txBody>
      </p:sp>
      <p:sp>
        <p:nvSpPr>
          <p:cNvPr id="8" name="Slide Number Placeholder 7">
            <a:extLst>
              <a:ext uri="{FF2B5EF4-FFF2-40B4-BE49-F238E27FC236}">
                <a16:creationId xmlns:a16="http://schemas.microsoft.com/office/drawing/2014/main" id="{21B73514-4C0E-408F-A802-0EAB7053B3BB}"/>
              </a:ext>
            </a:extLst>
          </p:cNvPr>
          <p:cNvSpPr>
            <a:spLocks noGrp="1"/>
          </p:cNvSpPr>
          <p:nvPr>
            <p:ph type="sldNum" sz="quarter" idx="4"/>
          </p:nvPr>
        </p:nvSpPr>
        <p:spPr/>
        <p:txBody>
          <a:bodyPr anchor="ctr">
            <a:normAutofit/>
          </a:bodyPr>
          <a:lstStyle/>
          <a:p>
            <a:pPr>
              <a:spcAft>
                <a:spcPts val="600"/>
              </a:spcAft>
            </a:pPr>
            <a:r>
              <a:rPr lang="en-US" dirty="0"/>
              <a:t>Page </a:t>
            </a:r>
            <a:fld id="{5A9C12DC-491F-9444-86A2-13AC5C62A2FC}" type="slidenum">
              <a:rPr lang="en-US" smtClean="0"/>
              <a:pPr>
                <a:spcAft>
                  <a:spcPts val="600"/>
                </a:spcAft>
              </a:pPr>
              <a:t>12</a:t>
            </a:fld>
            <a:endParaRPr lang="en-US" dirty="0"/>
          </a:p>
        </p:txBody>
      </p:sp>
      <p:sp>
        <p:nvSpPr>
          <p:cNvPr id="9" name="Footer Placeholder 8">
            <a:extLst>
              <a:ext uri="{FF2B5EF4-FFF2-40B4-BE49-F238E27FC236}">
                <a16:creationId xmlns:a16="http://schemas.microsoft.com/office/drawing/2014/main" id="{E5ED4F3F-5111-49BE-BAA4-4C303BD73FCA}"/>
              </a:ext>
            </a:extLst>
          </p:cNvPr>
          <p:cNvSpPr>
            <a:spLocks noGrp="1"/>
          </p:cNvSpPr>
          <p:nvPr>
            <p:ph type="ftr" sz="quarter" idx="3"/>
          </p:nvPr>
        </p:nvSpPr>
        <p:spPr/>
        <p:txBody>
          <a:bodyPr wrap="square" anchor="ctr">
            <a:normAutofit/>
          </a:bodyPr>
          <a:lstStyle/>
          <a:p>
            <a:pPr>
              <a:spcAft>
                <a:spcPts val="600"/>
              </a:spcAft>
            </a:pPr>
            <a:r>
              <a:rPr lang="en-US" dirty="0"/>
              <a:t>Confidential Property of Schneider Electric |</a:t>
            </a:r>
          </a:p>
        </p:txBody>
      </p:sp>
      <p:sp>
        <p:nvSpPr>
          <p:cNvPr id="5" name="Text Placeholder 4">
            <a:extLst>
              <a:ext uri="{FF2B5EF4-FFF2-40B4-BE49-F238E27FC236}">
                <a16:creationId xmlns:a16="http://schemas.microsoft.com/office/drawing/2014/main" id="{DDB8F685-D669-42C9-8AA7-64CD56523DD6}"/>
              </a:ext>
            </a:extLst>
          </p:cNvPr>
          <p:cNvSpPr>
            <a:spLocks noGrp="1"/>
          </p:cNvSpPr>
          <p:nvPr>
            <p:ph type="body" sz="quarter" idx="32"/>
          </p:nvPr>
        </p:nvSpPr>
        <p:spPr/>
        <p:txBody>
          <a:bodyPr>
            <a:normAutofit/>
          </a:bodyPr>
          <a:lstStyle/>
          <a:p>
            <a:r>
              <a:rPr lang="en-US" dirty="0"/>
              <a:t>Doernenburg Gas Limit Analysis</a:t>
            </a:r>
          </a:p>
        </p:txBody>
      </p:sp>
      <p:sp>
        <p:nvSpPr>
          <p:cNvPr id="15" name="Text Placeholder 14">
            <a:extLst>
              <a:ext uri="{FF2B5EF4-FFF2-40B4-BE49-F238E27FC236}">
                <a16:creationId xmlns:a16="http://schemas.microsoft.com/office/drawing/2014/main" id="{436D1F59-0A90-9643-9B8E-1329CF251E34}"/>
              </a:ext>
            </a:extLst>
          </p:cNvPr>
          <p:cNvSpPr>
            <a:spLocks noGrp="1"/>
          </p:cNvSpPr>
          <p:nvPr>
            <p:ph type="body" sz="quarter" idx="33"/>
          </p:nvPr>
        </p:nvSpPr>
        <p:spPr/>
        <p:txBody>
          <a:bodyPr>
            <a:noAutofit/>
          </a:bodyPr>
          <a:lstStyle/>
          <a:p>
            <a:pPr marL="0" indent="0"/>
            <a:r>
              <a:rPr lang="en-AU" sz="1400" dirty="0">
                <a:latin typeface="+mn-lt"/>
              </a:rPr>
              <a:t>The ETE platform generated graph from the concentration of H</a:t>
            </a:r>
            <a:r>
              <a:rPr lang="en-AU" sz="1400" baseline="-25000" dirty="0"/>
              <a:t>2</a:t>
            </a:r>
            <a:r>
              <a:rPr lang="en-AU" sz="1400" dirty="0">
                <a:latin typeface="+mn-lt"/>
              </a:rPr>
              <a:t>, Methane, Ethane, Ethylene, Acetylene and CO in each oil test.</a:t>
            </a:r>
            <a:endParaRPr lang="en-US" sz="1400" dirty="0">
              <a:latin typeface="+mn-lt"/>
            </a:endParaRPr>
          </a:p>
        </p:txBody>
      </p:sp>
      <p:pic>
        <p:nvPicPr>
          <p:cNvPr id="7" name="Content Placeholder 6">
            <a:extLst>
              <a:ext uri="{FF2B5EF4-FFF2-40B4-BE49-F238E27FC236}">
                <a16:creationId xmlns:a16="http://schemas.microsoft.com/office/drawing/2014/main" id="{D4248889-18A5-4467-8F80-109908719B7A}"/>
              </a:ext>
            </a:extLst>
          </p:cNvPr>
          <p:cNvPicPr>
            <a:picLocks noGrp="1" noChangeAspect="1"/>
          </p:cNvPicPr>
          <p:nvPr>
            <p:ph sz="quarter" idx="22"/>
          </p:nvPr>
        </p:nvPicPr>
        <p:blipFill>
          <a:blip r:embed="rId2"/>
          <a:stretch>
            <a:fillRect/>
          </a:stretch>
        </p:blipFill>
        <p:spPr>
          <a:xfrm>
            <a:off x="400568" y="1452097"/>
            <a:ext cx="4464326" cy="2711450"/>
          </a:xfr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6524693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Content Placeholder 23">
            <a:extLst>
              <a:ext uri="{FF2B5EF4-FFF2-40B4-BE49-F238E27FC236}">
                <a16:creationId xmlns:a16="http://schemas.microsoft.com/office/drawing/2014/main" id="{8353BDFF-C7A2-4936-8BC1-F81AC48A836B}"/>
              </a:ext>
            </a:extLst>
          </p:cNvPr>
          <p:cNvSpPr>
            <a:spLocks noGrp="1"/>
          </p:cNvSpPr>
          <p:nvPr>
            <p:ph sz="quarter" idx="24"/>
          </p:nvPr>
        </p:nvSpPr>
        <p:spPr>
          <a:xfrm>
            <a:off x="4802444" y="1558240"/>
            <a:ext cx="4172656" cy="2711063"/>
          </a:xfrm>
        </p:spPr>
        <p:txBody>
          <a:bodyPr/>
          <a:lstStyle/>
          <a:p>
            <a:pPr marL="301624" indent="-285750">
              <a:buFont typeface="Arial" panose="020B0604020202020204" pitchFamily="34" charset="0"/>
              <a:buChar char="•"/>
            </a:pPr>
            <a:r>
              <a:rPr lang="en-AU" sz="1400" dirty="0">
                <a:latin typeface="+mn-lt"/>
              </a:rPr>
              <a:t>The severity of the fault is represented by colour.</a:t>
            </a:r>
          </a:p>
          <a:p>
            <a:pPr marL="301624" indent="-285750">
              <a:buFont typeface="Arial" panose="020B0604020202020204" pitchFamily="34" charset="0"/>
              <a:buChar char="•"/>
            </a:pPr>
            <a:r>
              <a:rPr lang="en-AU" sz="1400" dirty="0">
                <a:latin typeface="+mn-lt"/>
              </a:rPr>
              <a:t>If the required threshold is not met for the analysis, the results will be shown as a thin green line. </a:t>
            </a:r>
          </a:p>
          <a:p>
            <a:pPr marL="301624" indent="-285750">
              <a:buFont typeface="Arial" panose="020B0604020202020204" pitchFamily="34" charset="0"/>
              <a:buChar char="•"/>
            </a:pPr>
            <a:r>
              <a:rPr lang="en-AU" sz="1400" dirty="0">
                <a:latin typeface="+mn-lt"/>
              </a:rPr>
              <a:t>Please note these graphs provide an analysis using IEC &amp; IEE standards. The limitations described in the relevant standards apply.</a:t>
            </a:r>
          </a:p>
        </p:txBody>
      </p:sp>
      <p:sp>
        <p:nvSpPr>
          <p:cNvPr id="22" name="Text Placeholder 3">
            <a:extLst>
              <a:ext uri="{FF2B5EF4-FFF2-40B4-BE49-F238E27FC236}">
                <a16:creationId xmlns:a16="http://schemas.microsoft.com/office/drawing/2014/main" id="{9A1B5AFF-8735-3CC5-E0CC-4FB9B717B965}"/>
              </a:ext>
            </a:extLst>
          </p:cNvPr>
          <p:cNvSpPr>
            <a:spLocks noGrp="1"/>
          </p:cNvSpPr>
          <p:nvPr>
            <p:ph type="body" sz="quarter" idx="15"/>
          </p:nvPr>
        </p:nvSpPr>
        <p:spPr/>
        <p:txBody>
          <a:bodyPr/>
          <a:lstStyle/>
          <a:p>
            <a:r>
              <a:rPr lang="en-US" dirty="0"/>
              <a:t> </a:t>
            </a:r>
          </a:p>
        </p:txBody>
      </p:sp>
      <p:sp>
        <p:nvSpPr>
          <p:cNvPr id="8" name="Slide Number Placeholder 7">
            <a:extLst>
              <a:ext uri="{FF2B5EF4-FFF2-40B4-BE49-F238E27FC236}">
                <a16:creationId xmlns:a16="http://schemas.microsoft.com/office/drawing/2014/main" id="{21B73514-4C0E-408F-A802-0EAB7053B3BB}"/>
              </a:ext>
            </a:extLst>
          </p:cNvPr>
          <p:cNvSpPr>
            <a:spLocks noGrp="1"/>
          </p:cNvSpPr>
          <p:nvPr>
            <p:ph type="sldNum" sz="quarter" idx="4"/>
          </p:nvPr>
        </p:nvSpPr>
        <p:spPr/>
        <p:txBody>
          <a:bodyPr anchor="ctr">
            <a:normAutofit/>
          </a:bodyPr>
          <a:lstStyle/>
          <a:p>
            <a:pPr>
              <a:spcAft>
                <a:spcPts val="600"/>
              </a:spcAft>
            </a:pPr>
            <a:r>
              <a:rPr lang="en-US" dirty="0"/>
              <a:t>Page </a:t>
            </a:r>
            <a:fld id="{5A9C12DC-491F-9444-86A2-13AC5C62A2FC}" type="slidenum">
              <a:rPr lang="en-US" smtClean="0"/>
              <a:pPr>
                <a:spcAft>
                  <a:spcPts val="600"/>
                </a:spcAft>
              </a:pPr>
              <a:t>13</a:t>
            </a:fld>
            <a:endParaRPr lang="en-US" dirty="0"/>
          </a:p>
        </p:txBody>
      </p:sp>
      <p:sp>
        <p:nvSpPr>
          <p:cNvPr id="9" name="Footer Placeholder 8">
            <a:extLst>
              <a:ext uri="{FF2B5EF4-FFF2-40B4-BE49-F238E27FC236}">
                <a16:creationId xmlns:a16="http://schemas.microsoft.com/office/drawing/2014/main" id="{E5ED4F3F-5111-49BE-BAA4-4C303BD73FCA}"/>
              </a:ext>
            </a:extLst>
          </p:cNvPr>
          <p:cNvSpPr>
            <a:spLocks noGrp="1"/>
          </p:cNvSpPr>
          <p:nvPr>
            <p:ph type="ftr" sz="quarter" idx="3"/>
          </p:nvPr>
        </p:nvSpPr>
        <p:spPr/>
        <p:txBody>
          <a:bodyPr wrap="square" anchor="ctr">
            <a:normAutofit/>
          </a:bodyPr>
          <a:lstStyle/>
          <a:p>
            <a:pPr>
              <a:spcAft>
                <a:spcPts val="600"/>
              </a:spcAft>
            </a:pPr>
            <a:r>
              <a:rPr lang="en-US" dirty="0"/>
              <a:t>Confidential Property of Schneider Electric |</a:t>
            </a:r>
          </a:p>
        </p:txBody>
      </p:sp>
      <p:sp>
        <p:nvSpPr>
          <p:cNvPr id="5" name="Text Placeholder 4">
            <a:extLst>
              <a:ext uri="{FF2B5EF4-FFF2-40B4-BE49-F238E27FC236}">
                <a16:creationId xmlns:a16="http://schemas.microsoft.com/office/drawing/2014/main" id="{DDB8F685-D669-42C9-8AA7-64CD56523DD6}"/>
              </a:ext>
            </a:extLst>
          </p:cNvPr>
          <p:cNvSpPr>
            <a:spLocks noGrp="1"/>
          </p:cNvSpPr>
          <p:nvPr>
            <p:ph type="body" sz="quarter" idx="32"/>
          </p:nvPr>
        </p:nvSpPr>
        <p:spPr/>
        <p:txBody>
          <a:bodyPr>
            <a:normAutofit/>
          </a:bodyPr>
          <a:lstStyle/>
          <a:p>
            <a:r>
              <a:rPr lang="en-US" dirty="0"/>
              <a:t>Doernenburg Ratio Analysis</a:t>
            </a:r>
          </a:p>
        </p:txBody>
      </p:sp>
      <p:sp>
        <p:nvSpPr>
          <p:cNvPr id="15" name="Text Placeholder 14">
            <a:extLst>
              <a:ext uri="{FF2B5EF4-FFF2-40B4-BE49-F238E27FC236}">
                <a16:creationId xmlns:a16="http://schemas.microsoft.com/office/drawing/2014/main" id="{436D1F59-0A90-9643-9B8E-1329CF251E34}"/>
              </a:ext>
            </a:extLst>
          </p:cNvPr>
          <p:cNvSpPr>
            <a:spLocks noGrp="1"/>
          </p:cNvSpPr>
          <p:nvPr>
            <p:ph type="body" sz="quarter" idx="33"/>
          </p:nvPr>
        </p:nvSpPr>
        <p:spPr/>
        <p:txBody>
          <a:bodyPr>
            <a:noAutofit/>
          </a:bodyPr>
          <a:lstStyle/>
          <a:p>
            <a:pPr marL="0" indent="0"/>
            <a:r>
              <a:rPr lang="en-AU" sz="1400" dirty="0">
                <a:latin typeface="+mn-lt"/>
              </a:rPr>
              <a:t>Using Doernenburg Ratio Analysis, ETE provides an indication of potential faults in the transformer. </a:t>
            </a:r>
            <a:endParaRPr lang="en-US" sz="1400" dirty="0">
              <a:latin typeface="+mn-lt"/>
            </a:endParaRPr>
          </a:p>
          <a:p>
            <a:pPr marL="0" indent="0"/>
            <a:endParaRPr lang="en-US" sz="1400" dirty="0">
              <a:latin typeface="+mn-lt"/>
            </a:endParaRPr>
          </a:p>
        </p:txBody>
      </p:sp>
      <p:pic>
        <p:nvPicPr>
          <p:cNvPr id="11" name="Content Placeholder 5">
            <a:extLst>
              <a:ext uri="{FF2B5EF4-FFF2-40B4-BE49-F238E27FC236}">
                <a16:creationId xmlns:a16="http://schemas.microsoft.com/office/drawing/2014/main" id="{FA72C020-6FD8-415B-BCE3-6ED625D632E7}"/>
              </a:ext>
            </a:extLst>
          </p:cNvPr>
          <p:cNvPicPr>
            <a:picLocks noGrp="1" noChangeAspect="1"/>
          </p:cNvPicPr>
          <p:nvPr>
            <p:ph sz="quarter" idx="22"/>
          </p:nvPr>
        </p:nvPicPr>
        <p:blipFill>
          <a:blip r:embed="rId2"/>
          <a:stretch>
            <a:fillRect/>
          </a:stretch>
        </p:blipFill>
        <p:spPr>
          <a:xfrm>
            <a:off x="247650" y="1311368"/>
            <a:ext cx="4171950" cy="2508063"/>
          </a:xfr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0722503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Content Placeholder 23">
            <a:extLst>
              <a:ext uri="{FF2B5EF4-FFF2-40B4-BE49-F238E27FC236}">
                <a16:creationId xmlns:a16="http://schemas.microsoft.com/office/drawing/2014/main" id="{8353BDFF-C7A2-4936-8BC1-F81AC48A836B}"/>
              </a:ext>
            </a:extLst>
          </p:cNvPr>
          <p:cNvSpPr>
            <a:spLocks noGrp="1"/>
          </p:cNvSpPr>
          <p:nvPr>
            <p:ph sz="quarter" idx="24"/>
          </p:nvPr>
        </p:nvSpPr>
        <p:spPr>
          <a:xfrm>
            <a:off x="4764970" y="1478351"/>
            <a:ext cx="4172656" cy="2711063"/>
          </a:xfrm>
        </p:spPr>
        <p:txBody>
          <a:bodyPr/>
          <a:lstStyle/>
          <a:p>
            <a:pPr marL="301624" indent="-285750">
              <a:buFont typeface="Arial" panose="020B0604020202020204" pitchFamily="34" charset="0"/>
              <a:buChar char="•"/>
            </a:pPr>
            <a:r>
              <a:rPr lang="en-AU" sz="1400" dirty="0">
                <a:latin typeface="+mn-lt"/>
              </a:rPr>
              <a:t>The severity of the fault is represented by colour.</a:t>
            </a:r>
          </a:p>
          <a:p>
            <a:pPr marL="301624" indent="-285750">
              <a:buFont typeface="Arial" panose="020B0604020202020204" pitchFamily="34" charset="0"/>
              <a:buChar char="•"/>
            </a:pPr>
            <a:r>
              <a:rPr lang="en-AU" sz="1400" dirty="0">
                <a:latin typeface="+mn-lt"/>
              </a:rPr>
              <a:t>If the required threshold is not met for the analysis, the results will be shown as a thin green line. </a:t>
            </a:r>
          </a:p>
          <a:p>
            <a:pPr marL="301624" indent="-285750">
              <a:buFont typeface="Arial" panose="020B0604020202020204" pitchFamily="34" charset="0"/>
              <a:buChar char="•"/>
            </a:pPr>
            <a:r>
              <a:rPr lang="en-AU" sz="1400" dirty="0">
                <a:latin typeface="+mn-lt"/>
              </a:rPr>
              <a:t>Please note these graphs provide an analysis using IEC &amp; IEE standards. The limitations described in the relevant standards apply.</a:t>
            </a:r>
          </a:p>
        </p:txBody>
      </p:sp>
      <p:sp>
        <p:nvSpPr>
          <p:cNvPr id="22" name="Text Placeholder 3">
            <a:extLst>
              <a:ext uri="{FF2B5EF4-FFF2-40B4-BE49-F238E27FC236}">
                <a16:creationId xmlns:a16="http://schemas.microsoft.com/office/drawing/2014/main" id="{9A1B5AFF-8735-3CC5-E0CC-4FB9B717B965}"/>
              </a:ext>
            </a:extLst>
          </p:cNvPr>
          <p:cNvSpPr>
            <a:spLocks noGrp="1"/>
          </p:cNvSpPr>
          <p:nvPr>
            <p:ph type="body" sz="quarter" idx="15"/>
          </p:nvPr>
        </p:nvSpPr>
        <p:spPr/>
        <p:txBody>
          <a:bodyPr/>
          <a:lstStyle/>
          <a:p>
            <a:r>
              <a:rPr lang="en-US" dirty="0"/>
              <a:t> </a:t>
            </a:r>
          </a:p>
        </p:txBody>
      </p:sp>
      <p:sp>
        <p:nvSpPr>
          <p:cNvPr id="8" name="Slide Number Placeholder 7">
            <a:extLst>
              <a:ext uri="{FF2B5EF4-FFF2-40B4-BE49-F238E27FC236}">
                <a16:creationId xmlns:a16="http://schemas.microsoft.com/office/drawing/2014/main" id="{21B73514-4C0E-408F-A802-0EAB7053B3BB}"/>
              </a:ext>
            </a:extLst>
          </p:cNvPr>
          <p:cNvSpPr>
            <a:spLocks noGrp="1"/>
          </p:cNvSpPr>
          <p:nvPr>
            <p:ph type="sldNum" sz="quarter" idx="4"/>
          </p:nvPr>
        </p:nvSpPr>
        <p:spPr/>
        <p:txBody>
          <a:bodyPr anchor="ctr">
            <a:normAutofit/>
          </a:bodyPr>
          <a:lstStyle/>
          <a:p>
            <a:pPr>
              <a:spcAft>
                <a:spcPts val="600"/>
              </a:spcAft>
            </a:pPr>
            <a:r>
              <a:rPr lang="en-US" dirty="0"/>
              <a:t>Page </a:t>
            </a:r>
            <a:fld id="{5A9C12DC-491F-9444-86A2-13AC5C62A2FC}" type="slidenum">
              <a:rPr lang="en-US" smtClean="0"/>
              <a:pPr>
                <a:spcAft>
                  <a:spcPts val="600"/>
                </a:spcAft>
              </a:pPr>
              <a:t>14</a:t>
            </a:fld>
            <a:endParaRPr lang="en-US" dirty="0"/>
          </a:p>
        </p:txBody>
      </p:sp>
      <p:sp>
        <p:nvSpPr>
          <p:cNvPr id="9" name="Footer Placeholder 8">
            <a:extLst>
              <a:ext uri="{FF2B5EF4-FFF2-40B4-BE49-F238E27FC236}">
                <a16:creationId xmlns:a16="http://schemas.microsoft.com/office/drawing/2014/main" id="{E5ED4F3F-5111-49BE-BAA4-4C303BD73FCA}"/>
              </a:ext>
            </a:extLst>
          </p:cNvPr>
          <p:cNvSpPr>
            <a:spLocks noGrp="1"/>
          </p:cNvSpPr>
          <p:nvPr>
            <p:ph type="ftr" sz="quarter" idx="3"/>
          </p:nvPr>
        </p:nvSpPr>
        <p:spPr/>
        <p:txBody>
          <a:bodyPr wrap="square" anchor="ctr">
            <a:normAutofit/>
          </a:bodyPr>
          <a:lstStyle/>
          <a:p>
            <a:pPr>
              <a:spcAft>
                <a:spcPts val="600"/>
              </a:spcAft>
            </a:pPr>
            <a:r>
              <a:rPr lang="en-US" dirty="0"/>
              <a:t>Confidential Property of Schneider Electric |</a:t>
            </a:r>
          </a:p>
        </p:txBody>
      </p:sp>
      <p:sp>
        <p:nvSpPr>
          <p:cNvPr id="5" name="Text Placeholder 4">
            <a:extLst>
              <a:ext uri="{FF2B5EF4-FFF2-40B4-BE49-F238E27FC236}">
                <a16:creationId xmlns:a16="http://schemas.microsoft.com/office/drawing/2014/main" id="{DDB8F685-D669-42C9-8AA7-64CD56523DD6}"/>
              </a:ext>
            </a:extLst>
          </p:cNvPr>
          <p:cNvSpPr>
            <a:spLocks noGrp="1"/>
          </p:cNvSpPr>
          <p:nvPr>
            <p:ph type="body" sz="quarter" idx="32"/>
          </p:nvPr>
        </p:nvSpPr>
        <p:spPr/>
        <p:txBody>
          <a:bodyPr>
            <a:normAutofit/>
          </a:bodyPr>
          <a:lstStyle/>
          <a:p>
            <a:r>
              <a:rPr lang="en-US" dirty="0"/>
              <a:t>IEC Ratio Analysis</a:t>
            </a:r>
          </a:p>
        </p:txBody>
      </p:sp>
      <p:sp>
        <p:nvSpPr>
          <p:cNvPr id="15" name="Text Placeholder 14">
            <a:extLst>
              <a:ext uri="{FF2B5EF4-FFF2-40B4-BE49-F238E27FC236}">
                <a16:creationId xmlns:a16="http://schemas.microsoft.com/office/drawing/2014/main" id="{436D1F59-0A90-9643-9B8E-1329CF251E34}"/>
              </a:ext>
            </a:extLst>
          </p:cNvPr>
          <p:cNvSpPr>
            <a:spLocks noGrp="1"/>
          </p:cNvSpPr>
          <p:nvPr>
            <p:ph type="body" sz="quarter" idx="33"/>
          </p:nvPr>
        </p:nvSpPr>
        <p:spPr/>
        <p:txBody>
          <a:bodyPr>
            <a:noAutofit/>
          </a:bodyPr>
          <a:lstStyle/>
          <a:p>
            <a:pPr marL="15874" indent="0"/>
            <a:r>
              <a:rPr lang="en-AU" sz="1400" dirty="0">
                <a:latin typeface="+mn-lt"/>
              </a:rPr>
              <a:t>The ETE platform uses the three commonly analysed gas ratios of C</a:t>
            </a:r>
            <a:r>
              <a:rPr lang="en-AU" sz="1400" baseline="-25000" dirty="0">
                <a:latin typeface="+mn-lt"/>
              </a:rPr>
              <a:t>2</a:t>
            </a:r>
            <a:r>
              <a:rPr lang="en-AU" sz="1400" dirty="0">
                <a:latin typeface="+mn-lt"/>
              </a:rPr>
              <a:t>H</a:t>
            </a:r>
            <a:r>
              <a:rPr lang="en-AU" sz="1400" baseline="-25000" dirty="0">
                <a:latin typeface="+mn-lt"/>
              </a:rPr>
              <a:t>2</a:t>
            </a:r>
            <a:r>
              <a:rPr lang="en-AU" sz="1400" dirty="0">
                <a:latin typeface="+mn-lt"/>
              </a:rPr>
              <a:t>/C</a:t>
            </a:r>
            <a:r>
              <a:rPr lang="en-AU" sz="1400" baseline="-25000" dirty="0">
                <a:latin typeface="+mn-lt"/>
              </a:rPr>
              <a:t>2</a:t>
            </a:r>
            <a:r>
              <a:rPr lang="en-AU" sz="1400" dirty="0">
                <a:latin typeface="+mn-lt"/>
              </a:rPr>
              <a:t>H</a:t>
            </a:r>
            <a:r>
              <a:rPr lang="en-AU" sz="1400" baseline="-25000" dirty="0">
                <a:latin typeface="+mn-lt"/>
              </a:rPr>
              <a:t>4</a:t>
            </a:r>
            <a:r>
              <a:rPr lang="en-AU" sz="1400" dirty="0">
                <a:latin typeface="+mn-lt"/>
              </a:rPr>
              <a:t>, CH</a:t>
            </a:r>
            <a:r>
              <a:rPr lang="en-AU" sz="1400" baseline="-25000" dirty="0">
                <a:latin typeface="+mn-lt"/>
              </a:rPr>
              <a:t>4</a:t>
            </a:r>
            <a:r>
              <a:rPr lang="en-AU" sz="1400" dirty="0">
                <a:latin typeface="+mn-lt"/>
              </a:rPr>
              <a:t>/H</a:t>
            </a:r>
            <a:r>
              <a:rPr lang="en-AU" sz="1400" baseline="-25000" dirty="0">
                <a:latin typeface="+mn-lt"/>
              </a:rPr>
              <a:t>2</a:t>
            </a:r>
            <a:r>
              <a:rPr lang="en-AU" sz="1400" dirty="0">
                <a:latin typeface="+mn-lt"/>
              </a:rPr>
              <a:t> and C</a:t>
            </a:r>
            <a:r>
              <a:rPr lang="en-AU" sz="1400" baseline="-25000" dirty="0">
                <a:latin typeface="+mn-lt"/>
              </a:rPr>
              <a:t>2</a:t>
            </a:r>
            <a:r>
              <a:rPr lang="en-AU" sz="1400" dirty="0">
                <a:latin typeface="+mn-lt"/>
              </a:rPr>
              <a:t>H</a:t>
            </a:r>
            <a:r>
              <a:rPr lang="en-AU" sz="1400" baseline="-25000" dirty="0">
                <a:latin typeface="+mn-lt"/>
              </a:rPr>
              <a:t>4</a:t>
            </a:r>
            <a:r>
              <a:rPr lang="en-AU" sz="1400" dirty="0">
                <a:latin typeface="+mn-lt"/>
              </a:rPr>
              <a:t>/C</a:t>
            </a:r>
            <a:r>
              <a:rPr lang="en-AU" sz="1400" baseline="-25000" dirty="0">
                <a:latin typeface="+mn-lt"/>
              </a:rPr>
              <a:t>2</a:t>
            </a:r>
            <a:r>
              <a:rPr lang="en-AU" sz="1400" dirty="0">
                <a:latin typeface="+mn-lt"/>
              </a:rPr>
              <a:t>H</a:t>
            </a:r>
            <a:r>
              <a:rPr lang="en-AU" sz="1400" baseline="-25000" dirty="0">
                <a:latin typeface="+mn-lt"/>
              </a:rPr>
              <a:t>6</a:t>
            </a:r>
            <a:r>
              <a:rPr lang="en-AU" sz="1400" dirty="0">
                <a:latin typeface="+mn-lt"/>
              </a:rPr>
              <a:t> to plot this graph.</a:t>
            </a:r>
            <a:endParaRPr lang="en-US" sz="1400" dirty="0">
              <a:latin typeface="+mn-lt"/>
            </a:endParaRPr>
          </a:p>
        </p:txBody>
      </p:sp>
      <p:pic>
        <p:nvPicPr>
          <p:cNvPr id="7" name="Content Placeholder 6">
            <a:extLst>
              <a:ext uri="{FF2B5EF4-FFF2-40B4-BE49-F238E27FC236}">
                <a16:creationId xmlns:a16="http://schemas.microsoft.com/office/drawing/2014/main" id="{923C235F-2133-4124-B623-7124A6AE956A}"/>
              </a:ext>
            </a:extLst>
          </p:cNvPr>
          <p:cNvPicPr>
            <a:picLocks noGrp="1" noChangeAspect="1"/>
          </p:cNvPicPr>
          <p:nvPr>
            <p:ph sz="quarter" idx="22"/>
          </p:nvPr>
        </p:nvPicPr>
        <p:blipFill>
          <a:blip r:embed="rId2"/>
          <a:stretch>
            <a:fillRect/>
          </a:stretch>
        </p:blipFill>
        <p:spPr>
          <a:xfrm>
            <a:off x="564003" y="1459592"/>
            <a:ext cx="3815029" cy="2711450"/>
          </a:xfr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1835595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ontent Placeholder 1">
            <a:extLst>
              <a:ext uri="{FF2B5EF4-FFF2-40B4-BE49-F238E27FC236}">
                <a16:creationId xmlns:a16="http://schemas.microsoft.com/office/drawing/2014/main" id="{C7DD7F3B-7E8C-656F-D81E-20806FAED4FB}"/>
              </a:ext>
            </a:extLst>
          </p:cNvPr>
          <p:cNvSpPr>
            <a:spLocks noGrp="1"/>
          </p:cNvSpPr>
          <p:nvPr>
            <p:ph sz="quarter" idx="24"/>
          </p:nvPr>
        </p:nvSpPr>
        <p:spPr>
          <a:xfrm>
            <a:off x="5291527" y="1203326"/>
            <a:ext cx="3646097" cy="2711063"/>
          </a:xfrm>
        </p:spPr>
        <p:txBody>
          <a:bodyPr/>
          <a:lstStyle/>
          <a:p>
            <a:pPr marL="301624" indent="-285750">
              <a:buFont typeface="Arial" panose="020B0604020202020204" pitchFamily="34" charset="0"/>
              <a:buChar char="•"/>
            </a:pPr>
            <a:r>
              <a:rPr lang="en-US" sz="1400" dirty="0"/>
              <a:t>Based on three key gases of CH</a:t>
            </a:r>
            <a:r>
              <a:rPr lang="en-US" sz="1400" baseline="-25000" dirty="0"/>
              <a:t>4</a:t>
            </a:r>
            <a:r>
              <a:rPr lang="en-US" sz="1400" dirty="0"/>
              <a:t>, C</a:t>
            </a:r>
            <a:r>
              <a:rPr lang="en-US" sz="1400" baseline="-25000" dirty="0"/>
              <a:t>2</a:t>
            </a:r>
            <a:r>
              <a:rPr lang="en-US" sz="1400" dirty="0"/>
              <a:t>H</a:t>
            </a:r>
            <a:r>
              <a:rPr lang="en-US" sz="1400" baseline="-25000" dirty="0"/>
              <a:t>4</a:t>
            </a:r>
            <a:r>
              <a:rPr lang="en-US" sz="1400" dirty="0"/>
              <a:t> and C</a:t>
            </a:r>
            <a:r>
              <a:rPr lang="en-US" sz="1400" baseline="-25000" dirty="0"/>
              <a:t>2</a:t>
            </a:r>
            <a:r>
              <a:rPr lang="en-US" sz="1400" dirty="0"/>
              <a:t>H</a:t>
            </a:r>
            <a:r>
              <a:rPr lang="en-US" sz="1400" baseline="-25000" dirty="0"/>
              <a:t>2</a:t>
            </a:r>
            <a:r>
              <a:rPr lang="en-US" sz="1400" dirty="0"/>
              <a:t>.</a:t>
            </a:r>
          </a:p>
          <a:p>
            <a:pPr marL="301624" indent="-285750">
              <a:buFont typeface="Arial" panose="020B0604020202020204" pitchFamily="34" charset="0"/>
              <a:buChar char="•"/>
            </a:pPr>
            <a:r>
              <a:rPr lang="en-US" sz="1400" dirty="0"/>
              <a:t>Gas concentrations are calculated and then plotted along each side of the triangle.</a:t>
            </a:r>
          </a:p>
          <a:p>
            <a:pPr marL="301624" indent="-285750">
              <a:buFont typeface="Arial" panose="020B0604020202020204" pitchFamily="34" charset="0"/>
              <a:buChar char="•"/>
            </a:pPr>
            <a:r>
              <a:rPr lang="en-US" sz="1400" dirty="0"/>
              <a:t>The triangle is subdivided into fault zones. The fault zone in which the point is located indicates the likely fault diagnosis.</a:t>
            </a:r>
          </a:p>
          <a:p>
            <a:pPr marL="301624" indent="-285750">
              <a:buFont typeface="Arial" panose="020B0604020202020204" pitchFamily="34" charset="0"/>
              <a:buChar char="•"/>
            </a:pPr>
            <a:r>
              <a:rPr lang="en-US" sz="1400" dirty="0"/>
              <a:t>Should only be used in conjunction with other tests as this method cannot identify a normal condition (i.e., no fault).</a:t>
            </a:r>
          </a:p>
          <a:p>
            <a:pPr marL="301624" indent="-285750">
              <a:buFont typeface="Arial" panose="020B0604020202020204" pitchFamily="34" charset="0"/>
              <a:buChar char="•"/>
            </a:pPr>
            <a:endParaRPr lang="en-US" sz="1400" dirty="0"/>
          </a:p>
        </p:txBody>
      </p:sp>
      <p:pic>
        <p:nvPicPr>
          <p:cNvPr id="53" name="Content Placeholder 52">
            <a:extLst>
              <a:ext uri="{FF2B5EF4-FFF2-40B4-BE49-F238E27FC236}">
                <a16:creationId xmlns:a16="http://schemas.microsoft.com/office/drawing/2014/main" id="{FC8F8BFF-F7C2-4010-BCA9-74D18374FA8C}"/>
              </a:ext>
            </a:extLst>
          </p:cNvPr>
          <p:cNvPicPr>
            <a:picLocks noGrp="1" noChangeAspect="1"/>
          </p:cNvPicPr>
          <p:nvPr>
            <p:ph sz="quarter" idx="22"/>
          </p:nvPr>
        </p:nvPicPr>
        <p:blipFill>
          <a:blip r:embed="rId2"/>
          <a:stretch>
            <a:fillRect/>
          </a:stretch>
        </p:blipFill>
        <p:spPr>
          <a:xfrm>
            <a:off x="252414" y="1366459"/>
            <a:ext cx="4794444" cy="2711063"/>
          </a:xfrm>
          <a:noFill/>
          <a:effectLst>
            <a:outerShdw blurRad="63500" sx="102000" sy="102000" algn="ctr" rotWithShape="0">
              <a:prstClr val="black">
                <a:alpha val="40000"/>
              </a:prstClr>
            </a:outerShdw>
          </a:effectLst>
        </p:spPr>
      </p:pic>
      <p:sp>
        <p:nvSpPr>
          <p:cNvPr id="6" name="Slide Number Placeholder 5">
            <a:extLst>
              <a:ext uri="{FF2B5EF4-FFF2-40B4-BE49-F238E27FC236}">
                <a16:creationId xmlns:a16="http://schemas.microsoft.com/office/drawing/2014/main" id="{2A249228-EF81-4EF4-9A9E-7DA4B7AAD5DC}"/>
              </a:ext>
            </a:extLst>
          </p:cNvPr>
          <p:cNvSpPr>
            <a:spLocks noGrp="1"/>
          </p:cNvSpPr>
          <p:nvPr>
            <p:ph type="sldNum" sz="quarter" idx="4"/>
          </p:nvPr>
        </p:nvSpPr>
        <p:spPr>
          <a:xfrm>
            <a:off x="1747891" y="4857156"/>
            <a:ext cx="525690" cy="92333"/>
          </a:xfrm>
        </p:spPr>
        <p:txBody>
          <a:bodyPr vert="horz" lIns="0" tIns="0" rIns="0" bIns="0" rtlCol="0" anchor="ctr">
            <a:norm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600"/>
                </a:spcAft>
                <a:buClrTx/>
                <a:buSzTx/>
                <a:buFontTx/>
                <a:buNone/>
                <a:tabLst/>
                <a:defRPr/>
              </a:pPr>
              <a:t>15</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7" name="Footer Placeholder 6">
            <a:extLst>
              <a:ext uri="{FF2B5EF4-FFF2-40B4-BE49-F238E27FC236}">
                <a16:creationId xmlns:a16="http://schemas.microsoft.com/office/drawing/2014/main" id="{4E5786C6-90EC-460B-B453-FD5820E8E02A}"/>
              </a:ext>
            </a:extLst>
          </p:cNvPr>
          <p:cNvSpPr>
            <a:spLocks noGrp="1"/>
          </p:cNvSpPr>
          <p:nvPr>
            <p:ph type="ftr" sz="quarter" idx="3"/>
          </p:nvPr>
        </p:nvSpPr>
        <p:spPr>
          <a:xfrm>
            <a:off x="252414" y="4857156"/>
            <a:ext cx="1509767" cy="92333"/>
          </a:xfrm>
        </p:spPr>
        <p:txBody>
          <a:bodyPr vert="horz" wrap="square" lIns="0" tIns="0" rIns="0" bIns="0" rtlCol="0" anchor="ctr">
            <a:norm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
        <p:nvSpPr>
          <p:cNvPr id="22" name="Content Placeholder 23">
            <a:extLst>
              <a:ext uri="{FF2B5EF4-FFF2-40B4-BE49-F238E27FC236}">
                <a16:creationId xmlns:a16="http://schemas.microsoft.com/office/drawing/2014/main" id="{4A30281E-66E7-4977-94E3-5F3706477ED2}"/>
              </a:ext>
            </a:extLst>
          </p:cNvPr>
          <p:cNvSpPr txBox="1">
            <a:spLocks/>
          </p:cNvSpPr>
          <p:nvPr/>
        </p:nvSpPr>
        <p:spPr>
          <a:xfrm>
            <a:off x="252414" y="230188"/>
            <a:ext cx="8647112" cy="369332"/>
          </a:xfrm>
          <a:prstGeom prst="rect">
            <a:avLst/>
          </a:prstGeom>
        </p:spPr>
        <p:txBody>
          <a:bodyPr vert="horz" lIns="0" tIns="0" rIns="0" bIns="0" rtlCol="0">
            <a:normAutofit/>
          </a:bodyPr>
          <a:lstStyle>
            <a:lvl1pPr marL="173028" indent="-157154" algn="l" defTabSz="457172"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29" indent="-182552" algn="l" defTabSz="447648"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30" indent="-179378" algn="l" defTabSz="457172"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095" indent="-179378" algn="l" defTabSz="457172"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884" indent="-185726" algn="l" defTabSz="457172"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57" indent="-182870" algn="l" defTabSz="457172"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57" indent="-182870" algn="l" defTabSz="457172"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793" indent="-228587" algn="l" defTabSz="457172" rtl="0" eaLnBrk="1" latinLnBrk="0" hangingPunct="1">
              <a:spcBef>
                <a:spcPct val="20000"/>
              </a:spcBef>
              <a:buFont typeface="Arial"/>
              <a:buChar char="•"/>
              <a:defRPr sz="2000" kern="1200">
                <a:solidFill>
                  <a:schemeClr val="tx1"/>
                </a:solidFill>
                <a:latin typeface="+mn-lt"/>
                <a:ea typeface="+mn-ea"/>
                <a:cs typeface="+mn-cs"/>
              </a:defRPr>
            </a:lvl8pPr>
            <a:lvl9pPr marL="3885966" indent="-228587" algn="l" defTabSz="457172" rtl="0" eaLnBrk="1" latinLnBrk="0" hangingPunct="1">
              <a:spcBef>
                <a:spcPct val="20000"/>
              </a:spcBef>
              <a:buFont typeface="Arial"/>
              <a:buChar char="•"/>
              <a:defRPr sz="2000" kern="1200">
                <a:solidFill>
                  <a:schemeClr val="tx1"/>
                </a:solidFill>
                <a:latin typeface="+mn-lt"/>
                <a:ea typeface="+mn-ea"/>
                <a:cs typeface="+mn-cs"/>
              </a:defRPr>
            </a:lvl9pPr>
          </a:lstStyle>
          <a:p>
            <a:pPr marL="173028" marR="0" lvl="0" indent="-157154" algn="l" defTabSz="457172"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GB" sz="2400" b="0" i="0" u="none" strike="noStrike" kern="1200" cap="none" spc="0" normalizeH="0" baseline="0" noProof="0" dirty="0">
                <a:ln>
                  <a:noFill/>
                </a:ln>
                <a:solidFill>
                  <a:srgbClr val="3DCD58"/>
                </a:solidFill>
                <a:effectLst/>
                <a:uLnTx/>
                <a:uFillTx/>
                <a:latin typeface="Arial"/>
                <a:ea typeface="+mn-ea"/>
                <a:cs typeface="Arial"/>
              </a:rPr>
              <a:t>Duval Triangle Method</a:t>
            </a:r>
          </a:p>
        </p:txBody>
      </p:sp>
      <p:sp>
        <p:nvSpPr>
          <p:cNvPr id="54" name="Text Placeholder 5">
            <a:extLst>
              <a:ext uri="{FF2B5EF4-FFF2-40B4-BE49-F238E27FC236}">
                <a16:creationId xmlns:a16="http://schemas.microsoft.com/office/drawing/2014/main" id="{B14AC91E-F32E-0DC5-9FF3-B3480C893483}"/>
              </a:ext>
            </a:extLst>
          </p:cNvPr>
          <p:cNvSpPr>
            <a:spLocks noGrp="1"/>
          </p:cNvSpPr>
          <p:nvPr>
            <p:ph type="body" sz="quarter" idx="33"/>
          </p:nvPr>
        </p:nvSpPr>
        <p:spPr>
          <a:xfrm>
            <a:off x="252414" y="683367"/>
            <a:ext cx="8647112" cy="253916"/>
          </a:xfrm>
        </p:spPr>
        <p:txBody>
          <a:bodyPr vert="horz" lIns="0" tIns="0" rIns="0" bIns="0" rtlCol="0">
            <a:noAutofit/>
          </a:bodyPr>
          <a:lstStyle/>
          <a:p>
            <a:pPr marL="0" indent="0"/>
            <a:r>
              <a:rPr lang="en-GB" sz="1400" kern="1200" baseline="0" dirty="0">
                <a:latin typeface="Arial"/>
                <a:ea typeface="+mn-ea"/>
                <a:cs typeface="Arial"/>
              </a:rPr>
              <a:t>The ETE platform provides a </a:t>
            </a:r>
            <a:r>
              <a:rPr lang="en-GB" sz="1400" dirty="0"/>
              <a:t>range of graphical representations to support the interpretation of DGA results, including the Duval Triangle method, which assists in diagnosing faults. </a:t>
            </a:r>
            <a:endParaRPr lang="en-GB" sz="1400" kern="1200" baseline="0" dirty="0">
              <a:latin typeface="Arial"/>
              <a:ea typeface="+mn-ea"/>
              <a:cs typeface="Arial"/>
            </a:endParaRPr>
          </a:p>
        </p:txBody>
      </p:sp>
    </p:spTree>
    <p:extLst>
      <p:ext uri="{BB962C8B-B14F-4D97-AF65-F5344CB8AC3E}">
        <p14:creationId xmlns:p14="http://schemas.microsoft.com/office/powerpoint/2010/main" val="42817783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6DC63BD2-1D47-473D-A28C-316AF7303599}"/>
              </a:ext>
            </a:extLst>
          </p:cNvPr>
          <p:cNvPicPr>
            <a:picLocks noGrp="1" noChangeAspect="1"/>
          </p:cNvPicPr>
          <p:nvPr>
            <p:ph sz="quarter" idx="24"/>
          </p:nvPr>
        </p:nvPicPr>
        <p:blipFill>
          <a:blip r:embed="rId2"/>
          <a:stretch>
            <a:fillRect/>
          </a:stretch>
        </p:blipFill>
        <p:spPr>
          <a:xfrm>
            <a:off x="4797290" y="1531969"/>
            <a:ext cx="4102236" cy="2711450"/>
          </a:xfrm>
          <a:effectLst>
            <a:outerShdw blurRad="63500" sx="102000" sy="102000" algn="ctr" rotWithShape="0">
              <a:prstClr val="black">
                <a:alpha val="40000"/>
              </a:prstClr>
            </a:outerShdw>
          </a:effectLst>
        </p:spPr>
      </p:pic>
      <p:sp>
        <p:nvSpPr>
          <p:cNvPr id="6" name="Slide Number Placeholder 5">
            <a:extLst>
              <a:ext uri="{FF2B5EF4-FFF2-40B4-BE49-F238E27FC236}">
                <a16:creationId xmlns:a16="http://schemas.microsoft.com/office/drawing/2014/main" id="{2A249228-EF81-4EF4-9A9E-7DA4B7AAD5DC}"/>
              </a:ext>
            </a:extLst>
          </p:cNvPr>
          <p:cNvSpPr>
            <a:spLocks noGrp="1"/>
          </p:cNvSpPr>
          <p:nvPr>
            <p:ph type="sldNum" sz="quarter" idx="4"/>
          </p:nvPr>
        </p:nvSpPr>
        <p:spPr>
          <a:xfrm>
            <a:off x="1747891" y="4857156"/>
            <a:ext cx="525690" cy="92333"/>
          </a:xfrm>
        </p:spPr>
        <p:txBody>
          <a:bodyPr vert="horz" lIns="0" tIns="0" rIns="0" bIns="0" rtlCol="0" anchor="ctr">
            <a:norm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600"/>
                </a:spcAft>
                <a:buClrTx/>
                <a:buSzTx/>
                <a:buFontTx/>
                <a:buNone/>
                <a:tabLst/>
                <a:defRPr/>
              </a:pPr>
              <a:t>16</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7" name="Footer Placeholder 6">
            <a:extLst>
              <a:ext uri="{FF2B5EF4-FFF2-40B4-BE49-F238E27FC236}">
                <a16:creationId xmlns:a16="http://schemas.microsoft.com/office/drawing/2014/main" id="{4E5786C6-90EC-460B-B453-FD5820E8E02A}"/>
              </a:ext>
            </a:extLst>
          </p:cNvPr>
          <p:cNvSpPr>
            <a:spLocks noGrp="1"/>
          </p:cNvSpPr>
          <p:nvPr>
            <p:ph type="ftr" sz="quarter" idx="3"/>
          </p:nvPr>
        </p:nvSpPr>
        <p:spPr>
          <a:xfrm>
            <a:off x="252414" y="4857156"/>
            <a:ext cx="1509767" cy="92333"/>
          </a:xfrm>
        </p:spPr>
        <p:txBody>
          <a:bodyPr vert="horz" wrap="square" lIns="0" tIns="0" rIns="0" bIns="0" rtlCol="0" anchor="ctr">
            <a:norm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
        <p:nvSpPr>
          <p:cNvPr id="22" name="Content Placeholder 23">
            <a:extLst>
              <a:ext uri="{FF2B5EF4-FFF2-40B4-BE49-F238E27FC236}">
                <a16:creationId xmlns:a16="http://schemas.microsoft.com/office/drawing/2014/main" id="{4A30281E-66E7-4977-94E3-5F3706477ED2}"/>
              </a:ext>
            </a:extLst>
          </p:cNvPr>
          <p:cNvSpPr txBox="1">
            <a:spLocks/>
          </p:cNvSpPr>
          <p:nvPr/>
        </p:nvSpPr>
        <p:spPr>
          <a:xfrm>
            <a:off x="252414" y="230188"/>
            <a:ext cx="8647112" cy="369332"/>
          </a:xfrm>
          <a:prstGeom prst="rect">
            <a:avLst/>
          </a:prstGeom>
        </p:spPr>
        <p:txBody>
          <a:bodyPr vert="horz" lIns="0" tIns="0" rIns="0" bIns="0" rtlCol="0">
            <a:normAutofit/>
          </a:bodyPr>
          <a:lstStyle>
            <a:lvl1pPr marL="173028" indent="-157154" algn="l" defTabSz="457172"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29" indent="-182552" algn="l" defTabSz="447648"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30" indent="-179378" algn="l" defTabSz="457172"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095" indent="-179378" algn="l" defTabSz="457172"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884" indent="-185726" algn="l" defTabSz="457172"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57" indent="-182870" algn="l" defTabSz="457172"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57" indent="-182870" algn="l" defTabSz="457172"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793" indent="-228587" algn="l" defTabSz="457172" rtl="0" eaLnBrk="1" latinLnBrk="0" hangingPunct="1">
              <a:spcBef>
                <a:spcPct val="20000"/>
              </a:spcBef>
              <a:buFont typeface="Arial"/>
              <a:buChar char="•"/>
              <a:defRPr sz="2000" kern="1200">
                <a:solidFill>
                  <a:schemeClr val="tx1"/>
                </a:solidFill>
                <a:latin typeface="+mn-lt"/>
                <a:ea typeface="+mn-ea"/>
                <a:cs typeface="+mn-cs"/>
              </a:defRPr>
            </a:lvl8pPr>
            <a:lvl9pPr marL="3885966" indent="-228587" algn="l" defTabSz="457172" rtl="0" eaLnBrk="1" latinLnBrk="0" hangingPunct="1">
              <a:spcBef>
                <a:spcPct val="20000"/>
              </a:spcBef>
              <a:buFont typeface="Arial"/>
              <a:buChar char="•"/>
              <a:defRPr sz="2000" kern="1200">
                <a:solidFill>
                  <a:schemeClr val="tx1"/>
                </a:solidFill>
                <a:latin typeface="+mn-lt"/>
                <a:ea typeface="+mn-ea"/>
                <a:cs typeface="+mn-cs"/>
              </a:defRPr>
            </a:lvl9pPr>
          </a:lstStyle>
          <a:p>
            <a:pPr marL="173028" marR="0" lvl="0" indent="-157154" algn="l" defTabSz="457172"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GB" sz="2400" b="0" i="0" u="none" strike="noStrike" kern="1200" cap="none" spc="0" normalizeH="0" baseline="0" noProof="0" dirty="0">
                <a:ln>
                  <a:noFill/>
                </a:ln>
                <a:solidFill>
                  <a:srgbClr val="3DCD58"/>
                </a:solidFill>
                <a:effectLst/>
                <a:uLnTx/>
                <a:uFillTx/>
                <a:latin typeface="Arial"/>
                <a:ea typeface="+mn-ea"/>
                <a:cs typeface="Arial"/>
              </a:rPr>
              <a:t>Duval Triangle Method</a:t>
            </a:r>
          </a:p>
        </p:txBody>
      </p:sp>
      <p:sp>
        <p:nvSpPr>
          <p:cNvPr id="54" name="Text Placeholder 5">
            <a:extLst>
              <a:ext uri="{FF2B5EF4-FFF2-40B4-BE49-F238E27FC236}">
                <a16:creationId xmlns:a16="http://schemas.microsoft.com/office/drawing/2014/main" id="{B14AC91E-F32E-0DC5-9FF3-B3480C893483}"/>
              </a:ext>
            </a:extLst>
          </p:cNvPr>
          <p:cNvSpPr>
            <a:spLocks noGrp="1"/>
          </p:cNvSpPr>
          <p:nvPr>
            <p:ph type="body" sz="quarter" idx="33"/>
          </p:nvPr>
        </p:nvSpPr>
        <p:spPr>
          <a:xfrm>
            <a:off x="252414" y="683367"/>
            <a:ext cx="8647112" cy="253916"/>
          </a:xfrm>
        </p:spPr>
        <p:txBody>
          <a:bodyPr vert="horz" lIns="0" tIns="0" rIns="0" bIns="0" rtlCol="0">
            <a:noAutofit/>
          </a:bodyPr>
          <a:lstStyle/>
          <a:p>
            <a:pPr marL="0" indent="0"/>
            <a:r>
              <a:rPr lang="en-GB" sz="1400" dirty="0"/>
              <a:t>Duval Triangle 4 &amp; 5 are used in the same manner, assisting customers in obtaining more detailed information about sub-types of thermal faults. </a:t>
            </a:r>
          </a:p>
        </p:txBody>
      </p:sp>
      <p:pic>
        <p:nvPicPr>
          <p:cNvPr id="5" name="Content Placeholder 4">
            <a:extLst>
              <a:ext uri="{FF2B5EF4-FFF2-40B4-BE49-F238E27FC236}">
                <a16:creationId xmlns:a16="http://schemas.microsoft.com/office/drawing/2014/main" id="{D8F293F4-7620-465B-98F9-9EA274694276}"/>
              </a:ext>
            </a:extLst>
          </p:cNvPr>
          <p:cNvPicPr>
            <a:picLocks noGrp="1" noChangeAspect="1"/>
          </p:cNvPicPr>
          <p:nvPr>
            <p:ph sz="quarter" idx="22"/>
          </p:nvPr>
        </p:nvPicPr>
        <p:blipFill>
          <a:blip r:embed="rId3"/>
          <a:stretch>
            <a:fillRect/>
          </a:stretch>
        </p:blipFill>
        <p:spPr>
          <a:xfrm>
            <a:off x="274735" y="1538319"/>
            <a:ext cx="4111296" cy="2711450"/>
          </a:xfr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7089529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ontent Placeholder 1">
            <a:extLst>
              <a:ext uri="{FF2B5EF4-FFF2-40B4-BE49-F238E27FC236}">
                <a16:creationId xmlns:a16="http://schemas.microsoft.com/office/drawing/2014/main" id="{C7DD7F3B-7E8C-656F-D81E-20806FAED4FB}"/>
              </a:ext>
            </a:extLst>
          </p:cNvPr>
          <p:cNvSpPr>
            <a:spLocks noGrp="1"/>
          </p:cNvSpPr>
          <p:nvPr>
            <p:ph sz="quarter" idx="24"/>
          </p:nvPr>
        </p:nvSpPr>
        <p:spPr>
          <a:xfrm>
            <a:off x="5291527" y="1203326"/>
            <a:ext cx="3646097" cy="2711063"/>
          </a:xfrm>
        </p:spPr>
        <p:txBody>
          <a:bodyPr/>
          <a:lstStyle/>
          <a:p>
            <a:pPr marL="301624" indent="-285750">
              <a:buFont typeface="Arial" panose="020B0604020202020204" pitchFamily="34" charset="0"/>
              <a:buChar char="•"/>
            </a:pPr>
            <a:r>
              <a:rPr lang="en-US" sz="1400" dirty="0"/>
              <a:t>Uses all five hydrocarbon gases H</a:t>
            </a:r>
            <a:r>
              <a:rPr lang="en-US" sz="1400" baseline="-25000" dirty="0"/>
              <a:t>2</a:t>
            </a:r>
            <a:r>
              <a:rPr lang="en-US" sz="1400" dirty="0"/>
              <a:t>, C</a:t>
            </a:r>
            <a:r>
              <a:rPr lang="en-US" sz="1400" baseline="-25000" dirty="0"/>
              <a:t>2</a:t>
            </a:r>
            <a:r>
              <a:rPr lang="en-US" sz="1400" dirty="0"/>
              <a:t>H</a:t>
            </a:r>
            <a:r>
              <a:rPr lang="en-US" sz="1400" baseline="-25000" dirty="0"/>
              <a:t>6</a:t>
            </a:r>
            <a:r>
              <a:rPr lang="en-US" sz="1400" dirty="0"/>
              <a:t>, CH</a:t>
            </a:r>
            <a:r>
              <a:rPr lang="en-US" sz="1400" baseline="-25000" dirty="0"/>
              <a:t>4</a:t>
            </a:r>
            <a:r>
              <a:rPr lang="en-US" sz="1400" dirty="0"/>
              <a:t>, C</a:t>
            </a:r>
            <a:r>
              <a:rPr lang="en-US" sz="1400" baseline="-25000" dirty="0"/>
              <a:t>2</a:t>
            </a:r>
            <a:r>
              <a:rPr lang="en-US" sz="1400" dirty="0"/>
              <a:t>H</a:t>
            </a:r>
            <a:r>
              <a:rPr lang="en-US" sz="1400" baseline="-25000" dirty="0"/>
              <a:t>4</a:t>
            </a:r>
            <a:r>
              <a:rPr lang="en-US" sz="1400" dirty="0"/>
              <a:t> and C</a:t>
            </a:r>
            <a:r>
              <a:rPr lang="en-US" sz="1400" baseline="-25000" dirty="0"/>
              <a:t>2</a:t>
            </a:r>
            <a:r>
              <a:rPr lang="en-US" sz="1400" dirty="0"/>
              <a:t>H</a:t>
            </a:r>
            <a:r>
              <a:rPr lang="en-US" sz="1400" baseline="-25000" dirty="0"/>
              <a:t>2</a:t>
            </a:r>
            <a:r>
              <a:rPr lang="en-US" sz="1400" dirty="0"/>
              <a:t>.</a:t>
            </a:r>
          </a:p>
          <a:p>
            <a:pPr marL="301624" indent="-285750">
              <a:buFont typeface="Arial" panose="020B0604020202020204" pitchFamily="34" charset="0"/>
              <a:buChar char="•"/>
            </a:pPr>
            <a:r>
              <a:rPr lang="en-US" sz="1400" dirty="0"/>
              <a:t>Six basic types of fault can be detected.</a:t>
            </a:r>
          </a:p>
          <a:p>
            <a:pPr marL="301624" indent="-285750">
              <a:buFont typeface="Arial" panose="020B0604020202020204" pitchFamily="34" charset="0"/>
              <a:buChar char="•"/>
            </a:pPr>
            <a:r>
              <a:rPr lang="en-US" sz="1400" dirty="0"/>
              <a:t>Should only be used in conjunction with other tests as this method cannot identify a normal condition (i.e., no fault).</a:t>
            </a:r>
          </a:p>
          <a:p>
            <a:pPr marL="301624" indent="-285750">
              <a:buFont typeface="Arial" panose="020B0604020202020204" pitchFamily="34" charset="0"/>
              <a:buChar char="•"/>
            </a:pPr>
            <a:r>
              <a:rPr lang="en-US" sz="1400" dirty="0"/>
              <a:t>Duval Pentagon 2 can be used to obtain more information on thermal faults.</a:t>
            </a:r>
          </a:p>
          <a:p>
            <a:pPr marL="301624" indent="-285750">
              <a:buFont typeface="Arial" panose="020B0604020202020204" pitchFamily="34" charset="0"/>
              <a:buChar char="•"/>
            </a:pPr>
            <a:endParaRPr lang="en-US" sz="1400" dirty="0"/>
          </a:p>
        </p:txBody>
      </p:sp>
      <p:sp>
        <p:nvSpPr>
          <p:cNvPr id="6" name="Slide Number Placeholder 5">
            <a:extLst>
              <a:ext uri="{FF2B5EF4-FFF2-40B4-BE49-F238E27FC236}">
                <a16:creationId xmlns:a16="http://schemas.microsoft.com/office/drawing/2014/main" id="{2A249228-EF81-4EF4-9A9E-7DA4B7AAD5DC}"/>
              </a:ext>
            </a:extLst>
          </p:cNvPr>
          <p:cNvSpPr>
            <a:spLocks noGrp="1"/>
          </p:cNvSpPr>
          <p:nvPr>
            <p:ph type="sldNum" sz="quarter" idx="4"/>
          </p:nvPr>
        </p:nvSpPr>
        <p:spPr>
          <a:xfrm>
            <a:off x="1747891" y="4857156"/>
            <a:ext cx="525690" cy="92333"/>
          </a:xfrm>
        </p:spPr>
        <p:txBody>
          <a:bodyPr vert="horz" lIns="0" tIns="0" rIns="0" bIns="0" rtlCol="0" anchor="ctr">
            <a:norm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600"/>
                </a:spcAft>
                <a:buClrTx/>
                <a:buSzTx/>
                <a:buFontTx/>
                <a:buNone/>
                <a:tabLst/>
                <a:defRPr/>
              </a:pPr>
              <a:t>17</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7" name="Footer Placeholder 6">
            <a:extLst>
              <a:ext uri="{FF2B5EF4-FFF2-40B4-BE49-F238E27FC236}">
                <a16:creationId xmlns:a16="http://schemas.microsoft.com/office/drawing/2014/main" id="{4E5786C6-90EC-460B-B453-FD5820E8E02A}"/>
              </a:ext>
            </a:extLst>
          </p:cNvPr>
          <p:cNvSpPr>
            <a:spLocks noGrp="1"/>
          </p:cNvSpPr>
          <p:nvPr>
            <p:ph type="ftr" sz="quarter" idx="3"/>
          </p:nvPr>
        </p:nvSpPr>
        <p:spPr>
          <a:xfrm>
            <a:off x="252414" y="4857156"/>
            <a:ext cx="1509767" cy="92333"/>
          </a:xfrm>
        </p:spPr>
        <p:txBody>
          <a:bodyPr vert="horz" wrap="square" lIns="0" tIns="0" rIns="0" bIns="0" rtlCol="0" anchor="ctr">
            <a:norm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
        <p:nvSpPr>
          <p:cNvPr id="22" name="Content Placeholder 23">
            <a:extLst>
              <a:ext uri="{FF2B5EF4-FFF2-40B4-BE49-F238E27FC236}">
                <a16:creationId xmlns:a16="http://schemas.microsoft.com/office/drawing/2014/main" id="{4A30281E-66E7-4977-94E3-5F3706477ED2}"/>
              </a:ext>
            </a:extLst>
          </p:cNvPr>
          <p:cNvSpPr txBox="1">
            <a:spLocks/>
          </p:cNvSpPr>
          <p:nvPr/>
        </p:nvSpPr>
        <p:spPr>
          <a:xfrm>
            <a:off x="252414" y="230188"/>
            <a:ext cx="8647112" cy="369332"/>
          </a:xfrm>
          <a:prstGeom prst="rect">
            <a:avLst/>
          </a:prstGeom>
        </p:spPr>
        <p:txBody>
          <a:bodyPr vert="horz" lIns="0" tIns="0" rIns="0" bIns="0" rtlCol="0">
            <a:normAutofit/>
          </a:bodyPr>
          <a:lstStyle>
            <a:lvl1pPr marL="173028" indent="-157154" algn="l" defTabSz="457172"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29" indent="-182552" algn="l" defTabSz="447648"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30" indent="-179378" algn="l" defTabSz="457172"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095" indent="-179378" algn="l" defTabSz="457172"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884" indent="-185726" algn="l" defTabSz="457172"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57" indent="-182870" algn="l" defTabSz="457172"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57" indent="-182870" algn="l" defTabSz="457172"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793" indent="-228587" algn="l" defTabSz="457172" rtl="0" eaLnBrk="1" latinLnBrk="0" hangingPunct="1">
              <a:spcBef>
                <a:spcPct val="20000"/>
              </a:spcBef>
              <a:buFont typeface="Arial"/>
              <a:buChar char="•"/>
              <a:defRPr sz="2000" kern="1200">
                <a:solidFill>
                  <a:schemeClr val="tx1"/>
                </a:solidFill>
                <a:latin typeface="+mn-lt"/>
                <a:ea typeface="+mn-ea"/>
                <a:cs typeface="+mn-cs"/>
              </a:defRPr>
            </a:lvl8pPr>
            <a:lvl9pPr marL="3885966" indent="-228587" algn="l" defTabSz="457172" rtl="0" eaLnBrk="1" latinLnBrk="0" hangingPunct="1">
              <a:spcBef>
                <a:spcPct val="20000"/>
              </a:spcBef>
              <a:buFont typeface="Arial"/>
              <a:buChar char="•"/>
              <a:defRPr sz="2000" kern="1200">
                <a:solidFill>
                  <a:schemeClr val="tx1"/>
                </a:solidFill>
                <a:latin typeface="+mn-lt"/>
                <a:ea typeface="+mn-ea"/>
                <a:cs typeface="+mn-cs"/>
              </a:defRPr>
            </a:lvl9pPr>
          </a:lstStyle>
          <a:p>
            <a:pPr marL="173028" marR="0" lvl="0" indent="-157154" algn="l" defTabSz="457172"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kumimoji="0" lang="en-GB" sz="2400" b="0" i="0" u="none" strike="noStrike" kern="1200" cap="none" spc="0" normalizeH="0" baseline="0" noProof="0" dirty="0">
                <a:ln>
                  <a:noFill/>
                </a:ln>
                <a:solidFill>
                  <a:srgbClr val="3DCD58"/>
                </a:solidFill>
                <a:effectLst/>
                <a:uLnTx/>
                <a:uFillTx/>
                <a:latin typeface="Arial"/>
                <a:ea typeface="+mn-ea"/>
                <a:cs typeface="Arial"/>
              </a:rPr>
              <a:t>Duval Pentagon Method</a:t>
            </a:r>
          </a:p>
        </p:txBody>
      </p:sp>
      <p:sp>
        <p:nvSpPr>
          <p:cNvPr id="54" name="Text Placeholder 5">
            <a:extLst>
              <a:ext uri="{FF2B5EF4-FFF2-40B4-BE49-F238E27FC236}">
                <a16:creationId xmlns:a16="http://schemas.microsoft.com/office/drawing/2014/main" id="{B14AC91E-F32E-0DC5-9FF3-B3480C893483}"/>
              </a:ext>
            </a:extLst>
          </p:cNvPr>
          <p:cNvSpPr>
            <a:spLocks noGrp="1"/>
          </p:cNvSpPr>
          <p:nvPr>
            <p:ph type="body" sz="quarter" idx="33"/>
          </p:nvPr>
        </p:nvSpPr>
        <p:spPr>
          <a:xfrm>
            <a:off x="252414" y="683367"/>
            <a:ext cx="8647112" cy="253916"/>
          </a:xfrm>
        </p:spPr>
        <p:txBody>
          <a:bodyPr vert="horz" lIns="0" tIns="0" rIns="0" bIns="0" rtlCol="0">
            <a:normAutofit/>
          </a:bodyPr>
          <a:lstStyle/>
          <a:p>
            <a:r>
              <a:rPr lang="en-GB" sz="1400" kern="1200" baseline="0" dirty="0">
                <a:latin typeface="Arial"/>
                <a:ea typeface="+mn-ea"/>
                <a:cs typeface="Arial"/>
              </a:rPr>
              <a:t>This method is another </a:t>
            </a:r>
            <a:r>
              <a:rPr lang="en-GB" sz="1400" dirty="0"/>
              <a:t>graphical representation to support the interpretation of DGA results. </a:t>
            </a:r>
            <a:endParaRPr lang="en-GB" sz="1400" kern="1200" baseline="0" dirty="0">
              <a:latin typeface="Arial"/>
              <a:ea typeface="+mn-ea"/>
              <a:cs typeface="Arial"/>
            </a:endParaRPr>
          </a:p>
        </p:txBody>
      </p:sp>
      <p:pic>
        <p:nvPicPr>
          <p:cNvPr id="10" name="Content Placeholder 4">
            <a:extLst>
              <a:ext uri="{FF2B5EF4-FFF2-40B4-BE49-F238E27FC236}">
                <a16:creationId xmlns:a16="http://schemas.microsoft.com/office/drawing/2014/main" id="{2FF3A63E-3292-4848-91FB-F6C69FD19A54}"/>
              </a:ext>
            </a:extLst>
          </p:cNvPr>
          <p:cNvPicPr>
            <a:picLocks noGrp="1" noChangeAspect="1"/>
          </p:cNvPicPr>
          <p:nvPr>
            <p:ph sz="quarter" idx="22"/>
          </p:nvPr>
        </p:nvPicPr>
        <p:blipFill>
          <a:blip r:embed="rId2"/>
          <a:stretch>
            <a:fillRect/>
          </a:stretch>
        </p:blipFill>
        <p:spPr>
          <a:xfrm>
            <a:off x="247650" y="1223137"/>
            <a:ext cx="4715896" cy="3034537"/>
          </a:xfr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5789928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480985065_cb_cb2.jpg"/>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l="54" r="54"/>
          <a:stretch/>
        </p:blipFill>
        <p:spPr/>
      </p:pic>
      <p:sp>
        <p:nvSpPr>
          <p:cNvPr id="8" name="Title 2"/>
          <p:cNvSpPr>
            <a:spLocks noGrp="1"/>
          </p:cNvSpPr>
          <p:nvPr>
            <p:ph type="title"/>
          </p:nvPr>
        </p:nvSpPr>
        <p:spPr/>
        <p:txBody>
          <a:bodyPr>
            <a:noAutofit/>
          </a:bodyPr>
          <a:lstStyle/>
          <a:p>
            <a:r>
              <a:rPr lang="en-US" dirty="0" err="1"/>
              <a:t>EcoStruxure</a:t>
            </a:r>
            <a:r>
              <a:rPr lang="en-US" dirty="0"/>
              <a:t> Transformer Expert</a:t>
            </a:r>
          </a:p>
        </p:txBody>
      </p:sp>
      <p:sp>
        <p:nvSpPr>
          <p:cNvPr id="9" name="Text Placeholder 3"/>
          <p:cNvSpPr>
            <a:spLocks noGrp="1"/>
          </p:cNvSpPr>
          <p:nvPr>
            <p:ph type="body" sz="quarter" idx="11"/>
          </p:nvPr>
        </p:nvSpPr>
        <p:spPr/>
        <p:txBody>
          <a:bodyPr>
            <a:noAutofit/>
          </a:bodyPr>
          <a:lstStyle/>
          <a:p>
            <a:r>
              <a:rPr lang="en-US" dirty="0"/>
              <a:t> ETE Oil Analysis</a:t>
            </a:r>
          </a:p>
        </p:txBody>
      </p:sp>
      <p:sp>
        <p:nvSpPr>
          <p:cNvPr id="5" name="Slide Number Placeholder 4"/>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FFFFFF"/>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18</a:t>
            </a:fld>
            <a:endParaRPr kumimoji="0" lang="en-US" sz="600" b="0" i="0" u="none" strike="noStrike" kern="1200" cap="none" spc="0" normalizeH="0" baseline="0" noProof="0" dirty="0">
              <a:ln>
                <a:noFill/>
              </a:ln>
              <a:solidFill>
                <a:srgbClr val="FFFFFF"/>
              </a:solidFill>
              <a:effectLst/>
              <a:uLnTx/>
              <a:uFillTx/>
              <a:latin typeface="Arial"/>
              <a:ea typeface="+mn-ea"/>
              <a:cs typeface="Arial"/>
            </a:endParaRPr>
          </a:p>
        </p:txBody>
      </p:sp>
      <p:sp>
        <p:nvSpPr>
          <p:cNvPr id="6" name="Footer Placeholder 5"/>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a:ea typeface="+mn-ea"/>
                <a:cs typeface="Arial"/>
              </a:rPr>
              <a:t>Confidential Property of Schneider Electric |</a:t>
            </a:r>
            <a:endParaRPr kumimoji="0" lang="en-US" sz="600" b="0" i="0" u="none" strike="noStrike" kern="1200" cap="none" spc="0" normalizeH="0" baseline="0" noProof="0" dirty="0">
              <a:ln>
                <a:noFill/>
              </a:ln>
              <a:solidFill>
                <a:srgbClr val="FFFFFF"/>
              </a:solidFill>
              <a:effectLst/>
              <a:uLnTx/>
              <a:uFillTx/>
              <a:latin typeface="Arial"/>
              <a:ea typeface="+mn-ea"/>
              <a:cs typeface="Arial"/>
            </a:endParaRPr>
          </a:p>
        </p:txBody>
      </p:sp>
      <p:pic>
        <p:nvPicPr>
          <p:cNvPr id="10" name="Picture 9" descr="schneider_LIO_White_RGB.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Tree>
    <p:extLst>
      <p:ext uri="{BB962C8B-B14F-4D97-AF65-F5344CB8AC3E}">
        <p14:creationId xmlns:p14="http://schemas.microsoft.com/office/powerpoint/2010/main" val="29621361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A249228-EF81-4EF4-9A9E-7DA4B7AAD5DC}"/>
              </a:ext>
            </a:extLst>
          </p:cNvPr>
          <p:cNvSpPr>
            <a:spLocks noGrp="1"/>
          </p:cNvSpPr>
          <p:nvPr>
            <p:ph type="sldNum" sz="quarter" idx="4"/>
          </p:nvPr>
        </p:nvSpPr>
        <p:spPr>
          <a:xfrm>
            <a:off x="1747891" y="4857156"/>
            <a:ext cx="525690" cy="92333"/>
          </a:xfrm>
        </p:spPr>
        <p:txBody>
          <a:bodyPr anchor="ctr">
            <a:normAutofit/>
          </a:bodyPr>
          <a:lstStyle/>
          <a:p>
            <a:pPr>
              <a:spcAft>
                <a:spcPts val="600"/>
              </a:spcAft>
            </a:pPr>
            <a:r>
              <a:rPr lang="en-US" dirty="0"/>
              <a:t>Page </a:t>
            </a:r>
            <a:fld id="{5A9C12DC-491F-9444-86A2-13AC5C62A2FC}" type="slidenum">
              <a:rPr lang="en-US" smtClean="0"/>
              <a:pPr>
                <a:spcAft>
                  <a:spcPts val="600"/>
                </a:spcAft>
              </a:pPr>
              <a:t>19</a:t>
            </a:fld>
            <a:endParaRPr lang="en-US" dirty="0"/>
          </a:p>
        </p:txBody>
      </p:sp>
      <p:sp>
        <p:nvSpPr>
          <p:cNvPr id="7" name="Footer Placeholder 6">
            <a:extLst>
              <a:ext uri="{FF2B5EF4-FFF2-40B4-BE49-F238E27FC236}">
                <a16:creationId xmlns:a16="http://schemas.microsoft.com/office/drawing/2014/main" id="{4E5786C6-90EC-460B-B453-FD5820E8E02A}"/>
              </a:ext>
            </a:extLst>
          </p:cNvPr>
          <p:cNvSpPr>
            <a:spLocks noGrp="1"/>
          </p:cNvSpPr>
          <p:nvPr>
            <p:ph type="ftr" sz="quarter" idx="3"/>
          </p:nvPr>
        </p:nvSpPr>
        <p:spPr>
          <a:xfrm>
            <a:off x="252414" y="4857156"/>
            <a:ext cx="1509767" cy="92333"/>
          </a:xfrm>
        </p:spPr>
        <p:txBody>
          <a:bodyPr wrap="square" anchor="ctr">
            <a:normAutofit/>
          </a:bodyPr>
          <a:lstStyle/>
          <a:p>
            <a:pPr>
              <a:spcAft>
                <a:spcPts val="600"/>
              </a:spcAft>
            </a:pPr>
            <a:r>
              <a:rPr lang="en-US" dirty="0"/>
              <a:t>Confidential Property of Schneider Electric |</a:t>
            </a:r>
          </a:p>
        </p:txBody>
      </p:sp>
      <p:sp>
        <p:nvSpPr>
          <p:cNvPr id="8" name="Text Placeholder 7">
            <a:extLst>
              <a:ext uri="{FF2B5EF4-FFF2-40B4-BE49-F238E27FC236}">
                <a16:creationId xmlns:a16="http://schemas.microsoft.com/office/drawing/2014/main" id="{E412F1D2-1494-45F9-A1BC-274491689FA6}"/>
              </a:ext>
            </a:extLst>
          </p:cNvPr>
          <p:cNvSpPr>
            <a:spLocks noGrp="1"/>
          </p:cNvSpPr>
          <p:nvPr>
            <p:ph type="body" sz="quarter" idx="32"/>
          </p:nvPr>
        </p:nvSpPr>
        <p:spPr>
          <a:xfrm>
            <a:off x="252414" y="230188"/>
            <a:ext cx="8647112" cy="369332"/>
          </a:xfrm>
        </p:spPr>
        <p:txBody>
          <a:bodyPr>
            <a:normAutofit/>
          </a:bodyPr>
          <a:lstStyle/>
          <a:p>
            <a:r>
              <a:rPr lang="en-AU" dirty="0"/>
              <a:t>Oil Quality Graphs</a:t>
            </a:r>
          </a:p>
        </p:txBody>
      </p:sp>
      <p:sp>
        <p:nvSpPr>
          <p:cNvPr id="15" name="Text Placeholder 5">
            <a:extLst>
              <a:ext uri="{FF2B5EF4-FFF2-40B4-BE49-F238E27FC236}">
                <a16:creationId xmlns:a16="http://schemas.microsoft.com/office/drawing/2014/main" id="{F5D29A9B-1DB2-97D1-E18F-9C0257180CFF}"/>
              </a:ext>
            </a:extLst>
          </p:cNvPr>
          <p:cNvSpPr>
            <a:spLocks noGrp="1"/>
          </p:cNvSpPr>
          <p:nvPr>
            <p:ph type="body" sz="quarter" idx="33"/>
          </p:nvPr>
        </p:nvSpPr>
        <p:spPr>
          <a:xfrm>
            <a:off x="252414" y="683366"/>
            <a:ext cx="8679570" cy="455885"/>
          </a:xfrm>
        </p:spPr>
        <p:txBody>
          <a:bodyPr/>
          <a:lstStyle/>
          <a:p>
            <a:r>
              <a:rPr lang="en-AU" sz="1400" dirty="0">
                <a:latin typeface="+mn-lt"/>
              </a:rPr>
              <a:t>ETE uses oil quality test results imported by the customer to create five types of graphs. </a:t>
            </a:r>
            <a:endParaRPr lang="en-US" dirty="0"/>
          </a:p>
        </p:txBody>
      </p:sp>
      <p:graphicFrame>
        <p:nvGraphicFramePr>
          <p:cNvPr id="11" name="Text Placeholder 8">
            <a:extLst>
              <a:ext uri="{FF2B5EF4-FFF2-40B4-BE49-F238E27FC236}">
                <a16:creationId xmlns:a16="http://schemas.microsoft.com/office/drawing/2014/main" id="{FA04E845-E1AB-E4DF-9FE3-DA975D479F8C}"/>
              </a:ext>
            </a:extLst>
          </p:cNvPr>
          <p:cNvGraphicFramePr/>
          <p:nvPr>
            <p:extLst>
              <p:ext uri="{D42A27DB-BD31-4B8C-83A1-F6EECF244321}">
                <p14:modId xmlns:p14="http://schemas.microsoft.com/office/powerpoint/2010/main" val="3703970783"/>
              </p:ext>
            </p:extLst>
          </p:nvPr>
        </p:nvGraphicFramePr>
        <p:xfrm>
          <a:off x="258055" y="1203325"/>
          <a:ext cx="8679570" cy="31765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393191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42E007F-B3DD-487F-9E52-90015C2CCFC7}"/>
              </a:ext>
            </a:extLst>
          </p:cNvPr>
          <p:cNvSpPr>
            <a:spLocks noGrp="1"/>
          </p:cNvSpPr>
          <p:nvPr>
            <p:ph sz="quarter" idx="11"/>
          </p:nvPr>
        </p:nvSpPr>
        <p:spPr/>
        <p:txBody>
          <a:bodyPr/>
          <a:lstStyle/>
          <a:p>
            <a:r>
              <a:rPr lang="en-AU" dirty="0"/>
              <a:t>Contents</a:t>
            </a:r>
          </a:p>
        </p:txBody>
      </p:sp>
      <p:sp>
        <p:nvSpPr>
          <p:cNvPr id="3" name="Slide Number Placeholder 2">
            <a:extLst>
              <a:ext uri="{FF2B5EF4-FFF2-40B4-BE49-F238E27FC236}">
                <a16:creationId xmlns:a16="http://schemas.microsoft.com/office/drawing/2014/main" id="{2836C68A-5E32-489D-AA97-C9955467C5E9}"/>
              </a:ext>
            </a:extLst>
          </p:cNvPr>
          <p:cNvSpPr>
            <a:spLocks noGrp="1"/>
          </p:cNvSpPr>
          <p:nvPr>
            <p:ph type="sldNum" sz="quarter" idx="4"/>
          </p:nvPr>
        </p:nvSpPr>
        <p:spPr/>
        <p:txBody>
          <a:bodyPr/>
          <a:lstStyle/>
          <a:p>
            <a:r>
              <a:rPr lang="en-US"/>
              <a:t>Page </a:t>
            </a:r>
            <a:fld id="{5A9C12DC-491F-9444-86A2-13AC5C62A2FC}" type="slidenum">
              <a:rPr lang="en-US" smtClean="0"/>
              <a:pPr/>
              <a:t>2</a:t>
            </a:fld>
            <a:endParaRPr lang="en-US" dirty="0"/>
          </a:p>
        </p:txBody>
      </p:sp>
      <p:sp>
        <p:nvSpPr>
          <p:cNvPr id="4" name="Footer Placeholder 3">
            <a:extLst>
              <a:ext uri="{FF2B5EF4-FFF2-40B4-BE49-F238E27FC236}">
                <a16:creationId xmlns:a16="http://schemas.microsoft.com/office/drawing/2014/main" id="{2348BFD7-BFE5-4035-A5B6-74C4B505D8B4}"/>
              </a:ext>
            </a:extLst>
          </p:cNvPr>
          <p:cNvSpPr>
            <a:spLocks noGrp="1"/>
          </p:cNvSpPr>
          <p:nvPr>
            <p:ph type="ftr" sz="quarter" idx="3"/>
          </p:nvPr>
        </p:nvSpPr>
        <p:spPr/>
        <p:txBody>
          <a:bodyPr/>
          <a:lstStyle/>
          <a:p>
            <a:r>
              <a:rPr lang="en-US"/>
              <a:t>Confidential Property of Schneider Electric |</a:t>
            </a:r>
            <a:endParaRPr lang="en-US" dirty="0"/>
          </a:p>
        </p:txBody>
      </p:sp>
      <p:sp>
        <p:nvSpPr>
          <p:cNvPr id="5" name="Text Placeholder 4">
            <a:extLst>
              <a:ext uri="{FF2B5EF4-FFF2-40B4-BE49-F238E27FC236}">
                <a16:creationId xmlns:a16="http://schemas.microsoft.com/office/drawing/2014/main" id="{DEBC2A44-15E3-4021-AB63-14BAF4B238A9}"/>
              </a:ext>
            </a:extLst>
          </p:cNvPr>
          <p:cNvSpPr>
            <a:spLocks noGrp="1"/>
          </p:cNvSpPr>
          <p:nvPr>
            <p:ph type="body" sz="quarter" idx="13"/>
          </p:nvPr>
        </p:nvSpPr>
        <p:spPr/>
        <p:txBody>
          <a:bodyPr/>
          <a:lstStyle/>
          <a:p>
            <a:r>
              <a:rPr lang="en-AU" dirty="0"/>
              <a:t>1</a:t>
            </a:r>
          </a:p>
        </p:txBody>
      </p:sp>
      <p:sp>
        <p:nvSpPr>
          <p:cNvPr id="6" name="Text Placeholder 5">
            <a:extLst>
              <a:ext uri="{FF2B5EF4-FFF2-40B4-BE49-F238E27FC236}">
                <a16:creationId xmlns:a16="http://schemas.microsoft.com/office/drawing/2014/main" id="{8670AB5F-0562-4B1E-8F47-9EDA5B25A80E}"/>
              </a:ext>
            </a:extLst>
          </p:cNvPr>
          <p:cNvSpPr>
            <a:spLocks noGrp="1"/>
          </p:cNvSpPr>
          <p:nvPr>
            <p:ph type="body" sz="quarter" idx="12"/>
          </p:nvPr>
        </p:nvSpPr>
        <p:spPr/>
        <p:txBody>
          <a:bodyPr/>
          <a:lstStyle/>
          <a:p>
            <a:r>
              <a:rPr lang="en-AU" dirty="0"/>
              <a:t>ETE Cross Correlation Model</a:t>
            </a:r>
          </a:p>
        </p:txBody>
      </p:sp>
      <p:sp>
        <p:nvSpPr>
          <p:cNvPr id="8" name="Text Placeholder 7">
            <a:extLst>
              <a:ext uri="{FF2B5EF4-FFF2-40B4-BE49-F238E27FC236}">
                <a16:creationId xmlns:a16="http://schemas.microsoft.com/office/drawing/2014/main" id="{A5C5EB98-03F4-4EB3-ABC6-A34776965D51}"/>
              </a:ext>
            </a:extLst>
          </p:cNvPr>
          <p:cNvSpPr>
            <a:spLocks noGrp="1"/>
          </p:cNvSpPr>
          <p:nvPr>
            <p:ph type="body" sz="quarter" idx="15"/>
          </p:nvPr>
        </p:nvSpPr>
        <p:spPr/>
        <p:txBody>
          <a:bodyPr/>
          <a:lstStyle/>
          <a:p>
            <a:r>
              <a:rPr lang="en-AU" sz="1100" dirty="0"/>
              <a:t>Correlation Model</a:t>
            </a:r>
          </a:p>
        </p:txBody>
      </p:sp>
      <p:sp>
        <p:nvSpPr>
          <p:cNvPr id="9" name="Text Placeholder 8">
            <a:extLst>
              <a:ext uri="{FF2B5EF4-FFF2-40B4-BE49-F238E27FC236}">
                <a16:creationId xmlns:a16="http://schemas.microsoft.com/office/drawing/2014/main" id="{CB73CE93-E244-41A0-9D42-ED57DC0C5045}"/>
              </a:ext>
            </a:extLst>
          </p:cNvPr>
          <p:cNvSpPr>
            <a:spLocks noGrp="1"/>
          </p:cNvSpPr>
          <p:nvPr>
            <p:ph type="body" sz="quarter" idx="16"/>
          </p:nvPr>
        </p:nvSpPr>
        <p:spPr/>
        <p:txBody>
          <a:bodyPr/>
          <a:lstStyle/>
          <a:p>
            <a:r>
              <a:rPr lang="en-AU" dirty="0"/>
              <a:t>2</a:t>
            </a:r>
          </a:p>
        </p:txBody>
      </p:sp>
      <p:sp>
        <p:nvSpPr>
          <p:cNvPr id="10" name="Text Placeholder 9">
            <a:extLst>
              <a:ext uri="{FF2B5EF4-FFF2-40B4-BE49-F238E27FC236}">
                <a16:creationId xmlns:a16="http://schemas.microsoft.com/office/drawing/2014/main" id="{FEC31F7B-F00A-4286-B5C0-B6537DE40E2D}"/>
              </a:ext>
            </a:extLst>
          </p:cNvPr>
          <p:cNvSpPr>
            <a:spLocks noGrp="1"/>
          </p:cNvSpPr>
          <p:nvPr>
            <p:ph type="body" sz="quarter" idx="17"/>
          </p:nvPr>
        </p:nvSpPr>
        <p:spPr/>
        <p:txBody>
          <a:bodyPr/>
          <a:lstStyle/>
          <a:p>
            <a:r>
              <a:rPr lang="en-AU" dirty="0"/>
              <a:t>Oil Test Data Output IEC Standards</a:t>
            </a:r>
          </a:p>
        </p:txBody>
      </p:sp>
      <p:sp>
        <p:nvSpPr>
          <p:cNvPr id="12" name="Text Placeholder 11">
            <a:extLst>
              <a:ext uri="{FF2B5EF4-FFF2-40B4-BE49-F238E27FC236}">
                <a16:creationId xmlns:a16="http://schemas.microsoft.com/office/drawing/2014/main" id="{555A57B2-8431-4002-BCA3-9813B9A5AB09}"/>
              </a:ext>
            </a:extLst>
          </p:cNvPr>
          <p:cNvSpPr>
            <a:spLocks noGrp="1"/>
          </p:cNvSpPr>
          <p:nvPr>
            <p:ph type="body" sz="quarter" idx="19"/>
          </p:nvPr>
        </p:nvSpPr>
        <p:spPr/>
        <p:txBody>
          <a:bodyPr/>
          <a:lstStyle/>
          <a:p>
            <a:r>
              <a:rPr lang="en-AU" sz="1100" dirty="0"/>
              <a:t>Roger Gas Limit &amp; Ratio Analysis</a:t>
            </a:r>
          </a:p>
        </p:txBody>
      </p:sp>
      <p:sp>
        <p:nvSpPr>
          <p:cNvPr id="14" name="Text Placeholder 13">
            <a:extLst>
              <a:ext uri="{FF2B5EF4-FFF2-40B4-BE49-F238E27FC236}">
                <a16:creationId xmlns:a16="http://schemas.microsoft.com/office/drawing/2014/main" id="{9077DACE-1696-448E-85AE-FAD3EFCDFC78}"/>
              </a:ext>
            </a:extLst>
          </p:cNvPr>
          <p:cNvSpPr>
            <a:spLocks noGrp="1"/>
          </p:cNvSpPr>
          <p:nvPr>
            <p:ph type="body" sz="quarter" idx="21"/>
          </p:nvPr>
        </p:nvSpPr>
        <p:spPr/>
        <p:txBody>
          <a:bodyPr/>
          <a:lstStyle/>
          <a:p>
            <a:r>
              <a:rPr lang="en-AU" sz="1100" dirty="0"/>
              <a:t>Doernenburg Gas Limit &amp; Ratio Analysis</a:t>
            </a:r>
          </a:p>
        </p:txBody>
      </p:sp>
      <p:sp>
        <p:nvSpPr>
          <p:cNvPr id="16" name="Text Placeholder 15">
            <a:extLst>
              <a:ext uri="{FF2B5EF4-FFF2-40B4-BE49-F238E27FC236}">
                <a16:creationId xmlns:a16="http://schemas.microsoft.com/office/drawing/2014/main" id="{6B0D2F57-A7FC-4A55-B8B6-37636795CF5B}"/>
              </a:ext>
            </a:extLst>
          </p:cNvPr>
          <p:cNvSpPr>
            <a:spLocks noGrp="1"/>
          </p:cNvSpPr>
          <p:nvPr>
            <p:ph type="body" sz="quarter" idx="23"/>
          </p:nvPr>
        </p:nvSpPr>
        <p:spPr/>
        <p:txBody>
          <a:bodyPr/>
          <a:lstStyle/>
          <a:p>
            <a:r>
              <a:rPr lang="en-AU" sz="1100" dirty="0"/>
              <a:t>IEC Ratio Analysis</a:t>
            </a:r>
          </a:p>
        </p:txBody>
      </p:sp>
      <p:sp>
        <p:nvSpPr>
          <p:cNvPr id="18" name="Text Placeholder 17">
            <a:extLst>
              <a:ext uri="{FF2B5EF4-FFF2-40B4-BE49-F238E27FC236}">
                <a16:creationId xmlns:a16="http://schemas.microsoft.com/office/drawing/2014/main" id="{378C5C10-647D-47E5-AF85-22F715C255B8}"/>
              </a:ext>
            </a:extLst>
          </p:cNvPr>
          <p:cNvSpPr>
            <a:spLocks noGrp="1"/>
          </p:cNvSpPr>
          <p:nvPr>
            <p:ph type="body" sz="quarter" idx="25"/>
          </p:nvPr>
        </p:nvSpPr>
        <p:spPr/>
        <p:txBody>
          <a:bodyPr/>
          <a:lstStyle/>
          <a:p>
            <a:r>
              <a:rPr lang="en-AU" sz="1100" dirty="0"/>
              <a:t>Duval Triangle/Pentagon Methods</a:t>
            </a:r>
          </a:p>
        </p:txBody>
      </p:sp>
      <p:sp>
        <p:nvSpPr>
          <p:cNvPr id="19" name="Text Placeholder 18">
            <a:extLst>
              <a:ext uri="{FF2B5EF4-FFF2-40B4-BE49-F238E27FC236}">
                <a16:creationId xmlns:a16="http://schemas.microsoft.com/office/drawing/2014/main" id="{54FD2C9A-827B-43AB-BA8E-9EDC8B200561}"/>
              </a:ext>
            </a:extLst>
          </p:cNvPr>
          <p:cNvSpPr>
            <a:spLocks noGrp="1"/>
          </p:cNvSpPr>
          <p:nvPr>
            <p:ph type="body" sz="quarter" idx="26"/>
          </p:nvPr>
        </p:nvSpPr>
        <p:spPr/>
        <p:txBody>
          <a:bodyPr/>
          <a:lstStyle/>
          <a:p>
            <a:r>
              <a:rPr lang="en-AU" dirty="0"/>
              <a:t>3</a:t>
            </a:r>
          </a:p>
        </p:txBody>
      </p:sp>
      <p:sp>
        <p:nvSpPr>
          <p:cNvPr id="20" name="Text Placeholder 19">
            <a:extLst>
              <a:ext uri="{FF2B5EF4-FFF2-40B4-BE49-F238E27FC236}">
                <a16:creationId xmlns:a16="http://schemas.microsoft.com/office/drawing/2014/main" id="{D5AEE583-4A05-42C4-9890-AEBCD035967E}"/>
              </a:ext>
            </a:extLst>
          </p:cNvPr>
          <p:cNvSpPr>
            <a:spLocks noGrp="1"/>
          </p:cNvSpPr>
          <p:nvPr>
            <p:ph type="body" sz="quarter" idx="27"/>
          </p:nvPr>
        </p:nvSpPr>
        <p:spPr/>
        <p:txBody>
          <a:bodyPr/>
          <a:lstStyle/>
          <a:p>
            <a:r>
              <a:rPr lang="en-AU" dirty="0"/>
              <a:t>ETE Oil Analysis</a:t>
            </a:r>
          </a:p>
        </p:txBody>
      </p:sp>
      <p:sp>
        <p:nvSpPr>
          <p:cNvPr id="21" name="Text Placeholder 20">
            <a:extLst>
              <a:ext uri="{FF2B5EF4-FFF2-40B4-BE49-F238E27FC236}">
                <a16:creationId xmlns:a16="http://schemas.microsoft.com/office/drawing/2014/main" id="{B5922AB4-841F-470C-8CA1-A535585233E6}"/>
              </a:ext>
            </a:extLst>
          </p:cNvPr>
          <p:cNvSpPr>
            <a:spLocks noGrp="1"/>
          </p:cNvSpPr>
          <p:nvPr>
            <p:ph type="body" sz="quarter" idx="28"/>
          </p:nvPr>
        </p:nvSpPr>
        <p:spPr/>
        <p:txBody>
          <a:bodyPr/>
          <a:lstStyle/>
          <a:p>
            <a:r>
              <a:rPr lang="en-AU" dirty="0"/>
              <a:t>4</a:t>
            </a:r>
          </a:p>
        </p:txBody>
      </p:sp>
      <p:sp>
        <p:nvSpPr>
          <p:cNvPr id="22" name="Text Placeholder 21">
            <a:extLst>
              <a:ext uri="{FF2B5EF4-FFF2-40B4-BE49-F238E27FC236}">
                <a16:creationId xmlns:a16="http://schemas.microsoft.com/office/drawing/2014/main" id="{9C97A8BE-CD60-4215-917C-B4AC69979BFD}"/>
              </a:ext>
            </a:extLst>
          </p:cNvPr>
          <p:cNvSpPr>
            <a:spLocks noGrp="1"/>
          </p:cNvSpPr>
          <p:nvPr>
            <p:ph type="body" sz="quarter" idx="29"/>
          </p:nvPr>
        </p:nvSpPr>
        <p:spPr/>
        <p:txBody>
          <a:bodyPr/>
          <a:lstStyle/>
          <a:p>
            <a:r>
              <a:rPr lang="en-AU" dirty="0"/>
              <a:t>References</a:t>
            </a:r>
          </a:p>
        </p:txBody>
      </p:sp>
    </p:spTree>
    <p:extLst>
      <p:ext uri="{BB962C8B-B14F-4D97-AF65-F5344CB8AC3E}">
        <p14:creationId xmlns:p14="http://schemas.microsoft.com/office/powerpoint/2010/main" val="11505888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11">
            <a:extLst>
              <a:ext uri="{FF2B5EF4-FFF2-40B4-BE49-F238E27FC236}">
                <a16:creationId xmlns:a16="http://schemas.microsoft.com/office/drawing/2014/main" id="{7E4533C5-17F9-4992-A353-3F1FB47FDE19}"/>
              </a:ext>
            </a:extLst>
          </p:cNvPr>
          <p:cNvPicPr>
            <a:picLocks noGrp="1" noChangeAspect="1"/>
          </p:cNvPicPr>
          <p:nvPr>
            <p:ph sz="quarter" idx="24"/>
          </p:nvPr>
        </p:nvPicPr>
        <p:blipFill>
          <a:blip r:embed="rId2"/>
          <a:stretch>
            <a:fillRect/>
          </a:stretch>
        </p:blipFill>
        <p:spPr>
          <a:xfrm>
            <a:off x="5018822" y="1416050"/>
            <a:ext cx="3737254" cy="2711450"/>
          </a:xfrm>
          <a:effectLst>
            <a:outerShdw blurRad="63500" sx="102000" sy="102000" algn="ctr" rotWithShape="0">
              <a:prstClr val="black">
                <a:alpha val="40000"/>
              </a:prstClr>
            </a:outerShdw>
          </a:effectLst>
        </p:spPr>
      </p:pic>
      <p:sp>
        <p:nvSpPr>
          <p:cNvPr id="22" name="Text Placeholder 3">
            <a:extLst>
              <a:ext uri="{FF2B5EF4-FFF2-40B4-BE49-F238E27FC236}">
                <a16:creationId xmlns:a16="http://schemas.microsoft.com/office/drawing/2014/main" id="{9A1B5AFF-8735-3CC5-E0CC-4FB9B717B965}"/>
              </a:ext>
            </a:extLst>
          </p:cNvPr>
          <p:cNvSpPr>
            <a:spLocks noGrp="1"/>
          </p:cNvSpPr>
          <p:nvPr>
            <p:ph type="body" sz="quarter" idx="15"/>
          </p:nvPr>
        </p:nvSpPr>
        <p:spPr/>
        <p:txBody>
          <a:bodyPr/>
          <a:lstStyle/>
          <a:p>
            <a:r>
              <a:rPr lang="en-US" dirty="0"/>
              <a:t> </a:t>
            </a:r>
          </a:p>
        </p:txBody>
      </p:sp>
      <p:pic>
        <p:nvPicPr>
          <p:cNvPr id="6" name="Content Placeholder 5">
            <a:extLst>
              <a:ext uri="{FF2B5EF4-FFF2-40B4-BE49-F238E27FC236}">
                <a16:creationId xmlns:a16="http://schemas.microsoft.com/office/drawing/2014/main" id="{8A5D9569-EF2A-4895-AE29-9A86B2B9AA1D}"/>
              </a:ext>
            </a:extLst>
          </p:cNvPr>
          <p:cNvPicPr>
            <a:picLocks noGrp="1" noChangeAspect="1"/>
          </p:cNvPicPr>
          <p:nvPr>
            <p:ph sz="quarter" idx="22"/>
          </p:nvPr>
        </p:nvPicPr>
        <p:blipFill>
          <a:blip r:embed="rId3"/>
          <a:stretch>
            <a:fillRect/>
          </a:stretch>
        </p:blipFill>
        <p:spPr>
          <a:xfrm>
            <a:off x="375452" y="1416050"/>
            <a:ext cx="3737254" cy="2711450"/>
          </a:xfrm>
          <a:effectLst>
            <a:outerShdw blurRad="63500" sx="102000" sy="102000" algn="ctr" rotWithShape="0">
              <a:prstClr val="black">
                <a:alpha val="40000"/>
              </a:prstClr>
            </a:outerShdw>
          </a:effectLst>
        </p:spPr>
      </p:pic>
      <p:sp>
        <p:nvSpPr>
          <p:cNvPr id="8" name="Slide Number Placeholder 7">
            <a:extLst>
              <a:ext uri="{FF2B5EF4-FFF2-40B4-BE49-F238E27FC236}">
                <a16:creationId xmlns:a16="http://schemas.microsoft.com/office/drawing/2014/main" id="{21B73514-4C0E-408F-A802-0EAB7053B3BB}"/>
              </a:ext>
            </a:extLst>
          </p:cNvPr>
          <p:cNvSpPr>
            <a:spLocks noGrp="1"/>
          </p:cNvSpPr>
          <p:nvPr>
            <p:ph type="sldNum" sz="quarter" idx="4"/>
          </p:nvPr>
        </p:nvSpPr>
        <p:spPr/>
        <p:txBody>
          <a:bodyPr anchor="ctr">
            <a:normAutofit/>
          </a:bodyPr>
          <a:lstStyle/>
          <a:p>
            <a:pPr>
              <a:spcAft>
                <a:spcPts val="600"/>
              </a:spcAft>
            </a:pPr>
            <a:r>
              <a:rPr lang="en-US" dirty="0"/>
              <a:t>Page </a:t>
            </a:r>
            <a:fld id="{5A9C12DC-491F-9444-86A2-13AC5C62A2FC}" type="slidenum">
              <a:rPr lang="en-US" smtClean="0"/>
              <a:pPr>
                <a:spcAft>
                  <a:spcPts val="600"/>
                </a:spcAft>
              </a:pPr>
              <a:t>20</a:t>
            </a:fld>
            <a:endParaRPr lang="en-US" dirty="0"/>
          </a:p>
        </p:txBody>
      </p:sp>
      <p:sp>
        <p:nvSpPr>
          <p:cNvPr id="9" name="Footer Placeholder 8">
            <a:extLst>
              <a:ext uri="{FF2B5EF4-FFF2-40B4-BE49-F238E27FC236}">
                <a16:creationId xmlns:a16="http://schemas.microsoft.com/office/drawing/2014/main" id="{E5ED4F3F-5111-49BE-BAA4-4C303BD73FCA}"/>
              </a:ext>
            </a:extLst>
          </p:cNvPr>
          <p:cNvSpPr>
            <a:spLocks noGrp="1"/>
          </p:cNvSpPr>
          <p:nvPr>
            <p:ph type="ftr" sz="quarter" idx="3"/>
          </p:nvPr>
        </p:nvSpPr>
        <p:spPr/>
        <p:txBody>
          <a:bodyPr wrap="square" anchor="ctr">
            <a:normAutofit/>
          </a:bodyPr>
          <a:lstStyle/>
          <a:p>
            <a:pPr>
              <a:spcAft>
                <a:spcPts val="600"/>
              </a:spcAft>
            </a:pPr>
            <a:r>
              <a:rPr lang="en-US" dirty="0"/>
              <a:t>Confidential Property of Schneider Electric |</a:t>
            </a:r>
          </a:p>
        </p:txBody>
      </p:sp>
      <p:sp>
        <p:nvSpPr>
          <p:cNvPr id="5" name="Text Placeholder 4">
            <a:extLst>
              <a:ext uri="{FF2B5EF4-FFF2-40B4-BE49-F238E27FC236}">
                <a16:creationId xmlns:a16="http://schemas.microsoft.com/office/drawing/2014/main" id="{DDB8F685-D669-42C9-8AA7-64CD56523DD6}"/>
              </a:ext>
            </a:extLst>
          </p:cNvPr>
          <p:cNvSpPr>
            <a:spLocks noGrp="1"/>
          </p:cNvSpPr>
          <p:nvPr>
            <p:ph type="body" sz="quarter" idx="32"/>
          </p:nvPr>
        </p:nvSpPr>
        <p:spPr/>
        <p:txBody>
          <a:bodyPr>
            <a:normAutofit/>
          </a:bodyPr>
          <a:lstStyle/>
          <a:p>
            <a:r>
              <a:rPr lang="en-US" dirty="0"/>
              <a:t>Interfacial Tension</a:t>
            </a:r>
          </a:p>
        </p:txBody>
      </p:sp>
      <p:sp>
        <p:nvSpPr>
          <p:cNvPr id="15" name="Text Placeholder 14">
            <a:extLst>
              <a:ext uri="{FF2B5EF4-FFF2-40B4-BE49-F238E27FC236}">
                <a16:creationId xmlns:a16="http://schemas.microsoft.com/office/drawing/2014/main" id="{436D1F59-0A90-9643-9B8E-1329CF251E34}"/>
              </a:ext>
            </a:extLst>
          </p:cNvPr>
          <p:cNvSpPr>
            <a:spLocks noGrp="1"/>
          </p:cNvSpPr>
          <p:nvPr>
            <p:ph type="body" sz="quarter" idx="33"/>
          </p:nvPr>
        </p:nvSpPr>
        <p:spPr/>
        <p:txBody>
          <a:bodyPr>
            <a:noAutofit/>
          </a:bodyPr>
          <a:lstStyle/>
          <a:p>
            <a:pPr marL="0" indent="0"/>
            <a:r>
              <a:rPr lang="en-US" sz="1400" dirty="0">
                <a:latin typeface="+mn-lt"/>
              </a:rPr>
              <a:t>The interfacial tension is a measure of the molecular attractive force between the oil and water molecules. A Low IFT can be a result of contaminants and by-products in the oil.</a:t>
            </a:r>
          </a:p>
        </p:txBody>
      </p:sp>
    </p:spTree>
    <p:extLst>
      <p:ext uri="{BB962C8B-B14F-4D97-AF65-F5344CB8AC3E}">
        <p14:creationId xmlns:p14="http://schemas.microsoft.com/office/powerpoint/2010/main" val="36301804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12">
            <a:extLst>
              <a:ext uri="{FF2B5EF4-FFF2-40B4-BE49-F238E27FC236}">
                <a16:creationId xmlns:a16="http://schemas.microsoft.com/office/drawing/2014/main" id="{4A70BE63-B54B-48C7-9D09-DB787097F833}"/>
              </a:ext>
            </a:extLst>
          </p:cNvPr>
          <p:cNvPicPr>
            <a:picLocks noGrp="1" noChangeAspect="1"/>
          </p:cNvPicPr>
          <p:nvPr>
            <p:ph sz="quarter" idx="24"/>
          </p:nvPr>
        </p:nvPicPr>
        <p:blipFill>
          <a:blip r:embed="rId2"/>
          <a:stretch>
            <a:fillRect/>
          </a:stretch>
        </p:blipFill>
        <p:spPr>
          <a:xfrm>
            <a:off x="4806487" y="1416050"/>
            <a:ext cx="3818863" cy="2711450"/>
          </a:xfrm>
          <a:effectLst>
            <a:outerShdw blurRad="63500" sx="102000" sy="102000" algn="ctr" rotWithShape="0">
              <a:prstClr val="black">
                <a:alpha val="40000"/>
              </a:prstClr>
            </a:outerShdw>
          </a:effectLst>
        </p:spPr>
      </p:pic>
      <p:sp>
        <p:nvSpPr>
          <p:cNvPr id="22" name="Text Placeholder 3">
            <a:extLst>
              <a:ext uri="{FF2B5EF4-FFF2-40B4-BE49-F238E27FC236}">
                <a16:creationId xmlns:a16="http://schemas.microsoft.com/office/drawing/2014/main" id="{9A1B5AFF-8735-3CC5-E0CC-4FB9B717B965}"/>
              </a:ext>
            </a:extLst>
          </p:cNvPr>
          <p:cNvSpPr>
            <a:spLocks noGrp="1"/>
          </p:cNvSpPr>
          <p:nvPr>
            <p:ph type="body" sz="quarter" idx="15"/>
          </p:nvPr>
        </p:nvSpPr>
        <p:spPr/>
        <p:txBody>
          <a:bodyPr/>
          <a:lstStyle/>
          <a:p>
            <a:r>
              <a:rPr lang="en-US" dirty="0"/>
              <a:t> </a:t>
            </a:r>
          </a:p>
        </p:txBody>
      </p:sp>
      <p:pic>
        <p:nvPicPr>
          <p:cNvPr id="6" name="Content Placeholder 5">
            <a:extLst>
              <a:ext uri="{FF2B5EF4-FFF2-40B4-BE49-F238E27FC236}">
                <a16:creationId xmlns:a16="http://schemas.microsoft.com/office/drawing/2014/main" id="{D79054CA-5ED3-464D-B3CC-4B05D5DC941B}"/>
              </a:ext>
            </a:extLst>
          </p:cNvPr>
          <p:cNvPicPr>
            <a:picLocks noGrp="1" noChangeAspect="1"/>
          </p:cNvPicPr>
          <p:nvPr>
            <p:ph sz="quarter" idx="22"/>
          </p:nvPr>
        </p:nvPicPr>
        <p:blipFill>
          <a:blip r:embed="rId3"/>
          <a:stretch>
            <a:fillRect/>
          </a:stretch>
        </p:blipFill>
        <p:spPr>
          <a:xfrm>
            <a:off x="341745" y="1416408"/>
            <a:ext cx="3818863" cy="2711450"/>
          </a:xfrm>
          <a:effectLst>
            <a:outerShdw blurRad="63500" sx="102000" sy="102000" algn="ctr" rotWithShape="0">
              <a:prstClr val="black">
                <a:alpha val="40000"/>
              </a:prstClr>
            </a:outerShdw>
          </a:effectLst>
        </p:spPr>
      </p:pic>
      <p:sp>
        <p:nvSpPr>
          <p:cNvPr id="8" name="Slide Number Placeholder 7">
            <a:extLst>
              <a:ext uri="{FF2B5EF4-FFF2-40B4-BE49-F238E27FC236}">
                <a16:creationId xmlns:a16="http://schemas.microsoft.com/office/drawing/2014/main" id="{21B73514-4C0E-408F-A802-0EAB7053B3BB}"/>
              </a:ext>
            </a:extLst>
          </p:cNvPr>
          <p:cNvSpPr>
            <a:spLocks noGrp="1"/>
          </p:cNvSpPr>
          <p:nvPr>
            <p:ph type="sldNum" sz="quarter" idx="4"/>
          </p:nvPr>
        </p:nvSpPr>
        <p:spPr/>
        <p:txBody>
          <a:bodyPr anchor="ctr">
            <a:normAutofit/>
          </a:bodyPr>
          <a:lstStyle/>
          <a:p>
            <a:pPr>
              <a:spcAft>
                <a:spcPts val="600"/>
              </a:spcAft>
            </a:pPr>
            <a:r>
              <a:rPr lang="en-US" dirty="0"/>
              <a:t>Page </a:t>
            </a:r>
            <a:fld id="{5A9C12DC-491F-9444-86A2-13AC5C62A2FC}" type="slidenum">
              <a:rPr lang="en-US" smtClean="0"/>
              <a:pPr>
                <a:spcAft>
                  <a:spcPts val="600"/>
                </a:spcAft>
              </a:pPr>
              <a:t>21</a:t>
            </a:fld>
            <a:endParaRPr lang="en-US" dirty="0"/>
          </a:p>
        </p:txBody>
      </p:sp>
      <p:sp>
        <p:nvSpPr>
          <p:cNvPr id="9" name="Footer Placeholder 8">
            <a:extLst>
              <a:ext uri="{FF2B5EF4-FFF2-40B4-BE49-F238E27FC236}">
                <a16:creationId xmlns:a16="http://schemas.microsoft.com/office/drawing/2014/main" id="{E5ED4F3F-5111-49BE-BAA4-4C303BD73FCA}"/>
              </a:ext>
            </a:extLst>
          </p:cNvPr>
          <p:cNvSpPr>
            <a:spLocks noGrp="1"/>
          </p:cNvSpPr>
          <p:nvPr>
            <p:ph type="ftr" sz="quarter" idx="3"/>
          </p:nvPr>
        </p:nvSpPr>
        <p:spPr/>
        <p:txBody>
          <a:bodyPr wrap="square" anchor="ctr">
            <a:normAutofit/>
          </a:bodyPr>
          <a:lstStyle/>
          <a:p>
            <a:pPr>
              <a:spcAft>
                <a:spcPts val="600"/>
              </a:spcAft>
            </a:pPr>
            <a:r>
              <a:rPr lang="en-US" dirty="0"/>
              <a:t>Confidential Property of Schneider Electric |</a:t>
            </a:r>
          </a:p>
        </p:txBody>
      </p:sp>
      <p:sp>
        <p:nvSpPr>
          <p:cNvPr id="5" name="Text Placeholder 4">
            <a:extLst>
              <a:ext uri="{FF2B5EF4-FFF2-40B4-BE49-F238E27FC236}">
                <a16:creationId xmlns:a16="http://schemas.microsoft.com/office/drawing/2014/main" id="{DDB8F685-D669-42C9-8AA7-64CD56523DD6}"/>
              </a:ext>
            </a:extLst>
          </p:cNvPr>
          <p:cNvSpPr>
            <a:spLocks noGrp="1"/>
          </p:cNvSpPr>
          <p:nvPr>
            <p:ph type="body" sz="quarter" idx="32"/>
          </p:nvPr>
        </p:nvSpPr>
        <p:spPr/>
        <p:txBody>
          <a:bodyPr>
            <a:normAutofit/>
          </a:bodyPr>
          <a:lstStyle/>
          <a:p>
            <a:r>
              <a:rPr lang="en-US" dirty="0"/>
              <a:t>Dielectric Strength</a:t>
            </a:r>
          </a:p>
        </p:txBody>
      </p:sp>
      <p:sp>
        <p:nvSpPr>
          <p:cNvPr id="15" name="Text Placeholder 14">
            <a:extLst>
              <a:ext uri="{FF2B5EF4-FFF2-40B4-BE49-F238E27FC236}">
                <a16:creationId xmlns:a16="http://schemas.microsoft.com/office/drawing/2014/main" id="{436D1F59-0A90-9643-9B8E-1329CF251E34}"/>
              </a:ext>
            </a:extLst>
          </p:cNvPr>
          <p:cNvSpPr>
            <a:spLocks noGrp="1"/>
          </p:cNvSpPr>
          <p:nvPr>
            <p:ph type="body" sz="quarter" idx="33"/>
          </p:nvPr>
        </p:nvSpPr>
        <p:spPr/>
        <p:txBody>
          <a:bodyPr>
            <a:noAutofit/>
          </a:bodyPr>
          <a:lstStyle/>
          <a:p>
            <a:pPr marL="0" indent="0"/>
            <a:r>
              <a:rPr lang="en-US" sz="1400" dirty="0">
                <a:latin typeface="+mn-lt"/>
              </a:rPr>
              <a:t>This plot tracks the dielectric breakdown voltage of the oil. The dielectric strength of oil is generally reduced by the presence of contaminants in the oil.</a:t>
            </a:r>
          </a:p>
        </p:txBody>
      </p:sp>
    </p:spTree>
    <p:extLst>
      <p:ext uri="{BB962C8B-B14F-4D97-AF65-F5344CB8AC3E}">
        <p14:creationId xmlns:p14="http://schemas.microsoft.com/office/powerpoint/2010/main" val="1805925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Content Placeholder 17">
            <a:extLst>
              <a:ext uri="{FF2B5EF4-FFF2-40B4-BE49-F238E27FC236}">
                <a16:creationId xmlns:a16="http://schemas.microsoft.com/office/drawing/2014/main" id="{02825390-7A66-4624-AD56-A7AA22584247}"/>
              </a:ext>
            </a:extLst>
          </p:cNvPr>
          <p:cNvPicPr>
            <a:picLocks noGrp="1" noChangeAspect="1"/>
          </p:cNvPicPr>
          <p:nvPr>
            <p:ph sz="quarter" idx="24"/>
          </p:nvPr>
        </p:nvPicPr>
        <p:blipFill>
          <a:blip r:embed="rId2"/>
          <a:stretch>
            <a:fillRect/>
          </a:stretch>
        </p:blipFill>
        <p:spPr>
          <a:xfrm>
            <a:off x="4732665" y="1587500"/>
            <a:ext cx="3872845" cy="2709863"/>
          </a:xfrm>
          <a:effectLst>
            <a:outerShdw blurRad="63500" sx="102000" sy="102000" algn="ctr" rotWithShape="0">
              <a:prstClr val="black">
                <a:alpha val="40000"/>
              </a:prstClr>
            </a:outerShdw>
          </a:effectLst>
        </p:spPr>
      </p:pic>
      <p:sp>
        <p:nvSpPr>
          <p:cNvPr id="22" name="Text Placeholder 3">
            <a:extLst>
              <a:ext uri="{FF2B5EF4-FFF2-40B4-BE49-F238E27FC236}">
                <a16:creationId xmlns:a16="http://schemas.microsoft.com/office/drawing/2014/main" id="{9A1B5AFF-8735-3CC5-E0CC-4FB9B717B965}"/>
              </a:ext>
            </a:extLst>
          </p:cNvPr>
          <p:cNvSpPr>
            <a:spLocks noGrp="1"/>
          </p:cNvSpPr>
          <p:nvPr>
            <p:ph type="body" sz="quarter" idx="15"/>
          </p:nvPr>
        </p:nvSpPr>
        <p:spPr/>
        <p:txBody>
          <a:bodyPr/>
          <a:lstStyle/>
          <a:p>
            <a:r>
              <a:rPr lang="en-US" dirty="0"/>
              <a:t> </a:t>
            </a:r>
          </a:p>
        </p:txBody>
      </p:sp>
      <p:pic>
        <p:nvPicPr>
          <p:cNvPr id="13" name="Content Placeholder 12">
            <a:extLst>
              <a:ext uri="{FF2B5EF4-FFF2-40B4-BE49-F238E27FC236}">
                <a16:creationId xmlns:a16="http://schemas.microsoft.com/office/drawing/2014/main" id="{66FEB415-E95D-4D33-ABC0-1C8A7D8386E1}"/>
              </a:ext>
            </a:extLst>
          </p:cNvPr>
          <p:cNvPicPr>
            <a:picLocks noGrp="1" noChangeAspect="1"/>
          </p:cNvPicPr>
          <p:nvPr>
            <p:ph sz="quarter" idx="22"/>
          </p:nvPr>
        </p:nvPicPr>
        <p:blipFill>
          <a:blip r:embed="rId3"/>
          <a:stretch>
            <a:fillRect/>
          </a:stretch>
        </p:blipFill>
        <p:spPr>
          <a:xfrm>
            <a:off x="324906" y="1586653"/>
            <a:ext cx="3897349" cy="2711450"/>
          </a:xfrm>
          <a:effectLst>
            <a:outerShdw blurRad="63500" sx="102000" sy="102000" algn="ctr" rotWithShape="0">
              <a:prstClr val="black">
                <a:alpha val="40000"/>
              </a:prstClr>
            </a:outerShdw>
          </a:effectLst>
        </p:spPr>
      </p:pic>
      <p:sp>
        <p:nvSpPr>
          <p:cNvPr id="8" name="Slide Number Placeholder 7">
            <a:extLst>
              <a:ext uri="{FF2B5EF4-FFF2-40B4-BE49-F238E27FC236}">
                <a16:creationId xmlns:a16="http://schemas.microsoft.com/office/drawing/2014/main" id="{21B73514-4C0E-408F-A802-0EAB7053B3BB}"/>
              </a:ext>
            </a:extLst>
          </p:cNvPr>
          <p:cNvSpPr>
            <a:spLocks noGrp="1"/>
          </p:cNvSpPr>
          <p:nvPr>
            <p:ph type="sldNum" sz="quarter" idx="4"/>
          </p:nvPr>
        </p:nvSpPr>
        <p:spPr/>
        <p:txBody>
          <a:bodyPr anchor="ctr">
            <a:normAutofit/>
          </a:bodyPr>
          <a:lstStyle/>
          <a:p>
            <a:pPr>
              <a:spcAft>
                <a:spcPts val="600"/>
              </a:spcAft>
            </a:pPr>
            <a:r>
              <a:rPr lang="en-US" dirty="0"/>
              <a:t>Page </a:t>
            </a:r>
            <a:fld id="{5A9C12DC-491F-9444-86A2-13AC5C62A2FC}" type="slidenum">
              <a:rPr lang="en-US" smtClean="0"/>
              <a:pPr>
                <a:spcAft>
                  <a:spcPts val="600"/>
                </a:spcAft>
              </a:pPr>
              <a:t>22</a:t>
            </a:fld>
            <a:endParaRPr lang="en-US" dirty="0"/>
          </a:p>
        </p:txBody>
      </p:sp>
      <p:sp>
        <p:nvSpPr>
          <p:cNvPr id="9" name="Footer Placeholder 8">
            <a:extLst>
              <a:ext uri="{FF2B5EF4-FFF2-40B4-BE49-F238E27FC236}">
                <a16:creationId xmlns:a16="http://schemas.microsoft.com/office/drawing/2014/main" id="{E5ED4F3F-5111-49BE-BAA4-4C303BD73FCA}"/>
              </a:ext>
            </a:extLst>
          </p:cNvPr>
          <p:cNvSpPr>
            <a:spLocks noGrp="1"/>
          </p:cNvSpPr>
          <p:nvPr>
            <p:ph type="ftr" sz="quarter" idx="3"/>
          </p:nvPr>
        </p:nvSpPr>
        <p:spPr/>
        <p:txBody>
          <a:bodyPr wrap="square" anchor="ctr">
            <a:normAutofit/>
          </a:bodyPr>
          <a:lstStyle/>
          <a:p>
            <a:pPr>
              <a:spcAft>
                <a:spcPts val="600"/>
              </a:spcAft>
            </a:pPr>
            <a:r>
              <a:rPr lang="en-US" dirty="0"/>
              <a:t>Confidential Property of Schneider Electric |</a:t>
            </a:r>
          </a:p>
        </p:txBody>
      </p:sp>
      <p:sp>
        <p:nvSpPr>
          <p:cNvPr id="5" name="Text Placeholder 4">
            <a:extLst>
              <a:ext uri="{FF2B5EF4-FFF2-40B4-BE49-F238E27FC236}">
                <a16:creationId xmlns:a16="http://schemas.microsoft.com/office/drawing/2014/main" id="{DDB8F685-D669-42C9-8AA7-64CD56523DD6}"/>
              </a:ext>
            </a:extLst>
          </p:cNvPr>
          <p:cNvSpPr>
            <a:spLocks noGrp="1"/>
          </p:cNvSpPr>
          <p:nvPr>
            <p:ph type="body" sz="quarter" idx="32"/>
          </p:nvPr>
        </p:nvSpPr>
        <p:spPr/>
        <p:txBody>
          <a:bodyPr>
            <a:normAutofit/>
          </a:bodyPr>
          <a:lstStyle/>
          <a:p>
            <a:r>
              <a:rPr lang="en-US" dirty="0"/>
              <a:t>Acidity in Oil</a:t>
            </a:r>
          </a:p>
        </p:txBody>
      </p:sp>
      <p:sp>
        <p:nvSpPr>
          <p:cNvPr id="15" name="Text Placeholder 14">
            <a:extLst>
              <a:ext uri="{FF2B5EF4-FFF2-40B4-BE49-F238E27FC236}">
                <a16:creationId xmlns:a16="http://schemas.microsoft.com/office/drawing/2014/main" id="{436D1F59-0A90-9643-9B8E-1329CF251E34}"/>
              </a:ext>
            </a:extLst>
          </p:cNvPr>
          <p:cNvSpPr>
            <a:spLocks noGrp="1"/>
          </p:cNvSpPr>
          <p:nvPr>
            <p:ph type="body" sz="quarter" idx="33"/>
          </p:nvPr>
        </p:nvSpPr>
        <p:spPr/>
        <p:txBody>
          <a:bodyPr>
            <a:noAutofit/>
          </a:bodyPr>
          <a:lstStyle/>
          <a:p>
            <a:pPr marL="0" indent="0"/>
            <a:r>
              <a:rPr lang="en-US" sz="1400" dirty="0">
                <a:latin typeface="+mn-lt"/>
              </a:rPr>
              <a:t>The presence of acidity in the oil is a threat to the transformer, causing it to age faster. It can also indicate the formation of sludge which can impede oil flow and affect efficient cooling.</a:t>
            </a:r>
          </a:p>
        </p:txBody>
      </p:sp>
    </p:spTree>
    <p:extLst>
      <p:ext uri="{BB962C8B-B14F-4D97-AF65-F5344CB8AC3E}">
        <p14:creationId xmlns:p14="http://schemas.microsoft.com/office/powerpoint/2010/main" val="8104240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Content Placeholder 32">
            <a:extLst>
              <a:ext uri="{FF2B5EF4-FFF2-40B4-BE49-F238E27FC236}">
                <a16:creationId xmlns:a16="http://schemas.microsoft.com/office/drawing/2014/main" id="{5C11DD8C-F9DB-4B6D-BF50-BAAA3B9DFBDB}"/>
              </a:ext>
            </a:extLst>
          </p:cNvPr>
          <p:cNvPicPr>
            <a:picLocks noGrp="1" noChangeAspect="1"/>
          </p:cNvPicPr>
          <p:nvPr>
            <p:ph sz="quarter" idx="24"/>
          </p:nvPr>
        </p:nvPicPr>
        <p:blipFill>
          <a:blip r:embed="rId2"/>
          <a:stretch>
            <a:fillRect/>
          </a:stretch>
        </p:blipFill>
        <p:spPr>
          <a:xfrm>
            <a:off x="4853095" y="1604963"/>
            <a:ext cx="3892335" cy="2711450"/>
          </a:xfrm>
          <a:effectLst>
            <a:outerShdw blurRad="63500" sx="102000" sy="102000" algn="ctr" rotWithShape="0">
              <a:prstClr val="black">
                <a:alpha val="40000"/>
              </a:prstClr>
            </a:outerShdw>
          </a:effectLst>
        </p:spPr>
      </p:pic>
      <p:sp>
        <p:nvSpPr>
          <p:cNvPr id="22" name="Text Placeholder 3">
            <a:extLst>
              <a:ext uri="{FF2B5EF4-FFF2-40B4-BE49-F238E27FC236}">
                <a16:creationId xmlns:a16="http://schemas.microsoft.com/office/drawing/2014/main" id="{9A1B5AFF-8735-3CC5-E0CC-4FB9B717B965}"/>
              </a:ext>
            </a:extLst>
          </p:cNvPr>
          <p:cNvSpPr>
            <a:spLocks noGrp="1"/>
          </p:cNvSpPr>
          <p:nvPr>
            <p:ph type="body" sz="quarter" idx="15"/>
          </p:nvPr>
        </p:nvSpPr>
        <p:spPr/>
        <p:txBody>
          <a:bodyPr/>
          <a:lstStyle/>
          <a:p>
            <a:r>
              <a:rPr lang="en-US" dirty="0"/>
              <a:t> </a:t>
            </a:r>
          </a:p>
        </p:txBody>
      </p:sp>
      <p:pic>
        <p:nvPicPr>
          <p:cNvPr id="11" name="Content Placeholder 10">
            <a:extLst>
              <a:ext uri="{FF2B5EF4-FFF2-40B4-BE49-F238E27FC236}">
                <a16:creationId xmlns:a16="http://schemas.microsoft.com/office/drawing/2014/main" id="{72E9C831-CDB3-47B7-9D92-64D753A8A399}"/>
              </a:ext>
            </a:extLst>
          </p:cNvPr>
          <p:cNvPicPr>
            <a:picLocks noGrp="1" noChangeAspect="1"/>
          </p:cNvPicPr>
          <p:nvPr>
            <p:ph sz="quarter" idx="22"/>
          </p:nvPr>
        </p:nvPicPr>
        <p:blipFill>
          <a:blip r:embed="rId3"/>
          <a:stretch>
            <a:fillRect/>
          </a:stretch>
        </p:blipFill>
        <p:spPr>
          <a:xfrm>
            <a:off x="490916" y="1604367"/>
            <a:ext cx="3888116" cy="2711450"/>
          </a:xfrm>
          <a:effectLst>
            <a:outerShdw blurRad="63500" sx="102000" sy="102000" algn="ctr" rotWithShape="0">
              <a:prstClr val="black">
                <a:alpha val="40000"/>
              </a:prstClr>
            </a:outerShdw>
          </a:effectLst>
        </p:spPr>
      </p:pic>
      <p:sp>
        <p:nvSpPr>
          <p:cNvPr id="8" name="Slide Number Placeholder 7">
            <a:extLst>
              <a:ext uri="{FF2B5EF4-FFF2-40B4-BE49-F238E27FC236}">
                <a16:creationId xmlns:a16="http://schemas.microsoft.com/office/drawing/2014/main" id="{21B73514-4C0E-408F-A802-0EAB7053B3BB}"/>
              </a:ext>
            </a:extLst>
          </p:cNvPr>
          <p:cNvSpPr>
            <a:spLocks noGrp="1"/>
          </p:cNvSpPr>
          <p:nvPr>
            <p:ph type="sldNum" sz="quarter" idx="4"/>
          </p:nvPr>
        </p:nvSpPr>
        <p:spPr/>
        <p:txBody>
          <a:bodyPr anchor="ctr">
            <a:normAutofit/>
          </a:bodyPr>
          <a:lstStyle/>
          <a:p>
            <a:pPr>
              <a:spcAft>
                <a:spcPts val="600"/>
              </a:spcAft>
            </a:pPr>
            <a:r>
              <a:rPr lang="en-US" dirty="0"/>
              <a:t>Page </a:t>
            </a:r>
            <a:fld id="{5A9C12DC-491F-9444-86A2-13AC5C62A2FC}" type="slidenum">
              <a:rPr lang="en-US" smtClean="0"/>
              <a:pPr>
                <a:spcAft>
                  <a:spcPts val="600"/>
                </a:spcAft>
              </a:pPr>
              <a:t>23</a:t>
            </a:fld>
            <a:endParaRPr lang="en-US" dirty="0"/>
          </a:p>
        </p:txBody>
      </p:sp>
      <p:sp>
        <p:nvSpPr>
          <p:cNvPr id="9" name="Footer Placeholder 8">
            <a:extLst>
              <a:ext uri="{FF2B5EF4-FFF2-40B4-BE49-F238E27FC236}">
                <a16:creationId xmlns:a16="http://schemas.microsoft.com/office/drawing/2014/main" id="{E5ED4F3F-5111-49BE-BAA4-4C303BD73FCA}"/>
              </a:ext>
            </a:extLst>
          </p:cNvPr>
          <p:cNvSpPr>
            <a:spLocks noGrp="1"/>
          </p:cNvSpPr>
          <p:nvPr>
            <p:ph type="ftr" sz="quarter" idx="3"/>
          </p:nvPr>
        </p:nvSpPr>
        <p:spPr/>
        <p:txBody>
          <a:bodyPr wrap="square" anchor="ctr">
            <a:normAutofit/>
          </a:bodyPr>
          <a:lstStyle/>
          <a:p>
            <a:pPr>
              <a:spcAft>
                <a:spcPts val="600"/>
              </a:spcAft>
            </a:pPr>
            <a:r>
              <a:rPr lang="en-US" dirty="0"/>
              <a:t>Confidential Property of Schneider Electric |</a:t>
            </a:r>
          </a:p>
        </p:txBody>
      </p:sp>
      <p:sp>
        <p:nvSpPr>
          <p:cNvPr id="5" name="Text Placeholder 4">
            <a:extLst>
              <a:ext uri="{FF2B5EF4-FFF2-40B4-BE49-F238E27FC236}">
                <a16:creationId xmlns:a16="http://schemas.microsoft.com/office/drawing/2014/main" id="{DDB8F685-D669-42C9-8AA7-64CD56523DD6}"/>
              </a:ext>
            </a:extLst>
          </p:cNvPr>
          <p:cNvSpPr>
            <a:spLocks noGrp="1"/>
          </p:cNvSpPr>
          <p:nvPr>
            <p:ph type="body" sz="quarter" idx="32"/>
          </p:nvPr>
        </p:nvSpPr>
        <p:spPr/>
        <p:txBody>
          <a:bodyPr>
            <a:normAutofit/>
          </a:bodyPr>
          <a:lstStyle/>
          <a:p>
            <a:r>
              <a:rPr lang="en-US" dirty="0"/>
              <a:t>Depolymerization (DP) by Furans</a:t>
            </a:r>
          </a:p>
        </p:txBody>
      </p:sp>
      <p:sp>
        <p:nvSpPr>
          <p:cNvPr id="31" name="Text Placeholder 14">
            <a:extLst>
              <a:ext uri="{FF2B5EF4-FFF2-40B4-BE49-F238E27FC236}">
                <a16:creationId xmlns:a16="http://schemas.microsoft.com/office/drawing/2014/main" id="{A571116E-AB6C-470C-8B09-6436A30EFF49}"/>
              </a:ext>
            </a:extLst>
          </p:cNvPr>
          <p:cNvSpPr>
            <a:spLocks noGrp="1"/>
          </p:cNvSpPr>
          <p:nvPr>
            <p:ph type="body" sz="quarter" idx="33"/>
          </p:nvPr>
        </p:nvSpPr>
        <p:spPr>
          <a:xfrm>
            <a:off x="252413" y="682625"/>
            <a:ext cx="8647112" cy="254000"/>
          </a:xfrm>
        </p:spPr>
        <p:txBody>
          <a:bodyPr>
            <a:noAutofit/>
          </a:bodyPr>
          <a:lstStyle/>
          <a:p>
            <a:pPr marL="0" indent="0"/>
            <a:r>
              <a:rPr lang="en-US" sz="1400" dirty="0">
                <a:latin typeface="+mn-lt"/>
              </a:rPr>
              <a:t>One method of determining the DP of the transformer’s solid insulation is by measuring the level of furans in the oil. This graph uses the Chendong model to calculate DP and plot it over each furan reading.</a:t>
            </a:r>
          </a:p>
        </p:txBody>
      </p:sp>
    </p:spTree>
    <p:extLst>
      <p:ext uri="{BB962C8B-B14F-4D97-AF65-F5344CB8AC3E}">
        <p14:creationId xmlns:p14="http://schemas.microsoft.com/office/powerpoint/2010/main" val="42734149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DB8F685-D669-42C9-8AA7-64CD56523DD6}"/>
              </a:ext>
            </a:extLst>
          </p:cNvPr>
          <p:cNvSpPr>
            <a:spLocks noGrp="1"/>
          </p:cNvSpPr>
          <p:nvPr>
            <p:ph type="body" sz="quarter" idx="32"/>
          </p:nvPr>
        </p:nvSpPr>
        <p:spPr/>
        <p:txBody>
          <a:bodyPr>
            <a:normAutofit/>
          </a:bodyPr>
          <a:lstStyle/>
          <a:p>
            <a:r>
              <a:rPr lang="en-US" dirty="0"/>
              <a:t>DP History</a:t>
            </a:r>
          </a:p>
        </p:txBody>
      </p:sp>
      <p:sp>
        <p:nvSpPr>
          <p:cNvPr id="15" name="Text Placeholder 14">
            <a:extLst>
              <a:ext uri="{FF2B5EF4-FFF2-40B4-BE49-F238E27FC236}">
                <a16:creationId xmlns:a16="http://schemas.microsoft.com/office/drawing/2014/main" id="{436D1F59-0A90-9643-9B8E-1329CF251E34}"/>
              </a:ext>
            </a:extLst>
          </p:cNvPr>
          <p:cNvSpPr>
            <a:spLocks noGrp="1"/>
          </p:cNvSpPr>
          <p:nvPr>
            <p:ph type="body" sz="quarter" idx="33"/>
          </p:nvPr>
        </p:nvSpPr>
        <p:spPr>
          <a:xfrm>
            <a:off x="252414" y="683366"/>
            <a:ext cx="8647112" cy="859683"/>
          </a:xfrm>
        </p:spPr>
        <p:txBody>
          <a:bodyPr>
            <a:noAutofit/>
          </a:bodyPr>
          <a:lstStyle/>
          <a:p>
            <a:pPr marL="0" indent="0"/>
            <a:r>
              <a:rPr lang="en-US" sz="1400" dirty="0">
                <a:latin typeface="+mn-lt"/>
              </a:rPr>
              <a:t>Using mathematical algorithms and oil test history, ETE can plot the estimated aging profile of the paper insulation. This graph gives insight into the rate of aging of the insulation since the beginning of its service to its current DP.</a:t>
            </a:r>
          </a:p>
        </p:txBody>
      </p:sp>
      <p:pic>
        <p:nvPicPr>
          <p:cNvPr id="23" name="Content Placeholder 22">
            <a:extLst>
              <a:ext uri="{FF2B5EF4-FFF2-40B4-BE49-F238E27FC236}">
                <a16:creationId xmlns:a16="http://schemas.microsoft.com/office/drawing/2014/main" id="{3ABFC529-59B8-4165-99A4-4B46D9AB5931}"/>
              </a:ext>
            </a:extLst>
          </p:cNvPr>
          <p:cNvPicPr>
            <a:picLocks noGrp="1" noChangeAspect="1"/>
          </p:cNvPicPr>
          <p:nvPr>
            <p:ph sz="quarter" idx="22"/>
          </p:nvPr>
        </p:nvPicPr>
        <p:blipFill>
          <a:blip r:embed="rId2"/>
          <a:srcRect/>
          <a:stretch/>
        </p:blipFill>
        <p:spPr>
          <a:xfrm>
            <a:off x="1157857" y="1705854"/>
            <a:ext cx="6828285" cy="2132557"/>
          </a:xfrm>
          <a:effectLst>
            <a:outerShdw blurRad="63500" sx="102000" sy="102000" algn="ctr" rotWithShape="0">
              <a:prstClr val="black">
                <a:alpha val="40000"/>
              </a:prstClr>
            </a:outerShdw>
          </a:effectLst>
        </p:spPr>
      </p:pic>
      <p:sp>
        <p:nvSpPr>
          <p:cNvPr id="22" name="Text Placeholder 3">
            <a:extLst>
              <a:ext uri="{FF2B5EF4-FFF2-40B4-BE49-F238E27FC236}">
                <a16:creationId xmlns:a16="http://schemas.microsoft.com/office/drawing/2014/main" id="{9A1B5AFF-8735-3CC5-E0CC-4FB9B717B965}"/>
              </a:ext>
            </a:extLst>
          </p:cNvPr>
          <p:cNvSpPr>
            <a:spLocks noGrp="1"/>
          </p:cNvSpPr>
          <p:nvPr>
            <p:ph type="body" sz="quarter" idx="15"/>
          </p:nvPr>
        </p:nvSpPr>
        <p:spPr/>
        <p:txBody>
          <a:bodyPr/>
          <a:lstStyle/>
          <a:p>
            <a:r>
              <a:rPr lang="en-US" dirty="0"/>
              <a:t> </a:t>
            </a:r>
          </a:p>
        </p:txBody>
      </p:sp>
      <p:sp>
        <p:nvSpPr>
          <p:cNvPr id="8" name="Slide Number Placeholder 7">
            <a:extLst>
              <a:ext uri="{FF2B5EF4-FFF2-40B4-BE49-F238E27FC236}">
                <a16:creationId xmlns:a16="http://schemas.microsoft.com/office/drawing/2014/main" id="{21B73514-4C0E-408F-A802-0EAB7053B3BB}"/>
              </a:ext>
            </a:extLst>
          </p:cNvPr>
          <p:cNvSpPr>
            <a:spLocks noGrp="1"/>
          </p:cNvSpPr>
          <p:nvPr>
            <p:ph type="sldNum" sz="quarter" idx="4"/>
          </p:nvPr>
        </p:nvSpPr>
        <p:spPr/>
        <p:txBody>
          <a:bodyPr anchor="ctr">
            <a:normAutofit/>
          </a:bodyPr>
          <a:lstStyle/>
          <a:p>
            <a:pPr>
              <a:spcAft>
                <a:spcPts val="600"/>
              </a:spcAft>
            </a:pPr>
            <a:r>
              <a:rPr lang="en-US" dirty="0"/>
              <a:t>Page </a:t>
            </a:r>
            <a:fld id="{5A9C12DC-491F-9444-86A2-13AC5C62A2FC}" type="slidenum">
              <a:rPr lang="en-US" smtClean="0"/>
              <a:pPr>
                <a:spcAft>
                  <a:spcPts val="600"/>
                </a:spcAft>
              </a:pPr>
              <a:t>24</a:t>
            </a:fld>
            <a:endParaRPr lang="en-US" dirty="0"/>
          </a:p>
        </p:txBody>
      </p:sp>
      <p:sp>
        <p:nvSpPr>
          <p:cNvPr id="9" name="Footer Placeholder 8">
            <a:extLst>
              <a:ext uri="{FF2B5EF4-FFF2-40B4-BE49-F238E27FC236}">
                <a16:creationId xmlns:a16="http://schemas.microsoft.com/office/drawing/2014/main" id="{E5ED4F3F-5111-49BE-BAA4-4C303BD73FCA}"/>
              </a:ext>
            </a:extLst>
          </p:cNvPr>
          <p:cNvSpPr>
            <a:spLocks noGrp="1"/>
          </p:cNvSpPr>
          <p:nvPr>
            <p:ph type="ftr" sz="quarter" idx="3"/>
          </p:nvPr>
        </p:nvSpPr>
        <p:spPr/>
        <p:txBody>
          <a:bodyPr wrap="square" anchor="ctr">
            <a:normAutofit/>
          </a:bodyPr>
          <a:lstStyle/>
          <a:p>
            <a:pPr>
              <a:spcAft>
                <a:spcPts val="600"/>
              </a:spcAft>
            </a:pPr>
            <a:r>
              <a:rPr lang="en-US" dirty="0"/>
              <a:t>Confidential Property of Schneider Electric |</a:t>
            </a:r>
          </a:p>
        </p:txBody>
      </p:sp>
    </p:spTree>
    <p:extLst>
      <p:ext uri="{BB962C8B-B14F-4D97-AF65-F5344CB8AC3E}">
        <p14:creationId xmlns:p14="http://schemas.microsoft.com/office/powerpoint/2010/main" val="19681589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DB8F685-D669-42C9-8AA7-64CD56523DD6}"/>
              </a:ext>
            </a:extLst>
          </p:cNvPr>
          <p:cNvSpPr>
            <a:spLocks noGrp="1"/>
          </p:cNvSpPr>
          <p:nvPr>
            <p:ph type="body" sz="quarter" idx="32"/>
          </p:nvPr>
        </p:nvSpPr>
        <p:spPr/>
        <p:txBody>
          <a:bodyPr>
            <a:normAutofit/>
          </a:bodyPr>
          <a:lstStyle/>
          <a:p>
            <a:r>
              <a:rPr lang="en-US" dirty="0"/>
              <a:t>DP History</a:t>
            </a:r>
          </a:p>
        </p:txBody>
      </p:sp>
      <p:sp>
        <p:nvSpPr>
          <p:cNvPr id="15" name="Text Placeholder 14">
            <a:extLst>
              <a:ext uri="{FF2B5EF4-FFF2-40B4-BE49-F238E27FC236}">
                <a16:creationId xmlns:a16="http://schemas.microsoft.com/office/drawing/2014/main" id="{436D1F59-0A90-9643-9B8E-1329CF251E34}"/>
              </a:ext>
            </a:extLst>
          </p:cNvPr>
          <p:cNvSpPr>
            <a:spLocks noGrp="1"/>
          </p:cNvSpPr>
          <p:nvPr>
            <p:ph type="body" sz="quarter" idx="33"/>
          </p:nvPr>
        </p:nvSpPr>
        <p:spPr>
          <a:xfrm>
            <a:off x="252414" y="683367"/>
            <a:ext cx="8647112" cy="831108"/>
          </a:xfrm>
        </p:spPr>
        <p:txBody>
          <a:bodyPr>
            <a:noAutofit/>
          </a:bodyPr>
          <a:lstStyle/>
          <a:p>
            <a:pPr marL="0" indent="0"/>
            <a:r>
              <a:rPr lang="en-US" sz="1400" dirty="0">
                <a:latin typeface="+mn-lt"/>
              </a:rPr>
              <a:t>The error bars shows on the chart shows DP from furan using Chendong equation. The red square shows DP best estimate. It is derived from weighted average of historical aging DP with Oil Test DP with tolerance, representing the best estimate DP at the time of ETE installation.</a:t>
            </a:r>
          </a:p>
        </p:txBody>
      </p:sp>
      <p:pic>
        <p:nvPicPr>
          <p:cNvPr id="23" name="Content Placeholder 22">
            <a:extLst>
              <a:ext uri="{FF2B5EF4-FFF2-40B4-BE49-F238E27FC236}">
                <a16:creationId xmlns:a16="http://schemas.microsoft.com/office/drawing/2014/main" id="{3ABFC529-59B8-4165-99A4-4B46D9AB5931}"/>
              </a:ext>
            </a:extLst>
          </p:cNvPr>
          <p:cNvPicPr>
            <a:picLocks noGrp="1" noChangeAspect="1"/>
          </p:cNvPicPr>
          <p:nvPr>
            <p:ph sz="quarter" idx="22"/>
          </p:nvPr>
        </p:nvPicPr>
        <p:blipFill>
          <a:blip r:embed="rId2"/>
          <a:srcRect/>
          <a:stretch/>
        </p:blipFill>
        <p:spPr>
          <a:xfrm>
            <a:off x="1160258" y="1750920"/>
            <a:ext cx="6823483" cy="2315383"/>
          </a:xfrm>
          <a:effectLst>
            <a:outerShdw blurRad="63500" sx="102000" sy="102000" algn="ctr" rotWithShape="0">
              <a:prstClr val="black">
                <a:alpha val="40000"/>
              </a:prstClr>
            </a:outerShdw>
          </a:effectLst>
        </p:spPr>
      </p:pic>
      <p:sp>
        <p:nvSpPr>
          <p:cNvPr id="22" name="Text Placeholder 3">
            <a:extLst>
              <a:ext uri="{FF2B5EF4-FFF2-40B4-BE49-F238E27FC236}">
                <a16:creationId xmlns:a16="http://schemas.microsoft.com/office/drawing/2014/main" id="{9A1B5AFF-8735-3CC5-E0CC-4FB9B717B965}"/>
              </a:ext>
            </a:extLst>
          </p:cNvPr>
          <p:cNvSpPr>
            <a:spLocks noGrp="1"/>
          </p:cNvSpPr>
          <p:nvPr>
            <p:ph type="body" sz="quarter" idx="15"/>
          </p:nvPr>
        </p:nvSpPr>
        <p:spPr/>
        <p:txBody>
          <a:bodyPr/>
          <a:lstStyle/>
          <a:p>
            <a:r>
              <a:rPr lang="en-US" dirty="0"/>
              <a:t> </a:t>
            </a:r>
          </a:p>
        </p:txBody>
      </p:sp>
      <p:sp>
        <p:nvSpPr>
          <p:cNvPr id="8" name="Slide Number Placeholder 7">
            <a:extLst>
              <a:ext uri="{FF2B5EF4-FFF2-40B4-BE49-F238E27FC236}">
                <a16:creationId xmlns:a16="http://schemas.microsoft.com/office/drawing/2014/main" id="{21B73514-4C0E-408F-A802-0EAB7053B3BB}"/>
              </a:ext>
            </a:extLst>
          </p:cNvPr>
          <p:cNvSpPr>
            <a:spLocks noGrp="1"/>
          </p:cNvSpPr>
          <p:nvPr>
            <p:ph type="sldNum" sz="quarter" idx="4"/>
          </p:nvPr>
        </p:nvSpPr>
        <p:spPr/>
        <p:txBody>
          <a:bodyPr anchor="ctr">
            <a:normAutofit/>
          </a:bodyPr>
          <a:lstStyle/>
          <a:p>
            <a:pPr>
              <a:spcAft>
                <a:spcPts val="600"/>
              </a:spcAft>
            </a:pPr>
            <a:r>
              <a:rPr lang="en-US" dirty="0"/>
              <a:t>Page </a:t>
            </a:r>
            <a:fld id="{5A9C12DC-491F-9444-86A2-13AC5C62A2FC}" type="slidenum">
              <a:rPr lang="en-US" smtClean="0"/>
              <a:pPr>
                <a:spcAft>
                  <a:spcPts val="600"/>
                </a:spcAft>
              </a:pPr>
              <a:t>25</a:t>
            </a:fld>
            <a:endParaRPr lang="en-US" dirty="0"/>
          </a:p>
        </p:txBody>
      </p:sp>
      <p:sp>
        <p:nvSpPr>
          <p:cNvPr id="9" name="Footer Placeholder 8">
            <a:extLst>
              <a:ext uri="{FF2B5EF4-FFF2-40B4-BE49-F238E27FC236}">
                <a16:creationId xmlns:a16="http://schemas.microsoft.com/office/drawing/2014/main" id="{E5ED4F3F-5111-49BE-BAA4-4C303BD73FCA}"/>
              </a:ext>
            </a:extLst>
          </p:cNvPr>
          <p:cNvSpPr>
            <a:spLocks noGrp="1"/>
          </p:cNvSpPr>
          <p:nvPr>
            <p:ph type="ftr" sz="quarter" idx="3"/>
          </p:nvPr>
        </p:nvSpPr>
        <p:spPr/>
        <p:txBody>
          <a:bodyPr wrap="square" anchor="ctr">
            <a:normAutofit/>
          </a:bodyPr>
          <a:lstStyle/>
          <a:p>
            <a:pPr>
              <a:spcAft>
                <a:spcPts val="600"/>
              </a:spcAft>
            </a:pPr>
            <a:r>
              <a:rPr lang="en-US" dirty="0"/>
              <a:t>Confidential Property of Schneider Electric |</a:t>
            </a:r>
          </a:p>
        </p:txBody>
      </p:sp>
    </p:spTree>
    <p:extLst>
      <p:ext uri="{BB962C8B-B14F-4D97-AF65-F5344CB8AC3E}">
        <p14:creationId xmlns:p14="http://schemas.microsoft.com/office/powerpoint/2010/main" val="31900154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12">
            <a:extLst>
              <a:ext uri="{FF2B5EF4-FFF2-40B4-BE49-F238E27FC236}">
                <a16:creationId xmlns:a16="http://schemas.microsoft.com/office/drawing/2014/main" id="{69FB307B-4F1F-4FB4-BD27-CEE266BF2833}"/>
              </a:ext>
            </a:extLst>
          </p:cNvPr>
          <p:cNvPicPr>
            <a:picLocks noGrp="1" noChangeAspect="1"/>
          </p:cNvPicPr>
          <p:nvPr>
            <p:ph sz="quarter" idx="24"/>
          </p:nvPr>
        </p:nvPicPr>
        <p:blipFill>
          <a:blip r:embed="rId2"/>
          <a:stretch>
            <a:fillRect/>
          </a:stretch>
        </p:blipFill>
        <p:spPr>
          <a:xfrm>
            <a:off x="4836262" y="1601788"/>
            <a:ext cx="3849801" cy="2711450"/>
          </a:xfrm>
          <a:effectLst>
            <a:outerShdw blurRad="63500" sx="102000" sy="102000" algn="ctr" rotWithShape="0">
              <a:prstClr val="black">
                <a:alpha val="40000"/>
              </a:prstClr>
            </a:outerShdw>
          </a:effectLst>
        </p:spPr>
      </p:pic>
      <p:sp>
        <p:nvSpPr>
          <p:cNvPr id="22" name="Text Placeholder 3">
            <a:extLst>
              <a:ext uri="{FF2B5EF4-FFF2-40B4-BE49-F238E27FC236}">
                <a16:creationId xmlns:a16="http://schemas.microsoft.com/office/drawing/2014/main" id="{9A1B5AFF-8735-3CC5-E0CC-4FB9B717B965}"/>
              </a:ext>
            </a:extLst>
          </p:cNvPr>
          <p:cNvSpPr>
            <a:spLocks noGrp="1"/>
          </p:cNvSpPr>
          <p:nvPr>
            <p:ph type="body" sz="quarter" idx="15"/>
          </p:nvPr>
        </p:nvSpPr>
        <p:spPr/>
        <p:txBody>
          <a:bodyPr/>
          <a:lstStyle/>
          <a:p>
            <a:r>
              <a:rPr lang="en-US" dirty="0"/>
              <a:t> </a:t>
            </a:r>
          </a:p>
        </p:txBody>
      </p:sp>
      <p:pic>
        <p:nvPicPr>
          <p:cNvPr id="7" name="Content Placeholder 6">
            <a:extLst>
              <a:ext uri="{FF2B5EF4-FFF2-40B4-BE49-F238E27FC236}">
                <a16:creationId xmlns:a16="http://schemas.microsoft.com/office/drawing/2014/main" id="{3464C4D2-2B7D-47F5-861F-B703EC8DE6B4}"/>
              </a:ext>
            </a:extLst>
          </p:cNvPr>
          <p:cNvPicPr>
            <a:picLocks noGrp="1" noChangeAspect="1"/>
          </p:cNvPicPr>
          <p:nvPr>
            <p:ph sz="quarter" idx="22"/>
          </p:nvPr>
        </p:nvPicPr>
        <p:blipFill>
          <a:blip r:embed="rId3"/>
          <a:stretch>
            <a:fillRect/>
          </a:stretch>
        </p:blipFill>
        <p:spPr>
          <a:xfrm>
            <a:off x="368809" y="1601643"/>
            <a:ext cx="3945507" cy="2711450"/>
          </a:xfrm>
          <a:effectLst>
            <a:outerShdw blurRad="63500" sx="102000" sy="102000" algn="ctr" rotWithShape="0">
              <a:prstClr val="black">
                <a:alpha val="40000"/>
              </a:prstClr>
            </a:outerShdw>
          </a:effectLst>
        </p:spPr>
      </p:pic>
      <p:sp>
        <p:nvSpPr>
          <p:cNvPr id="8" name="Slide Number Placeholder 7">
            <a:extLst>
              <a:ext uri="{FF2B5EF4-FFF2-40B4-BE49-F238E27FC236}">
                <a16:creationId xmlns:a16="http://schemas.microsoft.com/office/drawing/2014/main" id="{21B73514-4C0E-408F-A802-0EAB7053B3BB}"/>
              </a:ext>
            </a:extLst>
          </p:cNvPr>
          <p:cNvSpPr>
            <a:spLocks noGrp="1"/>
          </p:cNvSpPr>
          <p:nvPr>
            <p:ph type="sldNum" sz="quarter" idx="4"/>
          </p:nvPr>
        </p:nvSpPr>
        <p:spPr/>
        <p:txBody>
          <a:bodyPr anchor="ctr">
            <a:normAutofit/>
          </a:bodyPr>
          <a:lstStyle/>
          <a:p>
            <a:pPr>
              <a:spcAft>
                <a:spcPts val="600"/>
              </a:spcAft>
            </a:pPr>
            <a:r>
              <a:rPr lang="en-US" dirty="0"/>
              <a:t>Page </a:t>
            </a:r>
            <a:fld id="{5A9C12DC-491F-9444-86A2-13AC5C62A2FC}" type="slidenum">
              <a:rPr lang="en-US" smtClean="0"/>
              <a:pPr>
                <a:spcAft>
                  <a:spcPts val="600"/>
                </a:spcAft>
              </a:pPr>
              <a:t>26</a:t>
            </a:fld>
            <a:endParaRPr lang="en-US" dirty="0"/>
          </a:p>
        </p:txBody>
      </p:sp>
      <p:sp>
        <p:nvSpPr>
          <p:cNvPr id="9" name="Footer Placeholder 8">
            <a:extLst>
              <a:ext uri="{FF2B5EF4-FFF2-40B4-BE49-F238E27FC236}">
                <a16:creationId xmlns:a16="http://schemas.microsoft.com/office/drawing/2014/main" id="{E5ED4F3F-5111-49BE-BAA4-4C303BD73FCA}"/>
              </a:ext>
            </a:extLst>
          </p:cNvPr>
          <p:cNvSpPr>
            <a:spLocks noGrp="1"/>
          </p:cNvSpPr>
          <p:nvPr>
            <p:ph type="ftr" sz="quarter" idx="3"/>
          </p:nvPr>
        </p:nvSpPr>
        <p:spPr/>
        <p:txBody>
          <a:bodyPr wrap="square" anchor="ctr">
            <a:normAutofit/>
          </a:bodyPr>
          <a:lstStyle/>
          <a:p>
            <a:pPr>
              <a:spcAft>
                <a:spcPts val="600"/>
              </a:spcAft>
            </a:pPr>
            <a:r>
              <a:rPr lang="en-US" dirty="0"/>
              <a:t>Confidential Property of Schneider Electric |</a:t>
            </a:r>
          </a:p>
        </p:txBody>
      </p:sp>
      <p:sp>
        <p:nvSpPr>
          <p:cNvPr id="5" name="Text Placeholder 4">
            <a:extLst>
              <a:ext uri="{FF2B5EF4-FFF2-40B4-BE49-F238E27FC236}">
                <a16:creationId xmlns:a16="http://schemas.microsoft.com/office/drawing/2014/main" id="{DDB8F685-D669-42C9-8AA7-64CD56523DD6}"/>
              </a:ext>
            </a:extLst>
          </p:cNvPr>
          <p:cNvSpPr>
            <a:spLocks noGrp="1"/>
          </p:cNvSpPr>
          <p:nvPr>
            <p:ph type="body" sz="quarter" idx="32"/>
          </p:nvPr>
        </p:nvSpPr>
        <p:spPr/>
        <p:txBody>
          <a:bodyPr>
            <a:normAutofit/>
          </a:bodyPr>
          <a:lstStyle/>
          <a:p>
            <a:r>
              <a:rPr lang="en-US" dirty="0"/>
              <a:t>Moisture in Oil</a:t>
            </a:r>
          </a:p>
        </p:txBody>
      </p:sp>
      <p:sp>
        <p:nvSpPr>
          <p:cNvPr id="15" name="Text Placeholder 14">
            <a:extLst>
              <a:ext uri="{FF2B5EF4-FFF2-40B4-BE49-F238E27FC236}">
                <a16:creationId xmlns:a16="http://schemas.microsoft.com/office/drawing/2014/main" id="{436D1F59-0A90-9643-9B8E-1329CF251E34}"/>
              </a:ext>
            </a:extLst>
          </p:cNvPr>
          <p:cNvSpPr>
            <a:spLocks noGrp="1"/>
          </p:cNvSpPr>
          <p:nvPr>
            <p:ph type="body" sz="quarter" idx="33"/>
          </p:nvPr>
        </p:nvSpPr>
        <p:spPr/>
        <p:txBody>
          <a:bodyPr>
            <a:noAutofit/>
          </a:bodyPr>
          <a:lstStyle/>
          <a:p>
            <a:pPr marL="0" indent="0"/>
            <a:r>
              <a:rPr lang="en-US" sz="1400" dirty="0">
                <a:latin typeface="+mn-lt"/>
              </a:rPr>
              <a:t>This graph plots the amount of water detected in each oil test conducted by the customer. Moisture moves between the oil and paper insulation as the temperature fluctuates in the transformer. Therefore, this result is very sensitive to the temperature of the oil when it was sampled.</a:t>
            </a:r>
          </a:p>
        </p:txBody>
      </p:sp>
    </p:spTree>
    <p:extLst>
      <p:ext uri="{BB962C8B-B14F-4D97-AF65-F5344CB8AC3E}">
        <p14:creationId xmlns:p14="http://schemas.microsoft.com/office/powerpoint/2010/main" val="7694440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DB8F685-D669-42C9-8AA7-64CD56523DD6}"/>
              </a:ext>
            </a:extLst>
          </p:cNvPr>
          <p:cNvSpPr>
            <a:spLocks noGrp="1"/>
          </p:cNvSpPr>
          <p:nvPr>
            <p:ph type="body" sz="quarter" idx="32"/>
          </p:nvPr>
        </p:nvSpPr>
        <p:spPr/>
        <p:txBody>
          <a:bodyPr>
            <a:normAutofit/>
          </a:bodyPr>
          <a:lstStyle/>
          <a:p>
            <a:r>
              <a:rPr lang="en-US" dirty="0"/>
              <a:t>Water Content of Oil</a:t>
            </a:r>
          </a:p>
        </p:txBody>
      </p:sp>
      <p:sp>
        <p:nvSpPr>
          <p:cNvPr id="15" name="Text Placeholder 14">
            <a:extLst>
              <a:ext uri="{FF2B5EF4-FFF2-40B4-BE49-F238E27FC236}">
                <a16:creationId xmlns:a16="http://schemas.microsoft.com/office/drawing/2014/main" id="{436D1F59-0A90-9643-9B8E-1329CF251E34}"/>
              </a:ext>
            </a:extLst>
          </p:cNvPr>
          <p:cNvSpPr>
            <a:spLocks noGrp="1"/>
          </p:cNvSpPr>
          <p:nvPr>
            <p:ph type="body" sz="quarter" idx="33"/>
          </p:nvPr>
        </p:nvSpPr>
        <p:spPr>
          <a:xfrm>
            <a:off x="252414" y="683367"/>
            <a:ext cx="8647112" cy="666802"/>
          </a:xfrm>
        </p:spPr>
        <p:txBody>
          <a:bodyPr>
            <a:noAutofit/>
          </a:bodyPr>
          <a:lstStyle/>
          <a:p>
            <a:pPr marL="0" indent="0"/>
            <a:r>
              <a:rPr lang="en-US" sz="1400" dirty="0">
                <a:latin typeface="+mn-lt"/>
              </a:rPr>
              <a:t>This graph shows WCO measured by the ETE sensor. Red points indicate the moisture measured during oil testing. The ETE sensor records moisture data every hour. It can be clearly seen how much additional data the ETE sensor can provide. </a:t>
            </a:r>
          </a:p>
        </p:txBody>
      </p:sp>
      <p:pic>
        <p:nvPicPr>
          <p:cNvPr id="23" name="Content Placeholder 22">
            <a:extLst>
              <a:ext uri="{FF2B5EF4-FFF2-40B4-BE49-F238E27FC236}">
                <a16:creationId xmlns:a16="http://schemas.microsoft.com/office/drawing/2014/main" id="{3ABFC529-59B8-4165-99A4-4B46D9AB5931}"/>
              </a:ext>
            </a:extLst>
          </p:cNvPr>
          <p:cNvPicPr>
            <a:picLocks noGrp="1" noChangeAspect="1"/>
          </p:cNvPicPr>
          <p:nvPr>
            <p:ph sz="quarter" idx="22"/>
          </p:nvPr>
        </p:nvPicPr>
        <p:blipFill>
          <a:blip r:embed="rId2"/>
          <a:srcRect/>
          <a:stretch/>
        </p:blipFill>
        <p:spPr>
          <a:xfrm>
            <a:off x="1160258" y="1588572"/>
            <a:ext cx="6823483" cy="2367120"/>
          </a:xfrm>
          <a:effectLst>
            <a:outerShdw blurRad="63500" sx="102000" sy="102000" algn="ctr" rotWithShape="0">
              <a:prstClr val="black">
                <a:alpha val="40000"/>
              </a:prstClr>
            </a:outerShdw>
          </a:effectLst>
        </p:spPr>
      </p:pic>
      <p:sp>
        <p:nvSpPr>
          <p:cNvPr id="22" name="Text Placeholder 3">
            <a:extLst>
              <a:ext uri="{FF2B5EF4-FFF2-40B4-BE49-F238E27FC236}">
                <a16:creationId xmlns:a16="http://schemas.microsoft.com/office/drawing/2014/main" id="{9A1B5AFF-8735-3CC5-E0CC-4FB9B717B965}"/>
              </a:ext>
            </a:extLst>
          </p:cNvPr>
          <p:cNvSpPr>
            <a:spLocks noGrp="1"/>
          </p:cNvSpPr>
          <p:nvPr>
            <p:ph type="body" sz="quarter" idx="15"/>
          </p:nvPr>
        </p:nvSpPr>
        <p:spPr/>
        <p:txBody>
          <a:bodyPr/>
          <a:lstStyle/>
          <a:p>
            <a:r>
              <a:rPr lang="en-US" dirty="0"/>
              <a:t> </a:t>
            </a:r>
          </a:p>
        </p:txBody>
      </p:sp>
      <p:sp>
        <p:nvSpPr>
          <p:cNvPr id="8" name="Slide Number Placeholder 7">
            <a:extLst>
              <a:ext uri="{FF2B5EF4-FFF2-40B4-BE49-F238E27FC236}">
                <a16:creationId xmlns:a16="http://schemas.microsoft.com/office/drawing/2014/main" id="{21B73514-4C0E-408F-A802-0EAB7053B3BB}"/>
              </a:ext>
            </a:extLst>
          </p:cNvPr>
          <p:cNvSpPr>
            <a:spLocks noGrp="1"/>
          </p:cNvSpPr>
          <p:nvPr>
            <p:ph type="sldNum" sz="quarter" idx="4"/>
          </p:nvPr>
        </p:nvSpPr>
        <p:spPr/>
        <p:txBody>
          <a:bodyPr anchor="ctr">
            <a:normAutofit/>
          </a:bodyPr>
          <a:lstStyle/>
          <a:p>
            <a:pPr>
              <a:spcAft>
                <a:spcPts val="600"/>
              </a:spcAft>
            </a:pPr>
            <a:r>
              <a:rPr lang="en-US" dirty="0"/>
              <a:t>Page </a:t>
            </a:r>
            <a:fld id="{5A9C12DC-491F-9444-86A2-13AC5C62A2FC}" type="slidenum">
              <a:rPr lang="en-US" smtClean="0"/>
              <a:pPr>
                <a:spcAft>
                  <a:spcPts val="600"/>
                </a:spcAft>
              </a:pPr>
              <a:t>27</a:t>
            </a:fld>
            <a:endParaRPr lang="en-US" dirty="0"/>
          </a:p>
        </p:txBody>
      </p:sp>
      <p:sp>
        <p:nvSpPr>
          <p:cNvPr id="9" name="Footer Placeholder 8">
            <a:extLst>
              <a:ext uri="{FF2B5EF4-FFF2-40B4-BE49-F238E27FC236}">
                <a16:creationId xmlns:a16="http://schemas.microsoft.com/office/drawing/2014/main" id="{E5ED4F3F-5111-49BE-BAA4-4C303BD73FCA}"/>
              </a:ext>
            </a:extLst>
          </p:cNvPr>
          <p:cNvSpPr>
            <a:spLocks noGrp="1"/>
          </p:cNvSpPr>
          <p:nvPr>
            <p:ph type="ftr" sz="quarter" idx="3"/>
          </p:nvPr>
        </p:nvSpPr>
        <p:spPr/>
        <p:txBody>
          <a:bodyPr wrap="square" anchor="ctr">
            <a:normAutofit/>
          </a:bodyPr>
          <a:lstStyle/>
          <a:p>
            <a:pPr>
              <a:spcAft>
                <a:spcPts val="600"/>
              </a:spcAft>
            </a:pPr>
            <a:r>
              <a:rPr lang="en-US" dirty="0"/>
              <a:t>Confidential Property of Schneider Electric |</a:t>
            </a:r>
          </a:p>
        </p:txBody>
      </p:sp>
    </p:spTree>
    <p:extLst>
      <p:ext uri="{BB962C8B-B14F-4D97-AF65-F5344CB8AC3E}">
        <p14:creationId xmlns:p14="http://schemas.microsoft.com/office/powerpoint/2010/main" val="10816157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DB8F685-D669-42C9-8AA7-64CD56523DD6}"/>
              </a:ext>
            </a:extLst>
          </p:cNvPr>
          <p:cNvSpPr>
            <a:spLocks noGrp="1"/>
          </p:cNvSpPr>
          <p:nvPr>
            <p:ph type="body" sz="quarter" idx="32"/>
          </p:nvPr>
        </p:nvSpPr>
        <p:spPr/>
        <p:txBody>
          <a:bodyPr>
            <a:normAutofit/>
          </a:bodyPr>
          <a:lstStyle/>
          <a:p>
            <a:r>
              <a:rPr lang="en-US" dirty="0"/>
              <a:t>Water Content of Oil</a:t>
            </a:r>
          </a:p>
        </p:txBody>
      </p:sp>
      <p:sp>
        <p:nvSpPr>
          <p:cNvPr id="15" name="Text Placeholder 14">
            <a:extLst>
              <a:ext uri="{FF2B5EF4-FFF2-40B4-BE49-F238E27FC236}">
                <a16:creationId xmlns:a16="http://schemas.microsoft.com/office/drawing/2014/main" id="{436D1F59-0A90-9643-9B8E-1329CF251E34}"/>
              </a:ext>
            </a:extLst>
          </p:cNvPr>
          <p:cNvSpPr>
            <a:spLocks noGrp="1"/>
          </p:cNvSpPr>
          <p:nvPr>
            <p:ph type="body" sz="quarter" idx="33"/>
          </p:nvPr>
        </p:nvSpPr>
        <p:spPr/>
        <p:txBody>
          <a:bodyPr>
            <a:noAutofit/>
          </a:bodyPr>
          <a:lstStyle/>
          <a:p>
            <a:pPr marL="0" indent="0"/>
            <a:r>
              <a:rPr lang="en-US" sz="1400" dirty="0">
                <a:latin typeface="+mn-lt"/>
              </a:rPr>
              <a:t>Here is another example from a different transformer. Two red points demonstrate that the moisture measured during oil testing in 2019 &amp; 2020 align with the ETE sensor.</a:t>
            </a:r>
          </a:p>
        </p:txBody>
      </p:sp>
      <p:pic>
        <p:nvPicPr>
          <p:cNvPr id="23" name="Content Placeholder 22">
            <a:extLst>
              <a:ext uri="{FF2B5EF4-FFF2-40B4-BE49-F238E27FC236}">
                <a16:creationId xmlns:a16="http://schemas.microsoft.com/office/drawing/2014/main" id="{3ABFC529-59B8-4165-99A4-4B46D9AB5931}"/>
              </a:ext>
            </a:extLst>
          </p:cNvPr>
          <p:cNvPicPr>
            <a:picLocks noGrp="1" noChangeAspect="1"/>
          </p:cNvPicPr>
          <p:nvPr>
            <p:ph sz="quarter" idx="22"/>
          </p:nvPr>
        </p:nvPicPr>
        <p:blipFill>
          <a:blip r:embed="rId2"/>
          <a:srcRect/>
          <a:stretch/>
        </p:blipFill>
        <p:spPr>
          <a:xfrm>
            <a:off x="1710760" y="1605025"/>
            <a:ext cx="5722479" cy="2281345"/>
          </a:xfrm>
          <a:effectLst>
            <a:outerShdw blurRad="63500" sx="102000" sy="102000" algn="ctr" rotWithShape="0">
              <a:prstClr val="black">
                <a:alpha val="40000"/>
              </a:prstClr>
            </a:outerShdw>
          </a:effectLst>
        </p:spPr>
      </p:pic>
      <p:sp>
        <p:nvSpPr>
          <p:cNvPr id="22" name="Text Placeholder 3">
            <a:extLst>
              <a:ext uri="{FF2B5EF4-FFF2-40B4-BE49-F238E27FC236}">
                <a16:creationId xmlns:a16="http://schemas.microsoft.com/office/drawing/2014/main" id="{9A1B5AFF-8735-3CC5-E0CC-4FB9B717B965}"/>
              </a:ext>
            </a:extLst>
          </p:cNvPr>
          <p:cNvSpPr>
            <a:spLocks noGrp="1"/>
          </p:cNvSpPr>
          <p:nvPr>
            <p:ph type="body" sz="quarter" idx="15"/>
          </p:nvPr>
        </p:nvSpPr>
        <p:spPr/>
        <p:txBody>
          <a:bodyPr/>
          <a:lstStyle/>
          <a:p>
            <a:r>
              <a:rPr lang="en-US" dirty="0"/>
              <a:t> </a:t>
            </a:r>
          </a:p>
        </p:txBody>
      </p:sp>
      <p:sp>
        <p:nvSpPr>
          <p:cNvPr id="8" name="Slide Number Placeholder 7">
            <a:extLst>
              <a:ext uri="{FF2B5EF4-FFF2-40B4-BE49-F238E27FC236}">
                <a16:creationId xmlns:a16="http://schemas.microsoft.com/office/drawing/2014/main" id="{21B73514-4C0E-408F-A802-0EAB7053B3BB}"/>
              </a:ext>
            </a:extLst>
          </p:cNvPr>
          <p:cNvSpPr>
            <a:spLocks noGrp="1"/>
          </p:cNvSpPr>
          <p:nvPr>
            <p:ph type="sldNum" sz="quarter" idx="4"/>
          </p:nvPr>
        </p:nvSpPr>
        <p:spPr/>
        <p:txBody>
          <a:bodyPr anchor="ctr">
            <a:normAutofit/>
          </a:bodyPr>
          <a:lstStyle/>
          <a:p>
            <a:pPr>
              <a:spcAft>
                <a:spcPts val="600"/>
              </a:spcAft>
            </a:pPr>
            <a:r>
              <a:rPr lang="en-US" dirty="0"/>
              <a:t>Page </a:t>
            </a:r>
            <a:fld id="{5A9C12DC-491F-9444-86A2-13AC5C62A2FC}" type="slidenum">
              <a:rPr lang="en-US" smtClean="0"/>
              <a:pPr>
                <a:spcAft>
                  <a:spcPts val="600"/>
                </a:spcAft>
              </a:pPr>
              <a:t>28</a:t>
            </a:fld>
            <a:endParaRPr lang="en-US" dirty="0"/>
          </a:p>
        </p:txBody>
      </p:sp>
      <p:sp>
        <p:nvSpPr>
          <p:cNvPr id="9" name="Footer Placeholder 8">
            <a:extLst>
              <a:ext uri="{FF2B5EF4-FFF2-40B4-BE49-F238E27FC236}">
                <a16:creationId xmlns:a16="http://schemas.microsoft.com/office/drawing/2014/main" id="{E5ED4F3F-5111-49BE-BAA4-4C303BD73FCA}"/>
              </a:ext>
            </a:extLst>
          </p:cNvPr>
          <p:cNvSpPr>
            <a:spLocks noGrp="1"/>
          </p:cNvSpPr>
          <p:nvPr>
            <p:ph type="ftr" sz="quarter" idx="3"/>
          </p:nvPr>
        </p:nvSpPr>
        <p:spPr/>
        <p:txBody>
          <a:bodyPr wrap="square" anchor="ctr">
            <a:normAutofit/>
          </a:bodyPr>
          <a:lstStyle/>
          <a:p>
            <a:pPr>
              <a:spcAft>
                <a:spcPts val="600"/>
              </a:spcAft>
            </a:pPr>
            <a:r>
              <a:rPr lang="en-US" dirty="0"/>
              <a:t>Confidential Property of Schneider Electric |</a:t>
            </a:r>
          </a:p>
        </p:txBody>
      </p:sp>
    </p:spTree>
    <p:extLst>
      <p:ext uri="{BB962C8B-B14F-4D97-AF65-F5344CB8AC3E}">
        <p14:creationId xmlns:p14="http://schemas.microsoft.com/office/powerpoint/2010/main" val="17242432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A520BBA-9D4A-4EA2-A7BA-451851A1AE9A}"/>
              </a:ext>
            </a:extLst>
          </p:cNvPr>
          <p:cNvSpPr>
            <a:spLocks noGrp="1"/>
          </p:cNvSpPr>
          <p:nvPr>
            <p:ph type="sldNum" sz="quarter" idx="4"/>
          </p:nvPr>
        </p:nvSpPr>
        <p:spPr>
          <a:xfrm>
            <a:off x="1747891" y="4857156"/>
            <a:ext cx="525690" cy="92333"/>
          </a:xfrm>
        </p:spPr>
        <p:txBody>
          <a:bodyPr anchor="ctr">
            <a:normAutofit/>
          </a:bodyPr>
          <a:lstStyle/>
          <a:p>
            <a:pPr>
              <a:spcAft>
                <a:spcPts val="600"/>
              </a:spcAft>
            </a:pPr>
            <a:r>
              <a:rPr lang="en-US" dirty="0"/>
              <a:t>Page </a:t>
            </a:r>
            <a:fld id="{5A9C12DC-491F-9444-86A2-13AC5C62A2FC}" type="slidenum">
              <a:rPr lang="en-US" smtClean="0"/>
              <a:pPr>
                <a:spcAft>
                  <a:spcPts val="600"/>
                </a:spcAft>
              </a:pPr>
              <a:t>29</a:t>
            </a:fld>
            <a:endParaRPr lang="en-US" dirty="0"/>
          </a:p>
        </p:txBody>
      </p:sp>
      <p:sp>
        <p:nvSpPr>
          <p:cNvPr id="5" name="Footer Placeholder 4">
            <a:extLst>
              <a:ext uri="{FF2B5EF4-FFF2-40B4-BE49-F238E27FC236}">
                <a16:creationId xmlns:a16="http://schemas.microsoft.com/office/drawing/2014/main" id="{60CB07F2-3583-4933-9BDD-5543EFCAE5E1}"/>
              </a:ext>
            </a:extLst>
          </p:cNvPr>
          <p:cNvSpPr>
            <a:spLocks noGrp="1"/>
          </p:cNvSpPr>
          <p:nvPr>
            <p:ph type="ftr" sz="quarter" idx="3"/>
          </p:nvPr>
        </p:nvSpPr>
        <p:spPr>
          <a:xfrm>
            <a:off x="252414" y="4857156"/>
            <a:ext cx="1509767" cy="92333"/>
          </a:xfrm>
        </p:spPr>
        <p:txBody>
          <a:bodyPr wrap="square" anchor="ctr">
            <a:normAutofit/>
          </a:bodyPr>
          <a:lstStyle/>
          <a:p>
            <a:pPr>
              <a:spcAft>
                <a:spcPts val="600"/>
              </a:spcAft>
            </a:pPr>
            <a:r>
              <a:rPr lang="en-US" dirty="0"/>
              <a:t>Confidential Property of Schneider Electric |</a:t>
            </a:r>
          </a:p>
        </p:txBody>
      </p:sp>
      <p:sp>
        <p:nvSpPr>
          <p:cNvPr id="6" name="Text Placeholder 5">
            <a:extLst>
              <a:ext uri="{FF2B5EF4-FFF2-40B4-BE49-F238E27FC236}">
                <a16:creationId xmlns:a16="http://schemas.microsoft.com/office/drawing/2014/main" id="{69C7D7B5-8661-47A0-A743-BCAABCF76B52}"/>
              </a:ext>
            </a:extLst>
          </p:cNvPr>
          <p:cNvSpPr>
            <a:spLocks noGrp="1"/>
          </p:cNvSpPr>
          <p:nvPr>
            <p:ph type="body" sz="quarter" idx="32"/>
          </p:nvPr>
        </p:nvSpPr>
        <p:spPr>
          <a:xfrm>
            <a:off x="252414" y="230188"/>
            <a:ext cx="8647112" cy="369332"/>
          </a:xfrm>
        </p:spPr>
        <p:txBody>
          <a:bodyPr>
            <a:normAutofit/>
          </a:bodyPr>
          <a:lstStyle/>
          <a:p>
            <a:r>
              <a:rPr lang="en-AU" dirty="0"/>
              <a:t>References</a:t>
            </a:r>
          </a:p>
        </p:txBody>
      </p:sp>
      <p:sp>
        <p:nvSpPr>
          <p:cNvPr id="7" name="Text Placeholder 6">
            <a:extLst>
              <a:ext uri="{FF2B5EF4-FFF2-40B4-BE49-F238E27FC236}">
                <a16:creationId xmlns:a16="http://schemas.microsoft.com/office/drawing/2014/main" id="{BD8DB589-50B3-4B7C-9168-321E762BD188}"/>
              </a:ext>
            </a:extLst>
          </p:cNvPr>
          <p:cNvSpPr>
            <a:spLocks noGrp="1"/>
          </p:cNvSpPr>
          <p:nvPr>
            <p:ph type="body" sz="quarter" idx="33"/>
          </p:nvPr>
        </p:nvSpPr>
        <p:spPr>
          <a:xfrm>
            <a:off x="252414" y="683367"/>
            <a:ext cx="8647112" cy="253916"/>
          </a:xfrm>
        </p:spPr>
        <p:txBody>
          <a:bodyPr>
            <a:normAutofit/>
          </a:bodyPr>
          <a:lstStyle/>
          <a:p>
            <a:r>
              <a:rPr lang="en-AU" dirty="0"/>
              <a:t>To learn more about these graphs, visit the below links using your demo login:</a:t>
            </a:r>
          </a:p>
        </p:txBody>
      </p:sp>
      <p:graphicFrame>
        <p:nvGraphicFramePr>
          <p:cNvPr id="10" name="Content Placeholder 7">
            <a:extLst>
              <a:ext uri="{FF2B5EF4-FFF2-40B4-BE49-F238E27FC236}">
                <a16:creationId xmlns:a16="http://schemas.microsoft.com/office/drawing/2014/main" id="{4CA21321-6EA3-71B2-A4E7-6BBFD8D98442}"/>
              </a:ext>
            </a:extLst>
          </p:cNvPr>
          <p:cNvGraphicFramePr>
            <a:graphicFrameLocks noGrp="1"/>
          </p:cNvGraphicFramePr>
          <p:nvPr>
            <p:ph sz="quarter" idx="31"/>
            <p:extLst>
              <p:ext uri="{D42A27DB-BD31-4B8C-83A1-F6EECF244321}">
                <p14:modId xmlns:p14="http://schemas.microsoft.com/office/powerpoint/2010/main" val="263966996"/>
              </p:ext>
            </p:extLst>
          </p:nvPr>
        </p:nvGraphicFramePr>
        <p:xfrm>
          <a:off x="258055" y="1203325"/>
          <a:ext cx="8679570" cy="31765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513579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480985065_cb_cb2.jpg"/>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l="54" r="54"/>
          <a:stretch/>
        </p:blipFill>
        <p:spPr/>
      </p:pic>
      <p:sp>
        <p:nvSpPr>
          <p:cNvPr id="8" name="Title 2"/>
          <p:cNvSpPr>
            <a:spLocks noGrp="1"/>
          </p:cNvSpPr>
          <p:nvPr>
            <p:ph type="title"/>
          </p:nvPr>
        </p:nvSpPr>
        <p:spPr/>
        <p:txBody>
          <a:bodyPr>
            <a:noAutofit/>
          </a:bodyPr>
          <a:lstStyle/>
          <a:p>
            <a:r>
              <a:rPr lang="en-US" dirty="0" err="1"/>
              <a:t>EcoStruxure</a:t>
            </a:r>
            <a:r>
              <a:rPr lang="en-US" dirty="0"/>
              <a:t> Transformer Expert</a:t>
            </a:r>
          </a:p>
        </p:txBody>
      </p:sp>
      <p:sp>
        <p:nvSpPr>
          <p:cNvPr id="9" name="Text Placeholder 3"/>
          <p:cNvSpPr>
            <a:spLocks noGrp="1"/>
          </p:cNvSpPr>
          <p:nvPr>
            <p:ph type="body" sz="quarter" idx="11"/>
          </p:nvPr>
        </p:nvSpPr>
        <p:spPr/>
        <p:txBody>
          <a:bodyPr>
            <a:noAutofit/>
          </a:bodyPr>
          <a:lstStyle/>
          <a:p>
            <a:r>
              <a:rPr lang="en-US" dirty="0"/>
              <a:t> ETE Oil Analysis &amp; ETE Cross Correlation Model</a:t>
            </a:r>
          </a:p>
        </p:txBody>
      </p:sp>
      <p:sp>
        <p:nvSpPr>
          <p:cNvPr id="5" name="Slide Number Placeholder 4"/>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FFFFFF"/>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dirty="0">
              <a:ln>
                <a:noFill/>
              </a:ln>
              <a:solidFill>
                <a:srgbClr val="FFFFFF"/>
              </a:solidFill>
              <a:effectLst/>
              <a:uLnTx/>
              <a:uFillTx/>
              <a:latin typeface="Arial"/>
              <a:ea typeface="+mn-ea"/>
              <a:cs typeface="Arial"/>
            </a:endParaRPr>
          </a:p>
        </p:txBody>
      </p:sp>
      <p:sp>
        <p:nvSpPr>
          <p:cNvPr id="6" name="Footer Placeholder 5"/>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a:ea typeface="+mn-ea"/>
                <a:cs typeface="Arial"/>
              </a:rPr>
              <a:t>Confidential Property of Schneider Electric |</a:t>
            </a:r>
            <a:endParaRPr kumimoji="0" lang="en-US" sz="600" b="0" i="0" u="none" strike="noStrike" kern="1200" cap="none" spc="0" normalizeH="0" baseline="0" noProof="0" dirty="0">
              <a:ln>
                <a:noFill/>
              </a:ln>
              <a:solidFill>
                <a:srgbClr val="FFFFFF"/>
              </a:solidFill>
              <a:effectLst/>
              <a:uLnTx/>
              <a:uFillTx/>
              <a:latin typeface="Arial"/>
              <a:ea typeface="+mn-ea"/>
              <a:cs typeface="Arial"/>
            </a:endParaRPr>
          </a:p>
        </p:txBody>
      </p:sp>
      <p:pic>
        <p:nvPicPr>
          <p:cNvPr id="10" name="Picture 9" descr="schneider_LIO_White_RGB.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Tree>
    <p:extLst>
      <p:ext uri="{BB962C8B-B14F-4D97-AF65-F5344CB8AC3E}">
        <p14:creationId xmlns:p14="http://schemas.microsoft.com/office/powerpoint/2010/main" val="7429970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71802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BDFAD7C3-5DC3-4320-8C9E-679CB40D0D0D}"/>
              </a:ext>
            </a:extLst>
          </p:cNvPr>
          <p:cNvSpPr/>
          <p:nvPr/>
        </p:nvSpPr>
        <p:spPr>
          <a:xfrm>
            <a:off x="266700" y="1488737"/>
            <a:ext cx="8610600" cy="1524000"/>
          </a:xfrm>
          <a:prstGeom prst="roundRect">
            <a:avLst>
              <a:gd name="adj" fmla="val 9167"/>
            </a:avLst>
          </a:prstGeom>
          <a:solidFill>
            <a:schemeClr val="accent2">
              <a:lumMod val="60000"/>
              <a:lumOff val="4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zh-HK" altLang="en-US" sz="1800" b="0" i="0" u="none" strike="noStrike" kern="1200" cap="none" spc="0" normalizeH="0" baseline="0" noProof="0">
              <a:ln>
                <a:noFill/>
              </a:ln>
              <a:solidFill>
                <a:prstClr val="white"/>
              </a:solidFill>
              <a:effectLst/>
              <a:uLnTx/>
              <a:uFillTx/>
              <a:latin typeface="Arial"/>
              <a:ea typeface="微軟正黑體" panose="020B0604030504040204" pitchFamily="34" charset="-120"/>
              <a:cs typeface="+mn-cs"/>
            </a:endParaRPr>
          </a:p>
        </p:txBody>
      </p:sp>
      <p:sp>
        <p:nvSpPr>
          <p:cNvPr id="15" name="Content Placeholder 14">
            <a:extLst>
              <a:ext uri="{FF2B5EF4-FFF2-40B4-BE49-F238E27FC236}">
                <a16:creationId xmlns:a16="http://schemas.microsoft.com/office/drawing/2014/main" id="{F0069AE5-4215-304E-973D-2C78261B2F28}"/>
              </a:ext>
            </a:extLst>
          </p:cNvPr>
          <p:cNvSpPr>
            <a:spLocks noGrp="1"/>
          </p:cNvSpPr>
          <p:nvPr>
            <p:ph sz="quarter" idx="32"/>
          </p:nvPr>
        </p:nvSpPr>
        <p:spPr>
          <a:xfrm>
            <a:off x="252415" y="3145241"/>
            <a:ext cx="2388617" cy="756760"/>
          </a:xfrm>
        </p:spPr>
        <p:txBody>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kumimoji="0" lang="en-US" altLang="zh-HK" sz="1500" b="0" i="0" u="none" strike="noStrike" kern="1200" cap="none" spc="0" normalizeH="0" baseline="0" noProof="0" dirty="0">
                <a:ln>
                  <a:noFill/>
                </a:ln>
                <a:solidFill>
                  <a:srgbClr val="626469"/>
                </a:solidFill>
                <a:effectLst/>
                <a:uLnTx/>
                <a:uFillTx/>
                <a:latin typeface="Arial" panose="020B0604020202020204" pitchFamily="34" charset="0"/>
                <a:ea typeface="微軟正黑體" panose="020B0604030504040204" pitchFamily="34" charset="-120"/>
                <a:cs typeface="Arial" panose="020B0604020202020204" pitchFamily="34" charset="0"/>
              </a:rPr>
              <a:t>Continue to perform </a:t>
            </a:r>
            <a:r>
              <a:rPr kumimoji="0" lang="en-US" altLang="zh-HK" sz="1500" b="1" i="0" u="none" strike="noStrike" kern="1200" cap="none" spc="0" normalizeH="0" baseline="0" noProof="0" dirty="0">
                <a:ln>
                  <a:noFill/>
                </a:ln>
                <a:solidFill>
                  <a:srgbClr val="626469"/>
                </a:solidFill>
                <a:effectLst/>
                <a:uLnTx/>
                <a:uFillTx/>
                <a:latin typeface="Arial" panose="020B0604020202020204" pitchFamily="34" charset="0"/>
                <a:ea typeface="微軟正黑體" panose="020B0604030504040204" pitchFamily="34" charset="-120"/>
                <a:cs typeface="Arial" panose="020B0604020202020204" pitchFamily="34" charset="0"/>
              </a:rPr>
              <a:t>oil sampling </a:t>
            </a:r>
            <a:r>
              <a:rPr kumimoji="0" lang="en-US" altLang="zh-HK" sz="1500" b="0" i="0" u="none" strike="noStrike" kern="1200" cap="none" spc="0" normalizeH="0" baseline="0" noProof="0" dirty="0">
                <a:ln>
                  <a:noFill/>
                </a:ln>
                <a:solidFill>
                  <a:srgbClr val="626469"/>
                </a:solidFill>
                <a:effectLst/>
                <a:uLnTx/>
                <a:uFillTx/>
                <a:latin typeface="Arial" panose="020B0604020202020204" pitchFamily="34" charset="0"/>
                <a:ea typeface="微軟正黑體" panose="020B0604030504040204" pitchFamily="34" charset="-120"/>
                <a:cs typeface="Arial" panose="020B0604020202020204" pitchFamily="34" charset="0"/>
              </a:rPr>
              <a:t>and testing.</a:t>
            </a:r>
            <a:endParaRPr kumimoji="0" lang="zh-HK" altLang="en-US" sz="1500" b="0" i="0" u="none" strike="noStrike" kern="1200" cap="none" spc="0" normalizeH="0" baseline="0" noProof="0" dirty="0">
              <a:ln>
                <a:noFill/>
              </a:ln>
              <a:solidFill>
                <a:srgbClr val="626469"/>
              </a:solidFill>
              <a:effectLst/>
              <a:uLnTx/>
              <a:uFillTx/>
              <a:latin typeface="Arial" panose="020B0604020202020204" pitchFamily="34" charset="0"/>
              <a:ea typeface="微軟正黑體" panose="020B0604030504040204" pitchFamily="34" charset="-120"/>
              <a:cs typeface="Arial" panose="020B0604020202020204" pitchFamily="34" charset="0"/>
            </a:endParaRPr>
          </a:p>
        </p:txBody>
      </p:sp>
      <p:sp>
        <p:nvSpPr>
          <p:cNvPr id="16" name="Content Placeholder 15">
            <a:extLst>
              <a:ext uri="{FF2B5EF4-FFF2-40B4-BE49-F238E27FC236}">
                <a16:creationId xmlns:a16="http://schemas.microsoft.com/office/drawing/2014/main" id="{4914350E-A3F7-5644-97D4-C8693A5DE136}"/>
              </a:ext>
            </a:extLst>
          </p:cNvPr>
          <p:cNvSpPr>
            <a:spLocks noGrp="1"/>
          </p:cNvSpPr>
          <p:nvPr>
            <p:ph sz="quarter" idx="33"/>
          </p:nvPr>
        </p:nvSpPr>
        <p:spPr>
          <a:xfrm>
            <a:off x="3058000" y="3145239"/>
            <a:ext cx="2717870" cy="757565"/>
          </a:xfrm>
        </p:spPr>
        <p:txBody>
          <a:bodyPr/>
          <a:lstStyle/>
          <a:p>
            <a:pPr marL="4763" indent="0" algn="ctr"/>
            <a:r>
              <a:rPr lang="en-US" dirty="0"/>
              <a:t>Install innovative sensors to record data online.</a:t>
            </a:r>
          </a:p>
        </p:txBody>
      </p:sp>
      <p:sp>
        <p:nvSpPr>
          <p:cNvPr id="17" name="Content Placeholder 16">
            <a:extLst>
              <a:ext uri="{FF2B5EF4-FFF2-40B4-BE49-F238E27FC236}">
                <a16:creationId xmlns:a16="http://schemas.microsoft.com/office/drawing/2014/main" id="{7DAB0573-2D22-DC4B-8565-AA14DE1E2944}"/>
              </a:ext>
            </a:extLst>
          </p:cNvPr>
          <p:cNvSpPr>
            <a:spLocks noGrp="1"/>
          </p:cNvSpPr>
          <p:nvPr>
            <p:ph sz="quarter" idx="34"/>
          </p:nvPr>
        </p:nvSpPr>
        <p:spPr>
          <a:xfrm>
            <a:off x="6192839" y="3145239"/>
            <a:ext cx="2744787" cy="757565"/>
          </a:xfrm>
        </p:spPr>
        <p:txBody>
          <a:bodyPr/>
          <a:lstStyle/>
          <a:p>
            <a:pPr marL="4763" indent="0" algn="ctr"/>
            <a:r>
              <a:rPr lang="en-US" altLang="zh-HK" dirty="0"/>
              <a:t>ETE analyses and correlates data in a single view to anticipate irreversible trends.</a:t>
            </a:r>
          </a:p>
          <a:p>
            <a:pPr marL="4763" indent="0" algn="ctr"/>
            <a:r>
              <a:rPr lang="en-US" dirty="0"/>
              <a:t> </a:t>
            </a:r>
          </a:p>
          <a:p>
            <a:pPr marL="4763" indent="0" algn="ctr"/>
            <a:endParaRPr lang="en-US" dirty="0"/>
          </a:p>
          <a:p>
            <a:pPr marL="4763" indent="0" algn="ctr"/>
            <a:endParaRPr lang="en-US" dirty="0"/>
          </a:p>
        </p:txBody>
      </p:sp>
      <p:sp>
        <p:nvSpPr>
          <p:cNvPr id="18" name="Text Placeholder 17">
            <a:extLst>
              <a:ext uri="{FF2B5EF4-FFF2-40B4-BE49-F238E27FC236}">
                <a16:creationId xmlns:a16="http://schemas.microsoft.com/office/drawing/2014/main" id="{1CA1E526-EBD6-F34A-9806-1A52C74EA334}"/>
              </a:ext>
            </a:extLst>
          </p:cNvPr>
          <p:cNvSpPr>
            <a:spLocks noGrp="1"/>
          </p:cNvSpPr>
          <p:nvPr>
            <p:ph type="body" sz="quarter" idx="35"/>
          </p:nvPr>
        </p:nvSpPr>
        <p:spPr/>
        <p:txBody>
          <a:bodyPr/>
          <a:lstStyle/>
          <a:p>
            <a:r>
              <a:rPr lang="en-US"/>
              <a:t>Schneider Electric: EcoStruxure Transformer Expert</a:t>
            </a:r>
          </a:p>
        </p:txBody>
      </p:sp>
      <p:sp>
        <p:nvSpPr>
          <p:cNvPr id="19" name="Text Placeholder 18">
            <a:extLst>
              <a:ext uri="{FF2B5EF4-FFF2-40B4-BE49-F238E27FC236}">
                <a16:creationId xmlns:a16="http://schemas.microsoft.com/office/drawing/2014/main" id="{0CA295F5-460E-944C-BBEC-D7A7DFB237B9}"/>
              </a:ext>
            </a:extLst>
          </p:cNvPr>
          <p:cNvSpPr>
            <a:spLocks noGrp="1"/>
          </p:cNvSpPr>
          <p:nvPr>
            <p:ph type="body" sz="quarter" idx="36"/>
          </p:nvPr>
        </p:nvSpPr>
        <p:spPr/>
        <p:txBody>
          <a:bodyPr/>
          <a:lstStyle/>
          <a:p>
            <a:r>
              <a:rPr lang="en-US" dirty="0"/>
              <a:t>How to monitor your transformers risks</a:t>
            </a:r>
          </a:p>
        </p:txBody>
      </p:sp>
      <p:sp>
        <p:nvSpPr>
          <p:cNvPr id="29" name="Plus Sign 5">
            <a:extLst>
              <a:ext uri="{FF2B5EF4-FFF2-40B4-BE49-F238E27FC236}">
                <a16:creationId xmlns:a16="http://schemas.microsoft.com/office/drawing/2014/main" id="{78AF42FF-FE87-4FC2-9659-43D05DA07F41}"/>
              </a:ext>
            </a:extLst>
          </p:cNvPr>
          <p:cNvSpPr/>
          <p:nvPr/>
        </p:nvSpPr>
        <p:spPr>
          <a:xfrm>
            <a:off x="2586974" y="2034639"/>
            <a:ext cx="475059" cy="432197"/>
          </a:xfrm>
          <a:prstGeom prst="mathPlus">
            <a:avLst/>
          </a:prstGeom>
          <a:solidFill>
            <a:srgbClr val="36C746"/>
          </a:solidFill>
          <a:ln w="0" cap="flat" cmpd="thickThin" algn="ctr">
            <a:noFill/>
            <a:prstDash val="solid"/>
            <a:miter lim="800000"/>
          </a:ln>
          <a:effectLst/>
        </p:spPr>
        <p:txBody>
          <a:bodyPr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fr-FR" sz="135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30" name="Group 442">
            <a:extLst>
              <a:ext uri="{FF2B5EF4-FFF2-40B4-BE49-F238E27FC236}">
                <a16:creationId xmlns:a16="http://schemas.microsoft.com/office/drawing/2014/main" id="{054B6176-55B2-4689-9AA7-2A1AB6CB59BA}"/>
              </a:ext>
            </a:extLst>
          </p:cNvPr>
          <p:cNvGrpSpPr>
            <a:grpSpLocks/>
          </p:cNvGrpSpPr>
          <p:nvPr/>
        </p:nvGrpSpPr>
        <p:grpSpPr bwMode="auto">
          <a:xfrm>
            <a:off x="6920799" y="1846520"/>
            <a:ext cx="1318022" cy="808435"/>
            <a:chOff x="0" y="0"/>
            <a:chExt cx="4800634" cy="2889049"/>
          </a:xfrm>
        </p:grpSpPr>
        <p:sp>
          <p:nvSpPr>
            <p:cNvPr id="34" name="Shape 438">
              <a:extLst>
                <a:ext uri="{FF2B5EF4-FFF2-40B4-BE49-F238E27FC236}">
                  <a16:creationId xmlns:a16="http://schemas.microsoft.com/office/drawing/2014/main" id="{6662DD91-AA00-4E63-8031-A875561250F4}"/>
                </a:ext>
              </a:extLst>
            </p:cNvPr>
            <p:cNvSpPr/>
            <p:nvPr/>
          </p:nvSpPr>
          <p:spPr>
            <a:xfrm>
              <a:off x="0" y="0"/>
              <a:ext cx="4800634" cy="2476327"/>
            </a:xfrm>
            <a:prstGeom prst="roundRect">
              <a:avLst>
                <a:gd name="adj" fmla="val 10273"/>
              </a:avLst>
            </a:prstGeom>
            <a:solidFill>
              <a:srgbClr val="5B5854"/>
            </a:solidFill>
            <a:ln w="12700" cap="flat">
              <a:noFill/>
              <a:miter lim="400000"/>
            </a:ln>
            <a:effectLst/>
          </p:spPr>
          <p:txBody>
            <a:bodyPr lIns="38100" tIns="38100" rIns="38100" bIns="38100" anchor="ctr"/>
            <a:lstStyle/>
            <a:p>
              <a:pPr marL="0" marR="0" lvl="0" indent="0" algn="l" defTabSz="457184" rtl="0" eaLnBrk="1" fontAlgn="auto" latinLnBrk="0" hangingPunct="1">
                <a:lnSpc>
                  <a:spcPct val="100000"/>
                </a:lnSpc>
                <a:spcBef>
                  <a:spcPts val="0"/>
                </a:spcBef>
                <a:spcAft>
                  <a:spcPts val="0"/>
                </a:spcAft>
                <a:buClrTx/>
                <a:buSzTx/>
                <a:buFontTx/>
                <a:buNone/>
                <a:tabLst/>
                <a:defRPr sz="1600" cap="all" spc="32">
                  <a:solidFill>
                    <a:srgbClr val="FFFFFF"/>
                  </a:solidFill>
                  <a:latin typeface="+mn-lt"/>
                  <a:ea typeface="+mn-ea"/>
                  <a:cs typeface="+mn-cs"/>
                  <a:sym typeface="Futura"/>
                </a:defRPr>
              </a:pPr>
              <a:endParaRPr kumimoji="0" sz="1200" u="none" strike="noStrike" kern="1200" cap="all" spc="24"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Futura"/>
              </a:endParaRPr>
            </a:p>
          </p:txBody>
        </p:sp>
        <p:pic>
          <p:nvPicPr>
            <p:cNvPr id="35" name="pasted-image.png">
              <a:extLst>
                <a:ext uri="{FF2B5EF4-FFF2-40B4-BE49-F238E27FC236}">
                  <a16:creationId xmlns:a16="http://schemas.microsoft.com/office/drawing/2014/main" id="{5232495F-8B8D-43E6-A8A2-926D08AFF42F}"/>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l="11919" t="26762" r="11919" b="14346"/>
            <a:stretch>
              <a:fillRect/>
            </a:stretch>
          </p:blipFill>
          <p:spPr bwMode="auto">
            <a:xfrm>
              <a:off x="161080" y="159541"/>
              <a:ext cx="4478482" cy="2155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36" name="Shape 440">
              <a:extLst>
                <a:ext uri="{FF2B5EF4-FFF2-40B4-BE49-F238E27FC236}">
                  <a16:creationId xmlns:a16="http://schemas.microsoft.com/office/drawing/2014/main" id="{AB915B93-B40F-438C-9AB2-40CF30D15453}"/>
                </a:ext>
              </a:extLst>
            </p:cNvPr>
            <p:cNvSpPr/>
            <p:nvPr/>
          </p:nvSpPr>
          <p:spPr>
            <a:xfrm>
              <a:off x="0" y="2638011"/>
              <a:ext cx="4800634" cy="251038"/>
            </a:xfrm>
            <a:prstGeom prst="roundRect">
              <a:avLst>
                <a:gd name="adj" fmla="val 50000"/>
              </a:avLst>
            </a:prstGeom>
            <a:solidFill>
              <a:srgbClr val="5B5854"/>
            </a:solidFill>
            <a:ln w="12700" cap="flat">
              <a:noFill/>
              <a:miter lim="400000"/>
            </a:ln>
            <a:effectLst/>
          </p:spPr>
          <p:txBody>
            <a:bodyPr lIns="38100" tIns="38100" rIns="38100" bIns="38100" anchor="ctr"/>
            <a:lstStyle/>
            <a:p>
              <a:pPr marL="0" marR="0" lvl="0" indent="0" algn="l" defTabSz="457184" rtl="0" eaLnBrk="1" fontAlgn="auto" latinLnBrk="0" hangingPunct="1">
                <a:lnSpc>
                  <a:spcPct val="100000"/>
                </a:lnSpc>
                <a:spcBef>
                  <a:spcPts val="0"/>
                </a:spcBef>
                <a:spcAft>
                  <a:spcPts val="0"/>
                </a:spcAft>
                <a:buClrTx/>
                <a:buSzTx/>
                <a:buFontTx/>
                <a:buNone/>
                <a:tabLst/>
                <a:defRPr sz="1600" cap="all" spc="32">
                  <a:solidFill>
                    <a:srgbClr val="FFFFFF"/>
                  </a:solidFill>
                  <a:latin typeface="+mn-lt"/>
                  <a:ea typeface="+mn-ea"/>
                  <a:cs typeface="+mn-cs"/>
                  <a:sym typeface="Futura"/>
                </a:defRPr>
              </a:pPr>
              <a:endParaRPr kumimoji="0" sz="1200" u="none" strike="noStrike" kern="1200" cap="all" spc="24"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Futura"/>
              </a:endParaRPr>
            </a:p>
          </p:txBody>
        </p:sp>
        <p:sp>
          <p:nvSpPr>
            <p:cNvPr id="37" name="Shape 441">
              <a:extLst>
                <a:ext uri="{FF2B5EF4-FFF2-40B4-BE49-F238E27FC236}">
                  <a16:creationId xmlns:a16="http://schemas.microsoft.com/office/drawing/2014/main" id="{6C33E0EE-7946-409B-B391-AB5D2A89C10F}"/>
                </a:ext>
              </a:extLst>
            </p:cNvPr>
            <p:cNvSpPr/>
            <p:nvPr/>
          </p:nvSpPr>
          <p:spPr>
            <a:xfrm>
              <a:off x="1968823" y="2484836"/>
              <a:ext cx="862988" cy="251038"/>
            </a:xfrm>
            <a:prstGeom prst="roundRect">
              <a:avLst>
                <a:gd name="adj" fmla="val 50000"/>
              </a:avLst>
            </a:prstGeom>
            <a:solidFill>
              <a:srgbClr val="FFFFFF"/>
            </a:solidFill>
            <a:ln w="12700" cap="flat">
              <a:noFill/>
              <a:miter lim="400000"/>
            </a:ln>
            <a:effectLst/>
          </p:spPr>
          <p:txBody>
            <a:bodyPr lIns="38100" tIns="38100" rIns="38100" bIns="38100" anchor="ctr"/>
            <a:lstStyle/>
            <a:p>
              <a:pPr marL="0" marR="0" lvl="0" indent="0" algn="l" defTabSz="457184" rtl="0" eaLnBrk="1" fontAlgn="auto" latinLnBrk="0" hangingPunct="1">
                <a:lnSpc>
                  <a:spcPct val="100000"/>
                </a:lnSpc>
                <a:spcBef>
                  <a:spcPts val="0"/>
                </a:spcBef>
                <a:spcAft>
                  <a:spcPts val="0"/>
                </a:spcAft>
                <a:buClrTx/>
                <a:buSzTx/>
                <a:buFontTx/>
                <a:buNone/>
                <a:tabLst/>
                <a:defRPr sz="1600" cap="all" spc="32">
                  <a:solidFill>
                    <a:srgbClr val="FFFFFF"/>
                  </a:solidFill>
                  <a:latin typeface="+mn-lt"/>
                  <a:ea typeface="+mn-ea"/>
                  <a:cs typeface="+mn-cs"/>
                  <a:sym typeface="Futura"/>
                </a:defRPr>
              </a:pPr>
              <a:endParaRPr kumimoji="0" sz="1200" u="none" strike="noStrike" kern="1200" cap="all" spc="24"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Futura"/>
              </a:endParaRPr>
            </a:p>
          </p:txBody>
        </p:sp>
      </p:grpSp>
      <p:pic>
        <p:nvPicPr>
          <p:cNvPr id="38" name="Graphique 2" descr="Fiole">
            <a:extLst>
              <a:ext uri="{FF2B5EF4-FFF2-40B4-BE49-F238E27FC236}">
                <a16:creationId xmlns:a16="http://schemas.microsoft.com/office/drawing/2014/main" id="{F2049DBC-64D3-4F76-8295-432528D981AA}"/>
              </a:ext>
            </a:extLst>
          </p:cNvPr>
          <p:cNvPicPr>
            <a:picLocks noChangeAspect="1"/>
          </p:cNvPicPr>
          <p:nvPr/>
        </p:nvPicPr>
        <p:blipFill>
          <a:blip r:embed="rId3">
            <a:biLevel thresh="50000"/>
          </a:blip>
          <a:stretch>
            <a:fillRect/>
          </a:stretch>
        </p:blipFill>
        <p:spPr>
          <a:xfrm>
            <a:off x="903019" y="1673880"/>
            <a:ext cx="1152525" cy="1153715"/>
          </a:xfrm>
          <a:prstGeom prst="rect">
            <a:avLst/>
          </a:prstGeom>
        </p:spPr>
      </p:pic>
      <p:sp>
        <p:nvSpPr>
          <p:cNvPr id="40" name="Plus Sign 5">
            <a:extLst>
              <a:ext uri="{FF2B5EF4-FFF2-40B4-BE49-F238E27FC236}">
                <a16:creationId xmlns:a16="http://schemas.microsoft.com/office/drawing/2014/main" id="{9B42C829-8A6F-420E-93E3-75057ACA5122}"/>
              </a:ext>
            </a:extLst>
          </p:cNvPr>
          <p:cNvSpPr/>
          <p:nvPr/>
        </p:nvSpPr>
        <p:spPr>
          <a:xfrm>
            <a:off x="5914309" y="2017330"/>
            <a:ext cx="475060" cy="466814"/>
          </a:xfrm>
          <a:prstGeom prst="mathPlus">
            <a:avLst/>
          </a:prstGeom>
          <a:solidFill>
            <a:srgbClr val="36C746"/>
          </a:solidFill>
          <a:ln w="0" cap="flat" cmpd="thickThin" algn="ctr">
            <a:noFill/>
            <a:prstDash val="solid"/>
            <a:miter lim="800000"/>
          </a:ln>
          <a:effectLst/>
        </p:spPr>
        <p:txBody>
          <a:bodyPr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fr-FR" sz="135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 name="Slide Number Placeholder 7">
            <a:extLst>
              <a:ext uri="{FF2B5EF4-FFF2-40B4-BE49-F238E27FC236}">
                <a16:creationId xmlns:a16="http://schemas.microsoft.com/office/drawing/2014/main" id="{C91613F1-2F28-6A4B-B4A5-76F60E60EE1A}"/>
              </a:ext>
            </a:extLst>
          </p:cNvPr>
          <p:cNvSpPr>
            <a:spLocks noGrp="1"/>
          </p:cNvSpPr>
          <p:nvPr>
            <p:ph type="sldNum" sz="quarter" idx="4"/>
          </p:nvPr>
        </p:nvSpPr>
        <p:spPr>
          <a:xfrm>
            <a:off x="1747891" y="4857156"/>
            <a:ext cx="525690" cy="92333"/>
          </a:xfrm>
        </p:spPr>
        <p:txBody>
          <a:bodyPr/>
          <a:lstStyle/>
          <a:p>
            <a:r>
              <a:rPr lang="en-US"/>
              <a:t>Page </a:t>
            </a:r>
            <a:fld id="{5A9C12DC-491F-9444-86A2-13AC5C62A2FC}" type="slidenum">
              <a:rPr lang="en-US" smtClean="0"/>
              <a:pPr/>
              <a:t>4</a:t>
            </a:fld>
            <a:endParaRPr lang="en-US"/>
          </a:p>
        </p:txBody>
      </p:sp>
      <p:sp>
        <p:nvSpPr>
          <p:cNvPr id="33" name="Footer Placeholder 8">
            <a:extLst>
              <a:ext uri="{FF2B5EF4-FFF2-40B4-BE49-F238E27FC236}">
                <a16:creationId xmlns:a16="http://schemas.microsoft.com/office/drawing/2014/main" id="{A1D8814B-65C4-D34E-AE41-EB48BC67D321}"/>
              </a:ext>
            </a:extLst>
          </p:cNvPr>
          <p:cNvSpPr>
            <a:spLocks noGrp="1"/>
          </p:cNvSpPr>
          <p:nvPr>
            <p:ph type="ftr" sz="quarter" idx="3"/>
          </p:nvPr>
        </p:nvSpPr>
        <p:spPr>
          <a:xfrm>
            <a:off x="252414" y="4857156"/>
            <a:ext cx="1509767" cy="92333"/>
          </a:xfrm>
        </p:spPr>
        <p:txBody>
          <a:bodyPr/>
          <a:lstStyle/>
          <a:p>
            <a:r>
              <a:rPr lang="en-US"/>
              <a:t>Confidential Property of Schneider Electric |</a:t>
            </a:r>
          </a:p>
        </p:txBody>
      </p:sp>
      <p:pic>
        <p:nvPicPr>
          <p:cNvPr id="20" name="healthsense_detoure.png">
            <a:extLst>
              <a:ext uri="{FF2B5EF4-FFF2-40B4-BE49-F238E27FC236}">
                <a16:creationId xmlns:a16="http://schemas.microsoft.com/office/drawing/2014/main" id="{5C8DF3C7-B0C4-3F4B-81B7-255A69D09AEC}"/>
              </a:ext>
            </a:extLst>
          </p:cNvPr>
          <p:cNvPicPr>
            <a:picLocks noChangeAspect="1"/>
          </p:cNvPicPr>
          <p:nvPr/>
        </p:nvPicPr>
        <p:blipFill rotWithShape="1">
          <a:blip r:embed="rId4"/>
          <a:srcRect l="1694" t="1184" r="47720" b="-1184"/>
          <a:stretch/>
        </p:blipFill>
        <p:spPr>
          <a:xfrm>
            <a:off x="3344870" y="1924919"/>
            <a:ext cx="2121552" cy="679222"/>
          </a:xfrm>
          <a:custGeom>
            <a:avLst/>
            <a:gdLst/>
            <a:ahLst/>
            <a:cxnLst>
              <a:cxn ang="0">
                <a:pos x="wd2" y="hd2"/>
              </a:cxn>
              <a:cxn ang="5400000">
                <a:pos x="wd2" y="hd2"/>
              </a:cxn>
              <a:cxn ang="10800000">
                <a:pos x="wd2" y="hd2"/>
              </a:cxn>
              <a:cxn ang="16200000">
                <a:pos x="wd2" y="hd2"/>
              </a:cxn>
            </a:cxnLst>
            <a:rect l="0" t="0" r="r" b="b"/>
            <a:pathLst>
              <a:path w="21348" h="21391" extrusionOk="0">
                <a:moveTo>
                  <a:pt x="11771" y="19"/>
                </a:moveTo>
                <a:cubicBezTo>
                  <a:pt x="11715" y="36"/>
                  <a:pt x="11658" y="116"/>
                  <a:pt x="11606" y="269"/>
                </a:cubicBezTo>
                <a:cubicBezTo>
                  <a:pt x="11514" y="544"/>
                  <a:pt x="11400" y="629"/>
                  <a:pt x="11353" y="460"/>
                </a:cubicBezTo>
                <a:cubicBezTo>
                  <a:pt x="11305" y="291"/>
                  <a:pt x="9422" y="98"/>
                  <a:pt x="7169" y="31"/>
                </a:cubicBezTo>
                <a:cubicBezTo>
                  <a:pt x="3872" y="-66"/>
                  <a:pt x="2862" y="50"/>
                  <a:pt x="2006" y="615"/>
                </a:cubicBezTo>
                <a:cubicBezTo>
                  <a:pt x="1421" y="1001"/>
                  <a:pt x="850" y="1497"/>
                  <a:pt x="738" y="1711"/>
                </a:cubicBezTo>
                <a:cubicBezTo>
                  <a:pt x="174" y="2785"/>
                  <a:pt x="-252" y="12993"/>
                  <a:pt x="171" y="15304"/>
                </a:cubicBezTo>
                <a:cubicBezTo>
                  <a:pt x="285" y="15924"/>
                  <a:pt x="379" y="16909"/>
                  <a:pt x="379" y="17496"/>
                </a:cubicBezTo>
                <a:cubicBezTo>
                  <a:pt x="379" y="19131"/>
                  <a:pt x="724" y="19891"/>
                  <a:pt x="1818" y="20629"/>
                </a:cubicBezTo>
                <a:cubicBezTo>
                  <a:pt x="2605" y="21160"/>
                  <a:pt x="3797" y="21285"/>
                  <a:pt x="7370" y="21249"/>
                </a:cubicBezTo>
                <a:cubicBezTo>
                  <a:pt x="9871" y="21223"/>
                  <a:pt x="11946" y="21039"/>
                  <a:pt x="11982" y="20832"/>
                </a:cubicBezTo>
                <a:cubicBezTo>
                  <a:pt x="12018" y="20624"/>
                  <a:pt x="12113" y="20643"/>
                  <a:pt x="12193" y="20867"/>
                </a:cubicBezTo>
                <a:cubicBezTo>
                  <a:pt x="12430" y="21534"/>
                  <a:pt x="13201" y="21311"/>
                  <a:pt x="13362" y="20534"/>
                </a:cubicBezTo>
                <a:cubicBezTo>
                  <a:pt x="13496" y="19890"/>
                  <a:pt x="13519" y="19896"/>
                  <a:pt x="13596" y="20605"/>
                </a:cubicBezTo>
                <a:cubicBezTo>
                  <a:pt x="13666" y="21253"/>
                  <a:pt x="13839" y="21392"/>
                  <a:pt x="14598" y="21392"/>
                </a:cubicBezTo>
                <a:cubicBezTo>
                  <a:pt x="15195" y="21392"/>
                  <a:pt x="15553" y="21196"/>
                  <a:pt x="15619" y="20832"/>
                </a:cubicBezTo>
                <a:cubicBezTo>
                  <a:pt x="15674" y="20524"/>
                  <a:pt x="15746" y="19058"/>
                  <a:pt x="15780" y="17579"/>
                </a:cubicBezTo>
                <a:cubicBezTo>
                  <a:pt x="15841" y="15014"/>
                  <a:pt x="15862" y="14884"/>
                  <a:pt x="16205" y="14744"/>
                </a:cubicBezTo>
                <a:cubicBezTo>
                  <a:pt x="16403" y="14663"/>
                  <a:pt x="16625" y="14824"/>
                  <a:pt x="16699" y="15090"/>
                </a:cubicBezTo>
                <a:cubicBezTo>
                  <a:pt x="16932" y="15922"/>
                  <a:pt x="17287" y="15614"/>
                  <a:pt x="17408" y="14482"/>
                </a:cubicBezTo>
                <a:cubicBezTo>
                  <a:pt x="17492" y="13692"/>
                  <a:pt x="17588" y="13466"/>
                  <a:pt x="17770" y="13636"/>
                </a:cubicBezTo>
                <a:cubicBezTo>
                  <a:pt x="17907" y="13765"/>
                  <a:pt x="18150" y="13542"/>
                  <a:pt x="18307" y="13148"/>
                </a:cubicBezTo>
                <a:cubicBezTo>
                  <a:pt x="18439" y="12817"/>
                  <a:pt x="19031" y="12637"/>
                  <a:pt x="21348" y="12540"/>
                </a:cubicBezTo>
                <a:lnTo>
                  <a:pt x="21348" y="8680"/>
                </a:lnTo>
                <a:cubicBezTo>
                  <a:pt x="19441" y="8607"/>
                  <a:pt x="18246" y="8518"/>
                  <a:pt x="18225" y="8394"/>
                </a:cubicBezTo>
                <a:cubicBezTo>
                  <a:pt x="18182" y="8148"/>
                  <a:pt x="18004" y="7954"/>
                  <a:pt x="17829" y="7954"/>
                </a:cubicBezTo>
                <a:cubicBezTo>
                  <a:pt x="17614" y="7954"/>
                  <a:pt x="17490" y="7656"/>
                  <a:pt x="17444" y="7024"/>
                </a:cubicBezTo>
                <a:cubicBezTo>
                  <a:pt x="17384" y="6201"/>
                  <a:pt x="17297" y="6109"/>
                  <a:pt x="16680" y="6238"/>
                </a:cubicBezTo>
                <a:cubicBezTo>
                  <a:pt x="15909" y="6399"/>
                  <a:pt x="15914" y="6409"/>
                  <a:pt x="15724" y="2068"/>
                </a:cubicBezTo>
                <a:lnTo>
                  <a:pt x="15652" y="448"/>
                </a:lnTo>
                <a:lnTo>
                  <a:pt x="14746" y="210"/>
                </a:lnTo>
                <a:cubicBezTo>
                  <a:pt x="14055" y="28"/>
                  <a:pt x="13793" y="126"/>
                  <a:pt x="13636" y="627"/>
                </a:cubicBezTo>
                <a:cubicBezTo>
                  <a:pt x="13515" y="1010"/>
                  <a:pt x="13395" y="1103"/>
                  <a:pt x="13352" y="853"/>
                </a:cubicBezTo>
                <a:cubicBezTo>
                  <a:pt x="13312" y="617"/>
                  <a:pt x="13011" y="466"/>
                  <a:pt x="12684" y="508"/>
                </a:cubicBezTo>
                <a:cubicBezTo>
                  <a:pt x="12356" y="550"/>
                  <a:pt x="12018" y="396"/>
                  <a:pt x="11932" y="174"/>
                </a:cubicBezTo>
                <a:cubicBezTo>
                  <a:pt x="11884" y="50"/>
                  <a:pt x="11827" y="3"/>
                  <a:pt x="11771" y="19"/>
                </a:cubicBezTo>
                <a:close/>
              </a:path>
            </a:pathLst>
          </a:custGeom>
          <a:ln w="12700">
            <a:miter lim="400000"/>
          </a:ln>
        </p:spPr>
      </p:pic>
    </p:spTree>
    <p:extLst>
      <p:ext uri="{BB962C8B-B14F-4D97-AF65-F5344CB8AC3E}">
        <p14:creationId xmlns:p14="http://schemas.microsoft.com/office/powerpoint/2010/main" val="932124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055D75F-6F09-432E-8B69-FDE950B55BB4}"/>
              </a:ext>
            </a:extLst>
          </p:cNvPr>
          <p:cNvSpPr>
            <a:spLocks noGrp="1"/>
          </p:cNvSpPr>
          <p:nvPr>
            <p:ph sz="quarter" idx="22"/>
          </p:nvPr>
        </p:nvSpPr>
        <p:spPr>
          <a:xfrm>
            <a:off x="247548" y="1209297"/>
            <a:ext cx="4172656" cy="3426711"/>
          </a:xfrm>
        </p:spPr>
        <p:txBody>
          <a:bodyPr/>
          <a:lstStyle/>
          <a:p>
            <a:r>
              <a:rPr lang="en-AU" sz="1400" b="1" dirty="0"/>
              <a:t>Objective</a:t>
            </a:r>
          </a:p>
          <a:p>
            <a:pPr marL="285750" indent="-285750">
              <a:buFont typeface="Arial" panose="020B0604020202020204" pitchFamily="34" charset="0"/>
              <a:buChar char="•"/>
            </a:pPr>
            <a:r>
              <a:rPr lang="en-AU" sz="1400" dirty="0"/>
              <a:t>A low cost central repository for oil test data</a:t>
            </a:r>
          </a:p>
          <a:p>
            <a:pPr marL="285750" indent="-285750">
              <a:buFont typeface="Arial" panose="020B0604020202020204" pitchFamily="34" charset="0"/>
              <a:buChar char="•"/>
            </a:pPr>
            <a:r>
              <a:rPr lang="en-AU" sz="1400" dirty="0"/>
              <a:t>Make use of all readily available data to drive better analysis of Tx status</a:t>
            </a:r>
          </a:p>
          <a:p>
            <a:pPr marL="285750" indent="-285750">
              <a:buFont typeface="Arial" panose="020B0604020202020204" pitchFamily="34" charset="0"/>
              <a:buChar char="•"/>
            </a:pPr>
            <a:r>
              <a:rPr lang="en-AU" sz="1400" dirty="0"/>
              <a:t>All data mapped against well accepted International standards </a:t>
            </a:r>
          </a:p>
          <a:p>
            <a:pPr marL="285750" indent="-285750">
              <a:buFont typeface="Arial" panose="020B0604020202020204" pitchFamily="34" charset="0"/>
              <a:buChar char="•"/>
            </a:pPr>
            <a:r>
              <a:rPr lang="en-AU" sz="1400" dirty="0"/>
              <a:t>Deliver a single site for oil test data collection </a:t>
            </a:r>
          </a:p>
          <a:p>
            <a:pPr marL="285750" indent="-285750">
              <a:buFont typeface="Arial" panose="020B0604020202020204" pitchFamily="34" charset="0"/>
              <a:buChar char="•"/>
            </a:pPr>
            <a:r>
              <a:rPr lang="en-AU" sz="1400" dirty="0"/>
              <a:t>Provides easy access to oil test data via unlimited cloud based access for corporate users</a:t>
            </a:r>
          </a:p>
          <a:p>
            <a:pPr marL="285750" indent="-285750">
              <a:buFont typeface="Arial" panose="020B0604020202020204" pitchFamily="34" charset="0"/>
              <a:buChar char="•"/>
            </a:pPr>
            <a:r>
              <a:rPr lang="en-AU" sz="1400" dirty="0"/>
              <a:t>Secure password protected data</a:t>
            </a:r>
          </a:p>
          <a:p>
            <a:pPr marL="285750" indent="-285750">
              <a:buFont typeface="Arial" panose="020B0604020202020204" pitchFamily="34" charset="0"/>
              <a:buChar char="•"/>
            </a:pPr>
            <a:r>
              <a:rPr lang="en-AU" sz="1400" dirty="0"/>
              <a:t>Easy &amp; automated upload process using oil test laboratory format (.csv file)</a:t>
            </a:r>
          </a:p>
          <a:p>
            <a:endParaRPr lang="en-AU" dirty="0"/>
          </a:p>
          <a:p>
            <a:endParaRPr lang="en-AU" dirty="0"/>
          </a:p>
          <a:p>
            <a:endParaRPr lang="en-AU" dirty="0"/>
          </a:p>
        </p:txBody>
      </p:sp>
      <p:sp>
        <p:nvSpPr>
          <p:cNvPr id="6" name="Slide Number Placeholder 5">
            <a:extLst>
              <a:ext uri="{FF2B5EF4-FFF2-40B4-BE49-F238E27FC236}">
                <a16:creationId xmlns:a16="http://schemas.microsoft.com/office/drawing/2014/main" id="{A42C4E81-BE05-4494-A417-BE9DA3C9D84E}"/>
              </a:ext>
            </a:extLst>
          </p:cNvPr>
          <p:cNvSpPr>
            <a:spLocks noGrp="1"/>
          </p:cNvSpPr>
          <p:nvPr>
            <p:ph type="sldNum" sz="quarter" idx="4"/>
          </p:nvPr>
        </p:nvSpPr>
        <p:spPr/>
        <p:txBody>
          <a:bodyPr/>
          <a:lstStyle/>
          <a:p>
            <a:r>
              <a:rPr lang="en-US"/>
              <a:t>Page </a:t>
            </a:r>
            <a:fld id="{5A9C12DC-491F-9444-86A2-13AC5C62A2FC}" type="slidenum">
              <a:rPr lang="en-US" smtClean="0"/>
              <a:pPr/>
              <a:t>5</a:t>
            </a:fld>
            <a:endParaRPr lang="en-US" dirty="0"/>
          </a:p>
        </p:txBody>
      </p:sp>
      <p:sp>
        <p:nvSpPr>
          <p:cNvPr id="7" name="Footer Placeholder 6">
            <a:extLst>
              <a:ext uri="{FF2B5EF4-FFF2-40B4-BE49-F238E27FC236}">
                <a16:creationId xmlns:a16="http://schemas.microsoft.com/office/drawing/2014/main" id="{C3DA1C05-B134-4F5B-A6B6-20A21949F70F}"/>
              </a:ext>
            </a:extLst>
          </p:cNvPr>
          <p:cNvSpPr>
            <a:spLocks noGrp="1"/>
          </p:cNvSpPr>
          <p:nvPr>
            <p:ph type="ftr" sz="quarter" idx="3"/>
          </p:nvPr>
        </p:nvSpPr>
        <p:spPr/>
        <p:txBody>
          <a:bodyPr/>
          <a:lstStyle/>
          <a:p>
            <a:r>
              <a:rPr lang="en-US"/>
              <a:t>Confidential Property of Schneider Electric |</a:t>
            </a:r>
            <a:endParaRPr lang="en-US" dirty="0"/>
          </a:p>
        </p:txBody>
      </p:sp>
      <p:sp>
        <p:nvSpPr>
          <p:cNvPr id="8" name="Text Placeholder 7">
            <a:extLst>
              <a:ext uri="{FF2B5EF4-FFF2-40B4-BE49-F238E27FC236}">
                <a16:creationId xmlns:a16="http://schemas.microsoft.com/office/drawing/2014/main" id="{0357ABC3-C827-4173-AC5F-F0422579BC52}"/>
              </a:ext>
            </a:extLst>
          </p:cNvPr>
          <p:cNvSpPr>
            <a:spLocks noGrp="1"/>
          </p:cNvSpPr>
          <p:nvPr>
            <p:ph type="body" sz="quarter" idx="32"/>
          </p:nvPr>
        </p:nvSpPr>
        <p:spPr/>
        <p:txBody>
          <a:bodyPr/>
          <a:lstStyle/>
          <a:p>
            <a:r>
              <a:rPr lang="en-AU" dirty="0"/>
              <a:t>ETE Oil Analysis &amp; Insight Interaction Architecture</a:t>
            </a:r>
          </a:p>
        </p:txBody>
      </p:sp>
      <p:sp>
        <p:nvSpPr>
          <p:cNvPr id="9" name="Text Placeholder 8">
            <a:extLst>
              <a:ext uri="{FF2B5EF4-FFF2-40B4-BE49-F238E27FC236}">
                <a16:creationId xmlns:a16="http://schemas.microsoft.com/office/drawing/2014/main" id="{3A99A317-ADFE-450E-A97E-AFD69B7C700D}"/>
              </a:ext>
            </a:extLst>
          </p:cNvPr>
          <p:cNvSpPr>
            <a:spLocks noGrp="1"/>
          </p:cNvSpPr>
          <p:nvPr>
            <p:ph type="body" sz="quarter" idx="33"/>
          </p:nvPr>
        </p:nvSpPr>
        <p:spPr/>
        <p:txBody>
          <a:bodyPr/>
          <a:lstStyle/>
          <a:p>
            <a:r>
              <a:rPr lang="en-AU" sz="1500" b="1" dirty="0"/>
              <a:t>An ETE software model that enhances the data platform available for ETE Insight analysis</a:t>
            </a:r>
          </a:p>
        </p:txBody>
      </p:sp>
      <p:pic>
        <p:nvPicPr>
          <p:cNvPr id="10" name="pasted-image-filtered.png">
            <a:extLst>
              <a:ext uri="{FF2B5EF4-FFF2-40B4-BE49-F238E27FC236}">
                <a16:creationId xmlns:a16="http://schemas.microsoft.com/office/drawing/2014/main" id="{808427A6-3CC1-43C7-B518-00FE9544447E}"/>
              </a:ext>
            </a:extLst>
          </p:cNvPr>
          <p:cNvPicPr>
            <a:picLocks noGrp="1" noChangeAspect="1" noChangeArrowheads="1"/>
          </p:cNvPicPr>
          <p:nvPr>
            <p:ph sz="quarter" idx="24"/>
          </p:nvPr>
        </p:nvPicPr>
        <p:blipFill>
          <a:blip r:embed="rId2"/>
          <a:srcRect l="14757" r="14757"/>
          <a:stretch/>
        </p:blipFill>
        <p:spPr bwMode="auto">
          <a:xfrm>
            <a:off x="4897205" y="1424046"/>
            <a:ext cx="3732445" cy="2940785"/>
          </a:xfrm>
          <a:prstGeom prst="rect">
            <a:avLst/>
          </a:prstGeom>
          <a:ln w="3175">
            <a:solidFill>
              <a:srgbClr val="000000"/>
            </a:solidFill>
            <a:miter lim="400000"/>
            <a:headEnd/>
            <a:tailEnd/>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13184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E6CDD0C-663B-9D46-B07C-0F771043A84E}"/>
              </a:ext>
            </a:extLst>
          </p:cNvPr>
          <p:cNvSpPr>
            <a:spLocks noGrp="1"/>
          </p:cNvSpPr>
          <p:nvPr>
            <p:ph type="body" sz="quarter" idx="32"/>
          </p:nvPr>
        </p:nvSpPr>
        <p:spPr/>
        <p:txBody>
          <a:bodyPr/>
          <a:lstStyle/>
          <a:p>
            <a:r>
              <a:rPr lang="en-US" dirty="0"/>
              <a:t>Offline Oil Test Data Model</a:t>
            </a:r>
          </a:p>
        </p:txBody>
      </p:sp>
      <p:sp>
        <p:nvSpPr>
          <p:cNvPr id="7" name="Parallelogram 6">
            <a:extLst>
              <a:ext uri="{FF2B5EF4-FFF2-40B4-BE49-F238E27FC236}">
                <a16:creationId xmlns:a16="http://schemas.microsoft.com/office/drawing/2014/main" id="{CF21F05B-9D77-E547-840F-6BA6BBB5F06D}"/>
              </a:ext>
            </a:extLst>
          </p:cNvPr>
          <p:cNvSpPr/>
          <p:nvPr/>
        </p:nvSpPr>
        <p:spPr>
          <a:xfrm>
            <a:off x="3472861" y="806591"/>
            <a:ext cx="1872530" cy="857250"/>
          </a:xfrm>
          <a:prstGeom prst="parallelogram">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solidFill>
                  <a:prstClr val="white"/>
                </a:solidFill>
                <a:latin typeface="Arial"/>
              </a:rPr>
              <a:t>ETE</a:t>
            </a:r>
            <a:r>
              <a:rPr kumimoji="0" lang="en-US" sz="1400" b="0" i="0" u="none" strike="noStrike" kern="1200" cap="none" spc="0" normalizeH="0" baseline="0" noProof="0" dirty="0">
                <a:ln>
                  <a:noFill/>
                </a:ln>
                <a:solidFill>
                  <a:prstClr val="white"/>
                </a:solidFill>
                <a:effectLst/>
                <a:uLnTx/>
                <a:uFillTx/>
                <a:latin typeface="Arial"/>
                <a:ea typeface="+mn-ea"/>
                <a:cs typeface="+mn-cs"/>
              </a:rPr>
              <a:t> Oil Test Data Model</a:t>
            </a:r>
          </a:p>
        </p:txBody>
      </p:sp>
      <p:sp>
        <p:nvSpPr>
          <p:cNvPr id="9" name="Rectangle 8">
            <a:extLst>
              <a:ext uri="{FF2B5EF4-FFF2-40B4-BE49-F238E27FC236}">
                <a16:creationId xmlns:a16="http://schemas.microsoft.com/office/drawing/2014/main" id="{285A92EE-D9DA-9D4D-809D-6E6B5D03056C}"/>
              </a:ext>
            </a:extLst>
          </p:cNvPr>
          <p:cNvSpPr/>
          <p:nvPr/>
        </p:nvSpPr>
        <p:spPr>
          <a:xfrm>
            <a:off x="6380366" y="711249"/>
            <a:ext cx="2167035" cy="104793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798" dirty="0">
                <a:solidFill>
                  <a:prstClr val="white"/>
                </a:solidFill>
                <a:latin typeface="Arial"/>
              </a:rPr>
              <a:t>ETE Cloud Processing </a:t>
            </a:r>
            <a:endParaRPr kumimoji="0" lang="en-US" sz="1798"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14" name="Curved Connector 13">
            <a:extLst>
              <a:ext uri="{FF2B5EF4-FFF2-40B4-BE49-F238E27FC236}">
                <a16:creationId xmlns:a16="http://schemas.microsoft.com/office/drawing/2014/main" id="{0BCB943B-CE40-D04B-8C39-8B7FD902409D}"/>
              </a:ext>
            </a:extLst>
          </p:cNvPr>
          <p:cNvCxnSpPr>
            <a:stCxn id="7" idx="2"/>
            <a:endCxn id="9" idx="1"/>
          </p:cNvCxnSpPr>
          <p:nvPr/>
        </p:nvCxnSpPr>
        <p:spPr>
          <a:xfrm>
            <a:off x="5238235" y="1235216"/>
            <a:ext cx="1142131" cy="12700"/>
          </a:xfrm>
          <a:prstGeom prst="curvedConnector3">
            <a:avLst>
              <a:gd name="adj1" fmla="val 50000"/>
            </a:avLst>
          </a:prstGeom>
          <a:ln>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22" name="Slide Number Placeholder 5">
            <a:extLst>
              <a:ext uri="{FF2B5EF4-FFF2-40B4-BE49-F238E27FC236}">
                <a16:creationId xmlns:a16="http://schemas.microsoft.com/office/drawing/2014/main" id="{CB8CF88B-308E-4345-A886-5E1CF0B60AAC}"/>
              </a:ext>
            </a:extLst>
          </p:cNvPr>
          <p:cNvSpPr>
            <a:spLocks noGrp="1"/>
          </p:cNvSpPr>
          <p:nvPr>
            <p:ph type="sldNum" sz="quarter" idx="4"/>
          </p:nvPr>
        </p:nvSpPr>
        <p:spPr>
          <a:xfrm>
            <a:off x="1747891" y="4857156"/>
            <a:ext cx="525690" cy="92333"/>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23" name="Footer Placeholder 6">
            <a:extLst>
              <a:ext uri="{FF2B5EF4-FFF2-40B4-BE49-F238E27FC236}">
                <a16:creationId xmlns:a16="http://schemas.microsoft.com/office/drawing/2014/main" id="{0EB50056-3742-DE4A-B4B1-4147C21433EB}"/>
              </a:ext>
            </a:extLst>
          </p:cNvPr>
          <p:cNvSpPr>
            <a:spLocks noGrp="1"/>
          </p:cNvSpPr>
          <p:nvPr>
            <p:ph type="ftr" sz="quarter" idx="3"/>
          </p:nvPr>
        </p:nvSpPr>
        <p:spPr>
          <a:xfrm>
            <a:off x="252414" y="4857156"/>
            <a:ext cx="1509767" cy="92333"/>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26469"/>
                </a:solidFill>
                <a:effectLst/>
                <a:uLnTx/>
                <a:uFillTx/>
                <a:latin typeface="Arial"/>
                <a:ea typeface="+mn-ea"/>
                <a:cs typeface="Arial"/>
              </a:rPr>
              <a:t>Confidential Property of Schneider Electric |</a:t>
            </a:r>
            <a:endParaRPr kumimoji="0" lang="en-US" sz="600" b="0" i="0" u="none" strike="noStrike" kern="1200" cap="none" spc="0" normalizeH="0" baseline="0" noProof="0" dirty="0">
              <a:ln>
                <a:noFill/>
              </a:ln>
              <a:solidFill>
                <a:srgbClr val="626469"/>
              </a:solidFill>
              <a:effectLst/>
              <a:uLnTx/>
              <a:uFillTx/>
              <a:latin typeface="Arial"/>
              <a:ea typeface="+mn-ea"/>
              <a:cs typeface="Arial"/>
            </a:endParaRPr>
          </a:p>
        </p:txBody>
      </p:sp>
      <p:sp>
        <p:nvSpPr>
          <p:cNvPr id="26" name="Parallelogram 25">
            <a:extLst>
              <a:ext uri="{FF2B5EF4-FFF2-40B4-BE49-F238E27FC236}">
                <a16:creationId xmlns:a16="http://schemas.microsoft.com/office/drawing/2014/main" id="{553754EF-8EE3-4FF5-B062-CBDBEFD25743}"/>
              </a:ext>
            </a:extLst>
          </p:cNvPr>
          <p:cNvSpPr/>
          <p:nvPr/>
        </p:nvSpPr>
        <p:spPr>
          <a:xfrm>
            <a:off x="401051" y="806591"/>
            <a:ext cx="1872530" cy="857250"/>
          </a:xfrm>
          <a:prstGeom prst="parallelogram">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Oil Test Data .csv file</a:t>
            </a:r>
          </a:p>
        </p:txBody>
      </p:sp>
      <p:cxnSp>
        <p:nvCxnSpPr>
          <p:cNvPr id="32" name="Curved Connector 13">
            <a:extLst>
              <a:ext uri="{FF2B5EF4-FFF2-40B4-BE49-F238E27FC236}">
                <a16:creationId xmlns:a16="http://schemas.microsoft.com/office/drawing/2014/main" id="{9F63A367-5CFF-4FD5-9561-3A301BABB509}"/>
              </a:ext>
            </a:extLst>
          </p:cNvPr>
          <p:cNvCxnSpPr>
            <a:cxnSpLocks/>
            <a:stCxn id="26" idx="2"/>
            <a:endCxn id="7" idx="5"/>
          </p:cNvCxnSpPr>
          <p:nvPr/>
        </p:nvCxnSpPr>
        <p:spPr>
          <a:xfrm>
            <a:off x="2166425" y="1235216"/>
            <a:ext cx="1413592" cy="12700"/>
          </a:xfrm>
          <a:prstGeom prst="curvedConnector3">
            <a:avLst>
              <a:gd name="adj1" fmla="val 50000"/>
            </a:avLst>
          </a:prstGeom>
          <a:ln>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5" name="Connector: Elbow 64">
            <a:extLst>
              <a:ext uri="{FF2B5EF4-FFF2-40B4-BE49-F238E27FC236}">
                <a16:creationId xmlns:a16="http://schemas.microsoft.com/office/drawing/2014/main" id="{DA8A243C-2653-4E31-A839-86693E1ED781}"/>
              </a:ext>
            </a:extLst>
          </p:cNvPr>
          <p:cNvCxnSpPr>
            <a:cxnSpLocks/>
            <a:stCxn id="9" idx="2"/>
            <a:endCxn id="28" idx="0"/>
          </p:cNvCxnSpPr>
          <p:nvPr/>
        </p:nvCxnSpPr>
        <p:spPr>
          <a:xfrm rot="5400000">
            <a:off x="6814290" y="2115587"/>
            <a:ext cx="1005999" cy="293190"/>
          </a:xfrm>
          <a:prstGeom prst="bentConnector3">
            <a:avLst/>
          </a:prstGeom>
          <a:ln>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365A5314-893A-4AED-990F-E22D25A1E7DD}"/>
              </a:ext>
            </a:extLst>
          </p:cNvPr>
          <p:cNvSpPr txBox="1"/>
          <p:nvPr/>
        </p:nvSpPr>
        <p:spPr>
          <a:xfrm>
            <a:off x="3382606" y="2980626"/>
            <a:ext cx="2242141" cy="738664"/>
          </a:xfrm>
          <a:prstGeom prst="rect">
            <a:avLst/>
          </a:prstGeom>
          <a:solidFill>
            <a:srgbClr val="3DCD58"/>
          </a:solidFill>
          <a:ln>
            <a:solidFill>
              <a:schemeClr val="bg2"/>
            </a:solidFill>
          </a:ln>
        </p:spPr>
        <p:txBody>
          <a:bodyPr wrap="square" rtlCol="0">
            <a:spAutoFit/>
          </a:bodyPr>
          <a:lstStyle/>
          <a:p>
            <a:pPr marL="171450" indent="-171450">
              <a:buFont typeface="Arial" panose="020B0604020202020204" pitchFamily="34" charset="0"/>
              <a:buChar char="•"/>
            </a:pPr>
            <a:r>
              <a:rPr lang="en-AU" sz="1400" dirty="0">
                <a:solidFill>
                  <a:schemeClr val="bg1"/>
                </a:solidFill>
              </a:rPr>
              <a:t>Doernenburg Gas Analysis</a:t>
            </a:r>
          </a:p>
          <a:p>
            <a:pPr marL="171450" indent="-171450">
              <a:buFont typeface="Arial" panose="020B0604020202020204" pitchFamily="34" charset="0"/>
              <a:buChar char="•"/>
            </a:pPr>
            <a:r>
              <a:rPr lang="en-AU" sz="1400" dirty="0">
                <a:solidFill>
                  <a:schemeClr val="bg1"/>
                </a:solidFill>
              </a:rPr>
              <a:t>Roger Gas Analysis</a:t>
            </a:r>
          </a:p>
        </p:txBody>
      </p:sp>
      <p:sp>
        <p:nvSpPr>
          <p:cNvPr id="28" name="TextBox 27">
            <a:extLst>
              <a:ext uri="{FF2B5EF4-FFF2-40B4-BE49-F238E27FC236}">
                <a16:creationId xmlns:a16="http://schemas.microsoft.com/office/drawing/2014/main" id="{415AADE4-64B0-4C63-B4D1-CC54EB33E303}"/>
              </a:ext>
            </a:extLst>
          </p:cNvPr>
          <p:cNvSpPr txBox="1"/>
          <p:nvPr/>
        </p:nvSpPr>
        <p:spPr>
          <a:xfrm>
            <a:off x="6087176" y="2765182"/>
            <a:ext cx="2167035" cy="1169551"/>
          </a:xfrm>
          <a:prstGeom prst="rect">
            <a:avLst/>
          </a:prstGeom>
          <a:solidFill>
            <a:srgbClr val="3DCD58"/>
          </a:solidFill>
          <a:ln>
            <a:solidFill>
              <a:schemeClr val="bg2"/>
            </a:solidFill>
          </a:ln>
        </p:spPr>
        <p:txBody>
          <a:bodyPr wrap="square" rtlCol="0">
            <a:spAutoFit/>
          </a:bodyPr>
          <a:lstStyle/>
          <a:p>
            <a:pPr marL="171450" indent="-171450">
              <a:buFont typeface="Arial" panose="020B0604020202020204" pitchFamily="34" charset="0"/>
              <a:buChar char="•"/>
            </a:pPr>
            <a:r>
              <a:rPr lang="en-AU" sz="1400" dirty="0">
                <a:solidFill>
                  <a:schemeClr val="bg1"/>
                </a:solidFill>
              </a:rPr>
              <a:t>Interfacial Tension</a:t>
            </a:r>
          </a:p>
          <a:p>
            <a:pPr marL="171450" indent="-171450">
              <a:buFont typeface="Arial" panose="020B0604020202020204" pitchFamily="34" charset="0"/>
              <a:buChar char="•"/>
            </a:pPr>
            <a:r>
              <a:rPr lang="en-AU" sz="1400" dirty="0">
                <a:solidFill>
                  <a:schemeClr val="bg1"/>
                </a:solidFill>
              </a:rPr>
              <a:t>DP by Furans</a:t>
            </a:r>
          </a:p>
          <a:p>
            <a:pPr marL="171450" indent="-171450">
              <a:buFont typeface="Arial" panose="020B0604020202020204" pitchFamily="34" charset="0"/>
              <a:buChar char="•"/>
            </a:pPr>
            <a:r>
              <a:rPr lang="en-AU" sz="1400" dirty="0">
                <a:solidFill>
                  <a:schemeClr val="bg1"/>
                </a:solidFill>
              </a:rPr>
              <a:t>Dielectric Strength</a:t>
            </a:r>
          </a:p>
          <a:p>
            <a:pPr marL="171450" indent="-171450">
              <a:buFont typeface="Arial" panose="020B0604020202020204" pitchFamily="34" charset="0"/>
              <a:buChar char="•"/>
            </a:pPr>
            <a:r>
              <a:rPr lang="en-AU" sz="1400" dirty="0">
                <a:solidFill>
                  <a:schemeClr val="bg1"/>
                </a:solidFill>
              </a:rPr>
              <a:t>Moisture in Oil</a:t>
            </a:r>
          </a:p>
          <a:p>
            <a:pPr marL="171450" indent="-171450">
              <a:buFont typeface="Arial" panose="020B0604020202020204" pitchFamily="34" charset="0"/>
              <a:buChar char="•"/>
            </a:pPr>
            <a:r>
              <a:rPr lang="en-AU" sz="1400" dirty="0">
                <a:solidFill>
                  <a:schemeClr val="bg1"/>
                </a:solidFill>
              </a:rPr>
              <a:t>Acidity in Oil</a:t>
            </a:r>
          </a:p>
        </p:txBody>
      </p:sp>
      <p:sp>
        <p:nvSpPr>
          <p:cNvPr id="29" name="TextBox 28">
            <a:extLst>
              <a:ext uri="{FF2B5EF4-FFF2-40B4-BE49-F238E27FC236}">
                <a16:creationId xmlns:a16="http://schemas.microsoft.com/office/drawing/2014/main" id="{0D48FC01-E76B-4153-B831-05FC144342D3}"/>
              </a:ext>
            </a:extLst>
          </p:cNvPr>
          <p:cNvSpPr txBox="1"/>
          <p:nvPr/>
        </p:nvSpPr>
        <p:spPr>
          <a:xfrm>
            <a:off x="800119" y="2657461"/>
            <a:ext cx="2242141" cy="1384995"/>
          </a:xfrm>
          <a:prstGeom prst="rect">
            <a:avLst/>
          </a:prstGeom>
          <a:solidFill>
            <a:srgbClr val="3DCD58"/>
          </a:solidFill>
          <a:ln>
            <a:solidFill>
              <a:schemeClr val="bg2"/>
            </a:solidFill>
          </a:ln>
        </p:spPr>
        <p:txBody>
          <a:bodyPr wrap="square" rtlCol="0">
            <a:spAutoFit/>
          </a:bodyPr>
          <a:lstStyle/>
          <a:p>
            <a:pPr marL="171450" indent="-171450">
              <a:buFont typeface="Arial" panose="020B0604020202020204" pitchFamily="34" charset="0"/>
              <a:buChar char="•"/>
            </a:pPr>
            <a:r>
              <a:rPr lang="en-AU" sz="1400" dirty="0">
                <a:solidFill>
                  <a:schemeClr val="bg1"/>
                </a:solidFill>
              </a:rPr>
              <a:t>Doernenburg Ratio Analysis</a:t>
            </a:r>
          </a:p>
          <a:p>
            <a:pPr marL="171450" indent="-171450">
              <a:buFont typeface="Arial" panose="020B0604020202020204" pitchFamily="34" charset="0"/>
              <a:buChar char="•"/>
            </a:pPr>
            <a:r>
              <a:rPr lang="en-AU" sz="1400" dirty="0">
                <a:solidFill>
                  <a:schemeClr val="bg1"/>
                </a:solidFill>
              </a:rPr>
              <a:t>Roger Ratio Analysis</a:t>
            </a:r>
          </a:p>
          <a:p>
            <a:pPr marL="171450" indent="-171450">
              <a:buFont typeface="Arial" panose="020B0604020202020204" pitchFamily="34" charset="0"/>
              <a:buChar char="•"/>
            </a:pPr>
            <a:r>
              <a:rPr lang="en-AU" sz="1400" dirty="0">
                <a:solidFill>
                  <a:schemeClr val="bg1"/>
                </a:solidFill>
              </a:rPr>
              <a:t>IEC Ratio Analysis</a:t>
            </a:r>
          </a:p>
          <a:p>
            <a:pPr marL="171450" indent="-171450">
              <a:buFont typeface="Arial" panose="020B0604020202020204" pitchFamily="34" charset="0"/>
              <a:buChar char="•"/>
            </a:pPr>
            <a:r>
              <a:rPr lang="en-AU" sz="1400" dirty="0">
                <a:solidFill>
                  <a:schemeClr val="bg1"/>
                </a:solidFill>
              </a:rPr>
              <a:t>Duval Triangle 1, 4 &amp; 5</a:t>
            </a:r>
          </a:p>
          <a:p>
            <a:pPr marL="171450" indent="-171450">
              <a:buFont typeface="Arial" panose="020B0604020202020204" pitchFamily="34" charset="0"/>
              <a:buChar char="•"/>
            </a:pPr>
            <a:r>
              <a:rPr lang="en-AU" sz="1400" dirty="0">
                <a:solidFill>
                  <a:schemeClr val="bg1"/>
                </a:solidFill>
              </a:rPr>
              <a:t>Duval Pentagon 1 &amp; 2</a:t>
            </a:r>
          </a:p>
        </p:txBody>
      </p:sp>
      <p:sp>
        <p:nvSpPr>
          <p:cNvPr id="16" name="TextBox 15">
            <a:extLst>
              <a:ext uri="{FF2B5EF4-FFF2-40B4-BE49-F238E27FC236}">
                <a16:creationId xmlns:a16="http://schemas.microsoft.com/office/drawing/2014/main" id="{338CF806-D49B-409B-A070-162F2F5198B9}"/>
              </a:ext>
            </a:extLst>
          </p:cNvPr>
          <p:cNvSpPr txBox="1"/>
          <p:nvPr/>
        </p:nvSpPr>
        <p:spPr>
          <a:xfrm>
            <a:off x="800118" y="4042455"/>
            <a:ext cx="2242141" cy="307777"/>
          </a:xfrm>
          <a:prstGeom prst="rect">
            <a:avLst/>
          </a:prstGeom>
          <a:solidFill>
            <a:schemeClr val="bg1">
              <a:lumMod val="95000"/>
            </a:schemeClr>
          </a:solidFill>
        </p:spPr>
        <p:txBody>
          <a:bodyPr wrap="square" rtlCol="0">
            <a:spAutoFit/>
          </a:bodyPr>
          <a:lstStyle/>
          <a:p>
            <a:pPr algn="ctr"/>
            <a:r>
              <a:rPr lang="en-AU" sz="1400" b="1" dirty="0">
                <a:solidFill>
                  <a:schemeClr val="accent1"/>
                </a:solidFill>
                <a:latin typeface="Arial"/>
                <a:cs typeface="Arial"/>
              </a:rPr>
              <a:t>Fault Indicators</a:t>
            </a:r>
          </a:p>
        </p:txBody>
      </p:sp>
      <p:sp>
        <p:nvSpPr>
          <p:cNvPr id="31" name="TextBox 30">
            <a:extLst>
              <a:ext uri="{FF2B5EF4-FFF2-40B4-BE49-F238E27FC236}">
                <a16:creationId xmlns:a16="http://schemas.microsoft.com/office/drawing/2014/main" id="{F32A6C50-78BC-4063-B05F-7013C4588446}"/>
              </a:ext>
            </a:extLst>
          </p:cNvPr>
          <p:cNvSpPr txBox="1"/>
          <p:nvPr/>
        </p:nvSpPr>
        <p:spPr>
          <a:xfrm>
            <a:off x="3382606" y="3734678"/>
            <a:ext cx="2249681" cy="307777"/>
          </a:xfrm>
          <a:prstGeom prst="rect">
            <a:avLst/>
          </a:prstGeom>
          <a:solidFill>
            <a:schemeClr val="bg1">
              <a:lumMod val="95000"/>
            </a:schemeClr>
          </a:solidFill>
        </p:spPr>
        <p:txBody>
          <a:bodyPr wrap="square" rtlCol="0">
            <a:spAutoFit/>
          </a:bodyPr>
          <a:lstStyle/>
          <a:p>
            <a:pPr algn="ctr"/>
            <a:r>
              <a:rPr lang="en-AU" sz="1400" b="1" dirty="0">
                <a:solidFill>
                  <a:schemeClr val="accent1"/>
                </a:solidFill>
                <a:latin typeface="Arial"/>
                <a:cs typeface="Arial"/>
              </a:rPr>
              <a:t>Oil Gas Level Indicators</a:t>
            </a:r>
          </a:p>
        </p:txBody>
      </p:sp>
      <p:sp>
        <p:nvSpPr>
          <p:cNvPr id="33" name="TextBox 32">
            <a:extLst>
              <a:ext uri="{FF2B5EF4-FFF2-40B4-BE49-F238E27FC236}">
                <a16:creationId xmlns:a16="http://schemas.microsoft.com/office/drawing/2014/main" id="{253FA592-3372-461B-B9FC-72B25A1BE609}"/>
              </a:ext>
            </a:extLst>
          </p:cNvPr>
          <p:cNvSpPr txBox="1"/>
          <p:nvPr/>
        </p:nvSpPr>
        <p:spPr>
          <a:xfrm>
            <a:off x="6087176" y="3934733"/>
            <a:ext cx="2167035" cy="307777"/>
          </a:xfrm>
          <a:prstGeom prst="rect">
            <a:avLst/>
          </a:prstGeom>
          <a:solidFill>
            <a:schemeClr val="bg1">
              <a:lumMod val="95000"/>
            </a:schemeClr>
          </a:solidFill>
        </p:spPr>
        <p:txBody>
          <a:bodyPr wrap="square" rtlCol="0">
            <a:spAutoFit/>
          </a:bodyPr>
          <a:lstStyle/>
          <a:p>
            <a:pPr algn="ctr"/>
            <a:r>
              <a:rPr lang="en-AU" sz="1400" b="1" dirty="0">
                <a:solidFill>
                  <a:schemeClr val="accent1"/>
                </a:solidFill>
                <a:latin typeface="Arial"/>
                <a:cs typeface="Arial"/>
              </a:rPr>
              <a:t>IEC Oil Analysis </a:t>
            </a:r>
          </a:p>
        </p:txBody>
      </p:sp>
      <p:cxnSp>
        <p:nvCxnSpPr>
          <p:cNvPr id="34" name="Connector: Elbow 33">
            <a:extLst>
              <a:ext uri="{FF2B5EF4-FFF2-40B4-BE49-F238E27FC236}">
                <a16:creationId xmlns:a16="http://schemas.microsoft.com/office/drawing/2014/main" id="{03B25542-FE80-411F-BD1E-5BD3F7AEB3F3}"/>
              </a:ext>
            </a:extLst>
          </p:cNvPr>
          <p:cNvCxnSpPr>
            <a:stCxn id="9" idx="2"/>
            <a:endCxn id="27" idx="0"/>
          </p:cNvCxnSpPr>
          <p:nvPr/>
        </p:nvCxnSpPr>
        <p:spPr>
          <a:xfrm rot="5400000">
            <a:off x="5373060" y="889801"/>
            <a:ext cx="1221443" cy="2960207"/>
          </a:xfrm>
          <a:prstGeom prst="bentConnector3">
            <a:avLst>
              <a:gd name="adj1" fmla="val 40642"/>
            </a:avLst>
          </a:prstGeom>
          <a:ln>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7" name="Connector: Elbow 36">
            <a:extLst>
              <a:ext uri="{FF2B5EF4-FFF2-40B4-BE49-F238E27FC236}">
                <a16:creationId xmlns:a16="http://schemas.microsoft.com/office/drawing/2014/main" id="{66D4348A-AE9F-4D66-A0AF-F13BEB8A1432}"/>
              </a:ext>
            </a:extLst>
          </p:cNvPr>
          <p:cNvCxnSpPr>
            <a:stCxn id="9" idx="2"/>
            <a:endCxn id="29" idx="0"/>
          </p:cNvCxnSpPr>
          <p:nvPr/>
        </p:nvCxnSpPr>
        <p:spPr>
          <a:xfrm rot="5400000">
            <a:off x="4243398" y="-563025"/>
            <a:ext cx="898278" cy="5542694"/>
          </a:xfrm>
          <a:prstGeom prst="bentConnector3">
            <a:avLst>
              <a:gd name="adj1" fmla="val 55567"/>
            </a:avLst>
          </a:prstGeom>
          <a:ln>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189786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2C745A7-2375-8749-9BF5-21835B49F066}"/>
              </a:ext>
            </a:extLst>
          </p:cNvPr>
          <p:cNvSpPr>
            <a:spLocks noGrp="1"/>
          </p:cNvSpPr>
          <p:nvPr>
            <p:ph type="body" sz="quarter" idx="32"/>
          </p:nvPr>
        </p:nvSpPr>
        <p:spPr/>
        <p:txBody>
          <a:bodyPr/>
          <a:lstStyle/>
          <a:p>
            <a:r>
              <a:rPr lang="en-US" dirty="0"/>
              <a:t>Oil Test Data &amp; ETE Insights Cross Correlation Model</a:t>
            </a:r>
          </a:p>
        </p:txBody>
      </p:sp>
      <p:sp>
        <p:nvSpPr>
          <p:cNvPr id="6" name="Parallelogram 5">
            <a:extLst>
              <a:ext uri="{FF2B5EF4-FFF2-40B4-BE49-F238E27FC236}">
                <a16:creationId xmlns:a16="http://schemas.microsoft.com/office/drawing/2014/main" id="{D32F3BDC-27D9-2C43-9EA8-82702558ED0E}"/>
              </a:ext>
            </a:extLst>
          </p:cNvPr>
          <p:cNvSpPr/>
          <p:nvPr/>
        </p:nvSpPr>
        <p:spPr>
          <a:xfrm>
            <a:off x="468640" y="1245212"/>
            <a:ext cx="1625200" cy="742856"/>
          </a:xfrm>
          <a:prstGeom prst="parallelogram">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dirty="0">
                <a:solidFill>
                  <a:prstClr val="white"/>
                </a:solidFill>
                <a:latin typeface="Arial"/>
              </a:rPr>
              <a:t>ETE</a:t>
            </a:r>
            <a:r>
              <a:rPr kumimoji="0" lang="en-US" sz="1200" b="0" i="0" u="none" strike="noStrike" kern="1200" cap="none" spc="0" normalizeH="0" baseline="0" noProof="0" dirty="0">
                <a:ln>
                  <a:noFill/>
                </a:ln>
                <a:solidFill>
                  <a:prstClr val="white"/>
                </a:solidFill>
                <a:effectLst/>
                <a:uLnTx/>
                <a:uFillTx/>
                <a:latin typeface="Arial"/>
                <a:ea typeface="+mn-ea"/>
                <a:cs typeface="+mn-cs"/>
              </a:rPr>
              <a:t> Temp</a:t>
            </a:r>
            <a:r>
              <a:rPr lang="en-US" sz="1200" dirty="0">
                <a:solidFill>
                  <a:prstClr val="white"/>
                </a:solidFill>
                <a:latin typeface="Arial"/>
              </a:rPr>
              <a:t>, </a:t>
            </a:r>
            <a:r>
              <a:rPr kumimoji="0" lang="en-US" sz="1200" b="0" i="0" u="none" strike="noStrike" kern="1200" cap="none" spc="0" normalizeH="0" baseline="0" noProof="0" dirty="0">
                <a:ln>
                  <a:noFill/>
                </a:ln>
                <a:solidFill>
                  <a:prstClr val="white"/>
                </a:solidFill>
                <a:effectLst/>
                <a:uLnTx/>
                <a:uFillTx/>
                <a:latin typeface="Arial"/>
                <a:ea typeface="+mn-ea"/>
                <a:cs typeface="+mn-cs"/>
              </a:rPr>
              <a:t>Moisture, DP, Vibration, PD Models</a:t>
            </a:r>
          </a:p>
        </p:txBody>
      </p:sp>
      <p:sp>
        <p:nvSpPr>
          <p:cNvPr id="7" name="Parallelogram 6">
            <a:extLst>
              <a:ext uri="{FF2B5EF4-FFF2-40B4-BE49-F238E27FC236}">
                <a16:creationId xmlns:a16="http://schemas.microsoft.com/office/drawing/2014/main" id="{CF21F05B-9D77-E547-840F-6BA6BBB5F06D}"/>
              </a:ext>
            </a:extLst>
          </p:cNvPr>
          <p:cNvSpPr/>
          <p:nvPr/>
        </p:nvSpPr>
        <p:spPr>
          <a:xfrm>
            <a:off x="268764" y="2292891"/>
            <a:ext cx="1625200" cy="748148"/>
          </a:xfrm>
          <a:prstGeom prst="parallelogram">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dirty="0">
                <a:solidFill>
                  <a:prstClr val="white"/>
                </a:solidFill>
                <a:latin typeface="Arial"/>
              </a:rPr>
              <a:t>Oil Test Data Model</a:t>
            </a: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Parallelogram 7">
            <a:extLst>
              <a:ext uri="{FF2B5EF4-FFF2-40B4-BE49-F238E27FC236}">
                <a16:creationId xmlns:a16="http://schemas.microsoft.com/office/drawing/2014/main" id="{91AC24F6-ACB8-7D48-A670-A88824D559E7}"/>
              </a:ext>
            </a:extLst>
          </p:cNvPr>
          <p:cNvSpPr/>
          <p:nvPr/>
        </p:nvSpPr>
        <p:spPr>
          <a:xfrm>
            <a:off x="71032" y="3380852"/>
            <a:ext cx="1625200" cy="748148"/>
          </a:xfrm>
          <a:prstGeom prst="parallelogram">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55" tIns="45678" rIns="91355" bIns="45678" numCol="1" spcCol="0" rtlCol="0" fromWordArt="0" anchor="ctr" anchorCtr="0" forceAA="0" compatLnSpc="1">
            <a:prstTxWarp prst="textNoShape">
              <a:avLst/>
            </a:prstTxWarp>
            <a:norm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a:rPr>
              <a:t>International Standards</a:t>
            </a:r>
            <a:endParaRPr kumimoji="0" lang="en-US" sz="1200" b="0" i="0" u="none" strike="noStrike" kern="1200" cap="none" spc="0" normalizeH="0" baseline="0" noProof="0" dirty="0">
              <a:ln>
                <a:noFill/>
              </a:ln>
              <a:solidFill>
                <a:schemeClr val="bg1"/>
              </a:solidFill>
              <a:effectLst/>
              <a:uLnTx/>
              <a:uFillTx/>
              <a:latin typeface="Arial"/>
              <a:ea typeface="+mn-ea"/>
              <a:cs typeface="+mn-cs"/>
            </a:endParaRPr>
          </a:p>
        </p:txBody>
      </p:sp>
      <p:sp>
        <p:nvSpPr>
          <p:cNvPr id="9" name="Rectangle 8">
            <a:extLst>
              <a:ext uri="{FF2B5EF4-FFF2-40B4-BE49-F238E27FC236}">
                <a16:creationId xmlns:a16="http://schemas.microsoft.com/office/drawing/2014/main" id="{285A92EE-D9DA-9D4D-809D-6E6B5D03056C}"/>
              </a:ext>
            </a:extLst>
          </p:cNvPr>
          <p:cNvSpPr/>
          <p:nvPr/>
        </p:nvSpPr>
        <p:spPr>
          <a:xfrm>
            <a:off x="2511318" y="2224453"/>
            <a:ext cx="1625200" cy="857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dirty="0">
                <a:solidFill>
                  <a:prstClr val="white"/>
                </a:solidFill>
                <a:latin typeface="Arial"/>
              </a:rPr>
              <a:t>ETE Insights Model</a:t>
            </a: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12" name="Curved Connector 11">
            <a:extLst>
              <a:ext uri="{FF2B5EF4-FFF2-40B4-BE49-F238E27FC236}">
                <a16:creationId xmlns:a16="http://schemas.microsoft.com/office/drawing/2014/main" id="{AE06712F-758B-0249-9B66-10E4C303BF4C}"/>
              </a:ext>
            </a:extLst>
          </p:cNvPr>
          <p:cNvCxnSpPr>
            <a:cxnSpLocks/>
            <a:stCxn id="6" idx="2"/>
            <a:endCxn id="9" idx="1"/>
          </p:cNvCxnSpPr>
          <p:nvPr/>
        </p:nvCxnSpPr>
        <p:spPr>
          <a:xfrm>
            <a:off x="2000983" y="1616640"/>
            <a:ext cx="510335" cy="1036438"/>
          </a:xfrm>
          <a:prstGeom prst="curvedConnector3">
            <a:avLst/>
          </a:prstGeom>
          <a:ln>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Curved Connector 13">
            <a:extLst>
              <a:ext uri="{FF2B5EF4-FFF2-40B4-BE49-F238E27FC236}">
                <a16:creationId xmlns:a16="http://schemas.microsoft.com/office/drawing/2014/main" id="{0BCB943B-CE40-D04B-8C39-8B7FD902409D}"/>
              </a:ext>
            </a:extLst>
          </p:cNvPr>
          <p:cNvCxnSpPr>
            <a:cxnSpLocks/>
            <a:stCxn id="7" idx="2"/>
            <a:endCxn id="9" idx="1"/>
          </p:cNvCxnSpPr>
          <p:nvPr/>
        </p:nvCxnSpPr>
        <p:spPr>
          <a:xfrm flipV="1">
            <a:off x="1800446" y="2653078"/>
            <a:ext cx="710872" cy="13887"/>
          </a:xfrm>
          <a:prstGeom prst="curvedConnector3">
            <a:avLst/>
          </a:prstGeom>
          <a:ln>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Curved Connector 15">
            <a:extLst>
              <a:ext uri="{FF2B5EF4-FFF2-40B4-BE49-F238E27FC236}">
                <a16:creationId xmlns:a16="http://schemas.microsoft.com/office/drawing/2014/main" id="{9588B4F3-13EB-DA4B-A0F9-A1B810E980C5}"/>
              </a:ext>
            </a:extLst>
          </p:cNvPr>
          <p:cNvCxnSpPr>
            <a:cxnSpLocks/>
            <a:stCxn id="8" idx="2"/>
            <a:endCxn id="9" idx="1"/>
          </p:cNvCxnSpPr>
          <p:nvPr/>
        </p:nvCxnSpPr>
        <p:spPr>
          <a:xfrm flipV="1">
            <a:off x="1602714" y="2653078"/>
            <a:ext cx="908604" cy="1101848"/>
          </a:xfrm>
          <a:prstGeom prst="curvedConnector3">
            <a:avLst/>
          </a:prstGeom>
          <a:ln>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5" name="Curved Connector 24">
            <a:extLst>
              <a:ext uri="{FF2B5EF4-FFF2-40B4-BE49-F238E27FC236}">
                <a16:creationId xmlns:a16="http://schemas.microsoft.com/office/drawing/2014/main" id="{80B435D5-8B0E-6B46-9745-190550D0209B}"/>
              </a:ext>
            </a:extLst>
          </p:cNvPr>
          <p:cNvCxnSpPr>
            <a:cxnSpLocks/>
            <a:stCxn id="9" idx="3"/>
          </p:cNvCxnSpPr>
          <p:nvPr/>
        </p:nvCxnSpPr>
        <p:spPr>
          <a:xfrm>
            <a:off x="4136518" y="2653078"/>
            <a:ext cx="642390" cy="13887"/>
          </a:xfrm>
          <a:prstGeom prst="curvedConnector3">
            <a:avLst/>
          </a:prstGeom>
          <a:ln>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20" name="Slide Number Placeholder 5">
            <a:extLst>
              <a:ext uri="{FF2B5EF4-FFF2-40B4-BE49-F238E27FC236}">
                <a16:creationId xmlns:a16="http://schemas.microsoft.com/office/drawing/2014/main" id="{DBA9084E-109F-C946-B3C4-52467B530312}"/>
              </a:ext>
            </a:extLst>
          </p:cNvPr>
          <p:cNvSpPr>
            <a:spLocks noGrp="1"/>
          </p:cNvSpPr>
          <p:nvPr>
            <p:ph type="sldNum" sz="quarter" idx="4"/>
          </p:nvPr>
        </p:nvSpPr>
        <p:spPr>
          <a:xfrm>
            <a:off x="1747891" y="4857156"/>
            <a:ext cx="525690" cy="92333"/>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21" name="Footer Placeholder 6">
            <a:extLst>
              <a:ext uri="{FF2B5EF4-FFF2-40B4-BE49-F238E27FC236}">
                <a16:creationId xmlns:a16="http://schemas.microsoft.com/office/drawing/2014/main" id="{B160E201-58E5-A346-8E9A-5B8F6F2E4F3A}"/>
              </a:ext>
            </a:extLst>
          </p:cNvPr>
          <p:cNvSpPr>
            <a:spLocks noGrp="1"/>
          </p:cNvSpPr>
          <p:nvPr>
            <p:ph type="ftr" sz="quarter" idx="3"/>
          </p:nvPr>
        </p:nvSpPr>
        <p:spPr>
          <a:xfrm>
            <a:off x="252414" y="4857156"/>
            <a:ext cx="1509767" cy="92333"/>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26469"/>
                </a:solidFill>
                <a:effectLst/>
                <a:uLnTx/>
                <a:uFillTx/>
                <a:latin typeface="Arial"/>
                <a:ea typeface="+mn-ea"/>
                <a:cs typeface="Arial"/>
              </a:rPr>
              <a:t>Confidential Property of Schneider Electric |</a:t>
            </a:r>
            <a:endParaRPr kumimoji="0" lang="en-US" sz="600" b="0" i="0" u="none" strike="noStrike" kern="1200" cap="none" spc="0" normalizeH="0" baseline="0" noProof="0" dirty="0">
              <a:ln>
                <a:noFill/>
              </a:ln>
              <a:solidFill>
                <a:srgbClr val="626469"/>
              </a:solidFill>
              <a:effectLst/>
              <a:uLnTx/>
              <a:uFillTx/>
              <a:latin typeface="Arial"/>
              <a:ea typeface="+mn-ea"/>
              <a:cs typeface="Arial"/>
            </a:endParaRPr>
          </a:p>
        </p:txBody>
      </p:sp>
      <p:pic>
        <p:nvPicPr>
          <p:cNvPr id="48" name="Picture 47">
            <a:extLst>
              <a:ext uri="{FF2B5EF4-FFF2-40B4-BE49-F238E27FC236}">
                <a16:creationId xmlns:a16="http://schemas.microsoft.com/office/drawing/2014/main" id="{FAE54BCC-077B-4FD9-9DA1-474F874C90C2}"/>
              </a:ext>
            </a:extLst>
          </p:cNvPr>
          <p:cNvPicPr>
            <a:picLocks noChangeAspect="1"/>
          </p:cNvPicPr>
          <p:nvPr/>
        </p:nvPicPr>
        <p:blipFill>
          <a:blip r:embed="rId2"/>
          <a:stretch>
            <a:fillRect/>
          </a:stretch>
        </p:blipFill>
        <p:spPr>
          <a:xfrm>
            <a:off x="4864722" y="2895537"/>
            <a:ext cx="4059518" cy="970630"/>
          </a:xfrm>
          <a:prstGeom prst="rect">
            <a:avLst/>
          </a:prstGeom>
          <a:effectLst>
            <a:outerShdw blurRad="63500" sx="102000" sy="102000" algn="ctr" rotWithShape="0">
              <a:prstClr val="black">
                <a:alpha val="40000"/>
              </a:prstClr>
            </a:outerShdw>
          </a:effectLst>
        </p:spPr>
      </p:pic>
      <p:pic>
        <p:nvPicPr>
          <p:cNvPr id="50" name="Picture 49">
            <a:extLst>
              <a:ext uri="{FF2B5EF4-FFF2-40B4-BE49-F238E27FC236}">
                <a16:creationId xmlns:a16="http://schemas.microsoft.com/office/drawing/2014/main" id="{BA9DF9EC-5AF3-4C92-9CDC-48792789F825}"/>
              </a:ext>
            </a:extLst>
          </p:cNvPr>
          <p:cNvPicPr>
            <a:picLocks noChangeAspect="1"/>
          </p:cNvPicPr>
          <p:nvPr/>
        </p:nvPicPr>
        <p:blipFill>
          <a:blip r:embed="rId3"/>
          <a:stretch>
            <a:fillRect/>
          </a:stretch>
        </p:blipFill>
        <p:spPr>
          <a:xfrm>
            <a:off x="4864723" y="1433862"/>
            <a:ext cx="4059518" cy="1287164"/>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4884282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3E68524D-A721-43F4-90F5-4220C28826B9}"/>
              </a:ext>
            </a:extLst>
          </p:cNvPr>
          <p:cNvPicPr>
            <a:picLocks noChangeAspect="1"/>
          </p:cNvPicPr>
          <p:nvPr/>
        </p:nvPicPr>
        <p:blipFill>
          <a:blip r:embed="rId2"/>
          <a:stretch>
            <a:fillRect/>
          </a:stretch>
        </p:blipFill>
        <p:spPr>
          <a:xfrm>
            <a:off x="482917" y="1280944"/>
            <a:ext cx="8178166" cy="3290984"/>
          </a:xfrm>
          <a:prstGeom prst="rect">
            <a:avLst/>
          </a:prstGeom>
          <a:effectLst>
            <a:outerShdw blurRad="63500" sx="102000" sy="102000" algn="ctr" rotWithShape="0">
              <a:prstClr val="black">
                <a:alpha val="40000"/>
              </a:prstClr>
            </a:outerShdw>
          </a:effectLst>
        </p:spPr>
      </p:pic>
      <p:sp>
        <p:nvSpPr>
          <p:cNvPr id="13" name="Text Placeholder 12">
            <a:extLst>
              <a:ext uri="{FF2B5EF4-FFF2-40B4-BE49-F238E27FC236}">
                <a16:creationId xmlns:a16="http://schemas.microsoft.com/office/drawing/2014/main" id="{D2C745A7-2375-8749-9BF5-21835B49F066}"/>
              </a:ext>
            </a:extLst>
          </p:cNvPr>
          <p:cNvSpPr>
            <a:spLocks noGrp="1"/>
          </p:cNvSpPr>
          <p:nvPr>
            <p:ph type="body" sz="quarter" idx="32"/>
          </p:nvPr>
        </p:nvSpPr>
        <p:spPr/>
        <p:txBody>
          <a:bodyPr/>
          <a:lstStyle/>
          <a:p>
            <a:r>
              <a:rPr lang="en-US" dirty="0"/>
              <a:t>Oil Test Data &amp; ETE Insights Cross Correlation Model</a:t>
            </a:r>
          </a:p>
        </p:txBody>
      </p:sp>
      <p:sp>
        <p:nvSpPr>
          <p:cNvPr id="20" name="Slide Number Placeholder 5">
            <a:extLst>
              <a:ext uri="{FF2B5EF4-FFF2-40B4-BE49-F238E27FC236}">
                <a16:creationId xmlns:a16="http://schemas.microsoft.com/office/drawing/2014/main" id="{DBA9084E-109F-C946-B3C4-52467B530312}"/>
              </a:ext>
            </a:extLst>
          </p:cNvPr>
          <p:cNvSpPr>
            <a:spLocks noGrp="1"/>
          </p:cNvSpPr>
          <p:nvPr>
            <p:ph type="sldNum" sz="quarter" idx="4"/>
          </p:nvPr>
        </p:nvSpPr>
        <p:spPr>
          <a:xfrm>
            <a:off x="1747891" y="4857156"/>
            <a:ext cx="525690" cy="92333"/>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21" name="Footer Placeholder 6">
            <a:extLst>
              <a:ext uri="{FF2B5EF4-FFF2-40B4-BE49-F238E27FC236}">
                <a16:creationId xmlns:a16="http://schemas.microsoft.com/office/drawing/2014/main" id="{B160E201-58E5-A346-8E9A-5B8F6F2E4F3A}"/>
              </a:ext>
            </a:extLst>
          </p:cNvPr>
          <p:cNvSpPr>
            <a:spLocks noGrp="1"/>
          </p:cNvSpPr>
          <p:nvPr>
            <p:ph type="ftr" sz="quarter" idx="3"/>
          </p:nvPr>
        </p:nvSpPr>
        <p:spPr>
          <a:xfrm>
            <a:off x="252414" y="4857156"/>
            <a:ext cx="1509767" cy="92333"/>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26469"/>
                </a:solidFill>
                <a:effectLst/>
                <a:uLnTx/>
                <a:uFillTx/>
                <a:latin typeface="Arial"/>
                <a:ea typeface="+mn-ea"/>
                <a:cs typeface="Arial"/>
              </a:rPr>
              <a:t>Confidential Property of Schneider Electric |</a:t>
            </a:r>
            <a:endParaRPr kumimoji="0" lang="en-US" sz="600" b="0" i="0" u="none" strike="noStrike" kern="1200" cap="none" spc="0" normalizeH="0" baseline="0" noProof="0" dirty="0">
              <a:ln>
                <a:noFill/>
              </a:ln>
              <a:solidFill>
                <a:srgbClr val="626469"/>
              </a:solidFill>
              <a:effectLst/>
              <a:uLnTx/>
              <a:uFillTx/>
              <a:latin typeface="Arial"/>
              <a:ea typeface="+mn-ea"/>
              <a:cs typeface="Arial"/>
            </a:endParaRPr>
          </a:p>
        </p:txBody>
      </p:sp>
      <p:sp>
        <p:nvSpPr>
          <p:cNvPr id="32" name="Text Placeholder 12">
            <a:extLst>
              <a:ext uri="{FF2B5EF4-FFF2-40B4-BE49-F238E27FC236}">
                <a16:creationId xmlns:a16="http://schemas.microsoft.com/office/drawing/2014/main" id="{6F1943B6-614A-41E7-A0A6-94EDA975E107}"/>
              </a:ext>
            </a:extLst>
          </p:cNvPr>
          <p:cNvSpPr txBox="1">
            <a:spLocks/>
          </p:cNvSpPr>
          <p:nvPr/>
        </p:nvSpPr>
        <p:spPr>
          <a:xfrm>
            <a:off x="482917" y="720460"/>
            <a:ext cx="8570117" cy="503334"/>
          </a:xfrm>
          <a:prstGeom prst="rect">
            <a:avLst/>
          </a:prstGeom>
        </p:spPr>
        <p:txBody>
          <a:bodyPr vert="horz" lIns="0" tIns="0" rIns="0" bIns="0" rtlCol="0">
            <a:noAutofit/>
          </a:bodyPr>
          <a:lstStyle>
            <a:lvl1pPr marL="173028" indent="-157154" algn="l" defTabSz="457172" rtl="0" eaLnBrk="1" latinLnBrk="0" hangingPunct="1">
              <a:spcBef>
                <a:spcPts val="500"/>
              </a:spcBef>
              <a:spcAft>
                <a:spcPts val="500"/>
              </a:spcAft>
              <a:buClr>
                <a:schemeClr val="bg2"/>
              </a:buClr>
              <a:buFontTx/>
              <a:buNone/>
              <a:defRPr sz="2400" kern="1200">
                <a:solidFill>
                  <a:schemeClr val="tx2"/>
                </a:solidFill>
                <a:latin typeface="Arial"/>
                <a:ea typeface="+mn-ea"/>
                <a:cs typeface="Arial"/>
              </a:defRPr>
            </a:lvl1pPr>
            <a:lvl2pPr marL="361929" indent="-182552" algn="l" defTabSz="447648" rtl="0" eaLnBrk="1" latinLnBrk="0" hangingPunct="1">
              <a:spcBef>
                <a:spcPts val="500"/>
              </a:spcBef>
              <a:spcAft>
                <a:spcPts val="500"/>
              </a:spcAft>
              <a:buClr>
                <a:srgbClr val="36C746"/>
              </a:buClr>
              <a:buFontTx/>
              <a:buNone/>
              <a:defRPr sz="1400" kern="1200">
                <a:solidFill>
                  <a:schemeClr val="accent1"/>
                </a:solidFill>
                <a:latin typeface="Arial"/>
                <a:ea typeface="+mn-ea"/>
                <a:cs typeface="Arial"/>
              </a:defRPr>
            </a:lvl2pPr>
            <a:lvl3pPr marL="538130" indent="-179378" algn="l" defTabSz="457172" rtl="0" eaLnBrk="1" latinLnBrk="0" hangingPunct="1">
              <a:spcBef>
                <a:spcPts val="500"/>
              </a:spcBef>
              <a:spcAft>
                <a:spcPts val="500"/>
              </a:spcAft>
              <a:buClr>
                <a:srgbClr val="36C746"/>
              </a:buClr>
              <a:buFontTx/>
              <a:buNone/>
              <a:defRPr sz="1300" kern="1200">
                <a:solidFill>
                  <a:schemeClr val="accent1"/>
                </a:solidFill>
                <a:latin typeface="Arial"/>
                <a:ea typeface="+mn-ea"/>
                <a:cs typeface="Arial"/>
              </a:defRPr>
            </a:lvl3pPr>
            <a:lvl4pPr marL="719095" indent="-179378" algn="l" defTabSz="457172" rtl="0" eaLnBrk="1" latinLnBrk="0" hangingPunct="1">
              <a:spcBef>
                <a:spcPts val="500"/>
              </a:spcBef>
              <a:spcAft>
                <a:spcPts val="500"/>
              </a:spcAft>
              <a:buClr>
                <a:srgbClr val="36C746"/>
              </a:buClr>
              <a:buFontTx/>
              <a:buNone/>
              <a:defRPr sz="1200" kern="1200">
                <a:solidFill>
                  <a:schemeClr val="accent1"/>
                </a:solidFill>
                <a:latin typeface="Arial"/>
                <a:ea typeface="+mn-ea"/>
                <a:cs typeface="Arial"/>
              </a:defRPr>
            </a:lvl4pPr>
            <a:lvl5pPr marL="896884" indent="-185726" algn="l" defTabSz="457172" rtl="0" eaLnBrk="1" latinLnBrk="0" hangingPunct="1">
              <a:spcBef>
                <a:spcPts val="500"/>
              </a:spcBef>
              <a:spcAft>
                <a:spcPts val="500"/>
              </a:spcAft>
              <a:buClr>
                <a:srgbClr val="36C746"/>
              </a:buClr>
              <a:buFontTx/>
              <a:buNone/>
              <a:defRPr sz="1000" kern="1200">
                <a:solidFill>
                  <a:schemeClr val="accent1"/>
                </a:solidFill>
                <a:latin typeface="Arial"/>
                <a:ea typeface="+mn-ea"/>
                <a:cs typeface="Arial"/>
              </a:defRPr>
            </a:lvl5pPr>
            <a:lvl6pPr marL="896057" indent="-182870" algn="l" defTabSz="457172"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57" indent="-182870" algn="l" defTabSz="457172"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793" indent="-228587" algn="l" defTabSz="457172" rtl="0" eaLnBrk="1" latinLnBrk="0" hangingPunct="1">
              <a:spcBef>
                <a:spcPct val="20000"/>
              </a:spcBef>
              <a:buFont typeface="Arial"/>
              <a:buChar char="•"/>
              <a:defRPr sz="2000" kern="1200">
                <a:solidFill>
                  <a:schemeClr val="tx1"/>
                </a:solidFill>
                <a:latin typeface="+mn-lt"/>
                <a:ea typeface="+mn-ea"/>
                <a:cs typeface="+mn-cs"/>
              </a:defRPr>
            </a:lvl8pPr>
            <a:lvl9pPr marL="3885966" indent="-228587" algn="l" defTabSz="457172" rtl="0" eaLnBrk="1" latinLnBrk="0" hangingPunct="1">
              <a:spcBef>
                <a:spcPct val="20000"/>
              </a:spcBef>
              <a:buFont typeface="Arial"/>
              <a:buChar char="•"/>
              <a:defRPr sz="2000" kern="1200">
                <a:solidFill>
                  <a:schemeClr val="tx1"/>
                </a:solidFill>
                <a:latin typeface="+mn-lt"/>
                <a:ea typeface="+mn-ea"/>
                <a:cs typeface="+mn-cs"/>
              </a:defRPr>
            </a:lvl9pPr>
          </a:lstStyle>
          <a:p>
            <a:pPr marL="0" indent="0"/>
            <a:r>
              <a:rPr lang="en-US" sz="1400" dirty="0">
                <a:solidFill>
                  <a:schemeClr val="accent1"/>
                </a:solidFill>
              </a:rPr>
              <a:t>Below is an example of how ETE provides comprehensive insights and recommendations to avoid transformer failure.</a:t>
            </a:r>
            <a:endParaRPr lang="en-US" sz="1200" dirty="0">
              <a:solidFill>
                <a:schemeClr val="tx1"/>
              </a:solidFill>
            </a:endParaRPr>
          </a:p>
        </p:txBody>
      </p:sp>
    </p:spTree>
    <p:extLst>
      <p:ext uri="{BB962C8B-B14F-4D97-AF65-F5344CB8AC3E}">
        <p14:creationId xmlns:p14="http://schemas.microsoft.com/office/powerpoint/2010/main" val="11664531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521980449_cb_cb2.jpg"/>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a:stretch/>
        </p:blipFill>
        <p:spPr/>
      </p:pic>
      <p:sp>
        <p:nvSpPr>
          <p:cNvPr id="3" name="Title 2">
            <a:extLst>
              <a:ext uri="{FF2B5EF4-FFF2-40B4-BE49-F238E27FC236}">
                <a16:creationId xmlns:a16="http://schemas.microsoft.com/office/drawing/2014/main" id="{D9B527DE-23F0-7545-8503-A7EFC22CDC46}"/>
              </a:ext>
            </a:extLst>
          </p:cNvPr>
          <p:cNvSpPr>
            <a:spLocks noGrp="1"/>
          </p:cNvSpPr>
          <p:nvPr>
            <p:ph type="title"/>
          </p:nvPr>
        </p:nvSpPr>
        <p:spPr/>
        <p:txBody>
          <a:bodyPr>
            <a:noAutofit/>
          </a:bodyPr>
          <a:lstStyle/>
          <a:p>
            <a:r>
              <a:rPr lang="en-US" dirty="0"/>
              <a:t>EcoStruxure Transformer Expert</a:t>
            </a:r>
          </a:p>
        </p:txBody>
      </p:sp>
      <p:sp>
        <p:nvSpPr>
          <p:cNvPr id="4" name="Text Placeholder 3">
            <a:extLst>
              <a:ext uri="{FF2B5EF4-FFF2-40B4-BE49-F238E27FC236}">
                <a16:creationId xmlns:a16="http://schemas.microsoft.com/office/drawing/2014/main" id="{E4AD8BF0-A51F-7644-99BC-50F9CC4DD7F0}"/>
              </a:ext>
            </a:extLst>
          </p:cNvPr>
          <p:cNvSpPr>
            <a:spLocks noGrp="1"/>
          </p:cNvSpPr>
          <p:nvPr>
            <p:ph type="body" sz="quarter" idx="11"/>
          </p:nvPr>
        </p:nvSpPr>
        <p:spPr/>
        <p:txBody>
          <a:bodyPr>
            <a:noAutofit/>
          </a:bodyPr>
          <a:lstStyle/>
          <a:p>
            <a:r>
              <a:rPr lang="en-US" dirty="0"/>
              <a:t>Oil Test Data Output - International Standards</a:t>
            </a:r>
          </a:p>
        </p:txBody>
      </p:sp>
      <p:sp>
        <p:nvSpPr>
          <p:cNvPr id="5" name="Slide Number Placeholder 4"/>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FFFFFF"/>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9</a:t>
            </a:fld>
            <a:endParaRPr kumimoji="0" lang="en-US" sz="600" b="0" i="0" u="none" strike="noStrike" kern="1200" cap="none" spc="0" normalizeH="0" baseline="0" noProof="0" dirty="0">
              <a:ln>
                <a:noFill/>
              </a:ln>
              <a:solidFill>
                <a:srgbClr val="FFFFFF"/>
              </a:solidFill>
              <a:effectLst/>
              <a:uLnTx/>
              <a:uFillTx/>
              <a:latin typeface="Arial"/>
              <a:ea typeface="+mn-ea"/>
              <a:cs typeface="Arial"/>
            </a:endParaRPr>
          </a:p>
        </p:txBody>
      </p:sp>
      <p:sp>
        <p:nvSpPr>
          <p:cNvPr id="6" name="Footer Placeholder 5"/>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a:ea typeface="+mn-ea"/>
                <a:cs typeface="Arial"/>
              </a:rPr>
              <a:t>Confidential Property of Schneider Electric |</a:t>
            </a:r>
            <a:endParaRPr kumimoji="0" lang="en-US" sz="600" b="0" i="0" u="none" strike="noStrike" kern="1200" cap="none" spc="0" normalizeH="0" baseline="0" noProof="0" dirty="0">
              <a:ln>
                <a:noFill/>
              </a:ln>
              <a:solidFill>
                <a:srgbClr val="FFFFFF"/>
              </a:solidFill>
              <a:effectLst/>
              <a:uLnTx/>
              <a:uFillTx/>
              <a:latin typeface="Arial"/>
              <a:ea typeface="+mn-ea"/>
              <a:cs typeface="Arial"/>
            </a:endParaRPr>
          </a:p>
        </p:txBody>
      </p:sp>
      <p:pic>
        <p:nvPicPr>
          <p:cNvPr id="10" name="Picture 9" descr="schneider_LIO_White_RGB.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Tree>
    <p:extLst>
      <p:ext uri="{BB962C8B-B14F-4D97-AF65-F5344CB8AC3E}">
        <p14:creationId xmlns:p14="http://schemas.microsoft.com/office/powerpoint/2010/main" val="10196913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HrW3MJtRTWD97FuIhRP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HrW3MJtRTWD97FuIhRP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HrW3MJtRTWD97FuIhRP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HrW3MJtRTWD97FuIhRP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HrW3MJtRTWD97FuIhRP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HrW3MJtRTWD97FuIhRPC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HrW3MJtRTWD97FuIhRP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HrW3MJtRTWD97FuIhRPC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HrW3MJtRTWD97FuIhRP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HrW3MJtRTWD97FuIhRPC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HrW3MJtRTWD97FuIhRP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HrW3MJtRTWD97FuIhRPC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HrW3MJtRTWD97FuIhRP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HrW3MJtRTWD97FuIhRP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HrW3MJtRTWD97FuIhRP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HrW3MJtRTWD97FuIhRP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15 SE Brand - Blank PowerPoint pictos" id="{E1AFD9B5-88AE-400A-9A76-EE0A3826BE52}" vid="{D09BF431-0B9B-4B4A-BCAC-FFBC66B13491}"/>
    </a:ext>
  </a:extLst>
</a:theme>
</file>

<file path=ppt/theme/theme2.xml><?xml version="1.0" encoding="utf-8"?>
<a:theme xmlns:a="http://schemas.openxmlformats.org/drawingml/2006/main" name="1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4" id="{08450163-5484-AD49-951A-7BEB7E688ACA}" vid="{A45C8B49-87BF-3F42-AEE8-B101905F517A}"/>
    </a:ext>
  </a:extLst>
</a:theme>
</file>

<file path=ppt/theme/theme3.xml><?xml version="1.0" encoding="utf-8"?>
<a:theme xmlns:a="http://schemas.openxmlformats.org/drawingml/2006/main" name="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spcBef>
            <a:spcPts val="300"/>
          </a:spcBef>
          <a:defRPr sz="1600" b="1" dirty="0">
            <a:solidFill>
              <a:schemeClr val="tx2"/>
            </a:solidFill>
          </a:defRPr>
        </a:defPPr>
      </a:lstStyle>
    </a:txDef>
  </a:objectDefaults>
  <a:extraClrSchemeLst/>
</a:theme>
</file>

<file path=ppt/theme/theme4.xml><?xml version="1.0" encoding="utf-8"?>
<a:theme xmlns:a="http://schemas.openxmlformats.org/drawingml/2006/main" name="1_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spcBef>
            <a:spcPts val="300"/>
          </a:spcBef>
          <a:defRPr sz="1600" b="1" dirty="0">
            <a:solidFill>
              <a:schemeClr val="tx2"/>
            </a:solidFill>
          </a:defRPr>
        </a:defPPr>
      </a:lstStyle>
    </a:txDef>
  </a:objectDefaults>
  <a:extraClrSchemeLst/>
</a:theme>
</file>

<file path=ppt/theme/theme5.xml><?xml version="1.0" encoding="utf-8"?>
<a:theme xmlns:a="http://schemas.openxmlformats.org/drawingml/2006/main" name="2_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spcBef>
            <a:spcPts val="300"/>
          </a:spcBef>
          <a:defRPr sz="1600" b="1" dirty="0">
            <a:solidFill>
              <a:schemeClr val="tx2"/>
            </a:solidFill>
          </a:defRPr>
        </a:defPPr>
      </a:lstStyle>
    </a:txDef>
  </a:objectDefaults>
  <a:extraClrSchemeLst/>
</a:theme>
</file>

<file path=ppt/theme/theme6.xml><?xml version="1.0" encoding="utf-8"?>
<a:theme xmlns:a="http://schemas.openxmlformats.org/drawingml/2006/main" name="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15 SE Brand - Blank PowerPoint pictos" id="{E1AFD9B5-88AE-400A-9A76-EE0A3826BE52}" vid="{4B752BF5-4871-4F11-8D6E-0A79375EB7B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762F43B08A7BD4195D8E27A067735A7" ma:contentTypeVersion="16" ma:contentTypeDescription="Create a new document." ma:contentTypeScope="" ma:versionID="b95517aaf344067fef456a11d5b433e5">
  <xsd:schema xmlns:xsd="http://www.w3.org/2001/XMLSchema" xmlns:xs="http://www.w3.org/2001/XMLSchema" xmlns:p="http://schemas.microsoft.com/office/2006/metadata/properties" xmlns:ns2="8633eea2-45f3-44c2-a185-24f8eba4458f" xmlns:ns3="eacfccbf-f8ad-42dd-8dad-b86f37ae3168" targetNamespace="http://schemas.microsoft.com/office/2006/metadata/properties" ma:root="true" ma:fieldsID="09fe1995e133c1e30159e0f308a4292f" ns2:_="" ns3:_="">
    <xsd:import namespace="8633eea2-45f3-44c2-a185-24f8eba4458f"/>
    <xsd:import namespace="eacfccbf-f8ad-42dd-8dad-b86f37ae316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lcf76f155ced4ddcb4097134ff3c332f" minOccurs="0"/>
                <xsd:element ref="ns3:TaxCatchAll" minOccurs="0"/>
                <xsd:element ref="ns2:MediaServiceDateTaken" minOccurs="0"/>
                <xsd:element ref="ns2:MediaLengthInSeconds"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33eea2-45f3-44c2-a185-24f8eba4458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e3e82df8-f6af-445d-9b0b-5c4dfc7c59a2"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cfccbf-f8ad-42dd-8dad-b86f37ae3168"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d78c6a2c-f90e-4d03-bf48-ba7c19bd4405}" ma:internalName="TaxCatchAll" ma:showField="CatchAllData" ma:web="eacfccbf-f8ad-42dd-8dad-b86f37ae3168">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eacfccbf-f8ad-42dd-8dad-b86f37ae3168" xsi:nil="true"/>
    <lcf76f155ced4ddcb4097134ff3c332f xmlns="8633eea2-45f3-44c2-a185-24f8eba4458f">
      <Terms xmlns="http://schemas.microsoft.com/office/infopath/2007/PartnerControls"/>
    </lcf76f155ced4ddcb4097134ff3c332f>
    <MediaLengthInSeconds xmlns="8633eea2-45f3-44c2-a185-24f8eba4458f" xsi:nil="true"/>
  </documentManagement>
</p:properties>
</file>

<file path=customXml/itemProps1.xml><?xml version="1.0" encoding="utf-8"?>
<ds:datastoreItem xmlns:ds="http://schemas.openxmlformats.org/officeDocument/2006/customXml" ds:itemID="{17975596-590F-44C4-8E03-39131509D9E8}">
  <ds:schemaRefs>
    <ds:schemaRef ds:uri="http://schemas.microsoft.com/sharepoint/v3/contenttype/forms"/>
  </ds:schemaRefs>
</ds:datastoreItem>
</file>

<file path=customXml/itemProps2.xml><?xml version="1.0" encoding="utf-8"?>
<ds:datastoreItem xmlns:ds="http://schemas.openxmlformats.org/officeDocument/2006/customXml" ds:itemID="{E6C2EDE2-ED87-43BF-980A-79D26CCF099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33eea2-45f3-44c2-a185-24f8eba4458f"/>
    <ds:schemaRef ds:uri="eacfccbf-f8ad-42dd-8dad-b86f37ae316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427ACAD-E022-4321-A691-ECD2010D7A57}">
  <ds:schemaRefs>
    <ds:schemaRef ds:uri="a6865db2-ed13-4364-8f36-670107a6d346"/>
    <ds:schemaRef ds:uri="f4758b0b-03ba-418a-8810-c0cb7a467a8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eacfccbf-f8ad-42dd-8dad-b86f37ae3168"/>
    <ds:schemaRef ds:uri="8633eea2-45f3-44c2-a185-24f8eba4458f"/>
  </ds:schemaRefs>
</ds:datastoreItem>
</file>

<file path=docProps/app.xml><?xml version="1.0" encoding="utf-8"?>
<Properties xmlns="http://schemas.openxmlformats.org/officeDocument/2006/extended-properties" xmlns:vt="http://schemas.openxmlformats.org/officeDocument/2006/docPropsVTypes">
  <Template>blank</Template>
  <TotalTime>3892</TotalTime>
  <Words>1742</Words>
  <Application>Microsoft Office PowerPoint</Application>
  <PresentationFormat>On-screen Show (16:9)</PresentationFormat>
  <Paragraphs>216</Paragraphs>
  <Slides>30</Slides>
  <Notes>1</Notes>
  <HiddenSlides>0</HiddenSlides>
  <MMClips>0</MMClips>
  <ScaleCrop>false</ScaleCrop>
  <HeadingPairs>
    <vt:vector size="8" baseType="variant">
      <vt:variant>
        <vt:lpstr>Fonts Used</vt:lpstr>
      </vt:variant>
      <vt:variant>
        <vt:i4>2</vt:i4>
      </vt:variant>
      <vt:variant>
        <vt:lpstr>Theme</vt:lpstr>
      </vt:variant>
      <vt:variant>
        <vt:i4>6</vt:i4>
      </vt:variant>
      <vt:variant>
        <vt:lpstr>Embedded OLE Servers</vt:lpstr>
      </vt:variant>
      <vt:variant>
        <vt:i4>1</vt:i4>
      </vt:variant>
      <vt:variant>
        <vt:lpstr>Slide Titles</vt:lpstr>
      </vt:variant>
      <vt:variant>
        <vt:i4>30</vt:i4>
      </vt:variant>
    </vt:vector>
  </HeadingPairs>
  <TitlesOfParts>
    <vt:vector size="39" baseType="lpstr">
      <vt:lpstr>Arial</vt:lpstr>
      <vt:lpstr>Lucida Grande</vt:lpstr>
      <vt:lpstr>blank</vt:lpstr>
      <vt:lpstr>1_Schneider Text Slides</vt:lpstr>
      <vt:lpstr>SE15_LIO_TextOnly V3</vt:lpstr>
      <vt:lpstr>1_SE15_LIO_TextOnly V3</vt:lpstr>
      <vt:lpstr>2_SE15_LIO_TextOnly V3</vt:lpstr>
      <vt:lpstr>Schneider Text Slides</vt:lpstr>
      <vt:lpstr>think-cell Slide</vt:lpstr>
      <vt:lpstr>EcoStruxure Transformer Expert</vt:lpstr>
      <vt:lpstr>PowerPoint Presentation</vt:lpstr>
      <vt:lpstr>EcoStruxure Transformer Expert</vt:lpstr>
      <vt:lpstr>PowerPoint Presentation</vt:lpstr>
      <vt:lpstr>PowerPoint Presentation</vt:lpstr>
      <vt:lpstr>PowerPoint Presentation</vt:lpstr>
      <vt:lpstr>PowerPoint Presentation</vt:lpstr>
      <vt:lpstr>PowerPoint Presentation</vt:lpstr>
      <vt:lpstr>EcoStruxure Transformer Expe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coStruxure Transformer Expe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chneider Electr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Kim KREUTZ</dc:creator>
  <cp:lastModifiedBy>Abdul MANAN</cp:lastModifiedBy>
  <cp:revision>103</cp:revision>
  <dcterms:created xsi:type="dcterms:W3CDTF">2022-01-18T05:49:06Z</dcterms:created>
  <dcterms:modified xsi:type="dcterms:W3CDTF">2022-08-22T22:5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62F43B08A7BD4195D8E27A067735A7</vt:lpwstr>
  </property>
  <property fmtid="{D5CDD505-2E9C-101B-9397-08002B2CF9AE}" pid="3" name="Order">
    <vt:lpwstr>1100.00000000000</vt:lpwstr>
  </property>
  <property fmtid="{D5CDD505-2E9C-101B-9397-08002B2CF9AE}" pid="4" name="_SourceUrl">
    <vt:lpwstr/>
  </property>
  <property fmtid="{D5CDD505-2E9C-101B-9397-08002B2CF9AE}" pid="5" name="_SharedFileIndex">
    <vt:lpwstr/>
  </property>
  <property fmtid="{D5CDD505-2E9C-101B-9397-08002B2CF9AE}" pid="6" name="ComplianceAssetId">
    <vt:lpwstr/>
  </property>
  <property fmtid="{D5CDD505-2E9C-101B-9397-08002B2CF9AE}" pid="7" name="_ExtendedDescription">
    <vt:lpwstr/>
  </property>
  <property fmtid="{D5CDD505-2E9C-101B-9397-08002B2CF9AE}" pid="8" name="TriggerFlowInfo">
    <vt:lpwstr/>
  </property>
  <property fmtid="{D5CDD505-2E9C-101B-9397-08002B2CF9AE}" pid="9" name="MSIP_Label_23f93e5f-d3c2-49a7-ba94-15405423c204_Enabled">
    <vt:lpwstr>true</vt:lpwstr>
  </property>
  <property fmtid="{D5CDD505-2E9C-101B-9397-08002B2CF9AE}" pid="10" name="MSIP_Label_23f93e5f-d3c2-49a7-ba94-15405423c204_SetDate">
    <vt:lpwstr>2022-08-18T05:14:04Z</vt:lpwstr>
  </property>
  <property fmtid="{D5CDD505-2E9C-101B-9397-08002B2CF9AE}" pid="11" name="MSIP_Label_23f93e5f-d3c2-49a7-ba94-15405423c204_Method">
    <vt:lpwstr>Standard</vt:lpwstr>
  </property>
  <property fmtid="{D5CDD505-2E9C-101B-9397-08002B2CF9AE}" pid="12" name="MSIP_Label_23f93e5f-d3c2-49a7-ba94-15405423c204_Name">
    <vt:lpwstr>SE Internal</vt:lpwstr>
  </property>
  <property fmtid="{D5CDD505-2E9C-101B-9397-08002B2CF9AE}" pid="13" name="MSIP_Label_23f93e5f-d3c2-49a7-ba94-15405423c204_SiteId">
    <vt:lpwstr>6e51e1ad-c54b-4b39-b598-0ffe9ae68fef</vt:lpwstr>
  </property>
  <property fmtid="{D5CDD505-2E9C-101B-9397-08002B2CF9AE}" pid="14" name="MSIP_Label_23f93e5f-d3c2-49a7-ba94-15405423c204_ActionId">
    <vt:lpwstr>c4ef9176-59f6-4b57-abc7-c5931bcb82e3</vt:lpwstr>
  </property>
  <property fmtid="{D5CDD505-2E9C-101B-9397-08002B2CF9AE}" pid="15" name="MSIP_Label_23f93e5f-d3c2-49a7-ba94-15405423c204_ContentBits">
    <vt:lpwstr>2</vt:lpwstr>
  </property>
  <property fmtid="{D5CDD505-2E9C-101B-9397-08002B2CF9AE}" pid="16" name="MediaServiceImageTags">
    <vt:lpwstr/>
  </property>
</Properties>
</file>